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54" r:id="rId5"/>
    <p:sldMasterId id="2147483690" r:id="rId6"/>
    <p:sldMasterId id="2147483714" r:id="rId7"/>
    <p:sldMasterId id="2147483734" r:id="rId8"/>
  </p:sldMasterIdLst>
  <p:notesMasterIdLst>
    <p:notesMasterId r:id="rId42"/>
  </p:notesMasterIdLst>
  <p:handoutMasterIdLst>
    <p:handoutMasterId r:id="rId43"/>
  </p:handoutMasterIdLst>
  <p:sldIdLst>
    <p:sldId id="256" r:id="rId9"/>
    <p:sldId id="488" r:id="rId10"/>
    <p:sldId id="275" r:id="rId11"/>
    <p:sldId id="429" r:id="rId12"/>
    <p:sldId id="423" r:id="rId13"/>
    <p:sldId id="474" r:id="rId14"/>
    <p:sldId id="420" r:id="rId15"/>
    <p:sldId id="475" r:id="rId16"/>
    <p:sldId id="426" r:id="rId17"/>
    <p:sldId id="324" r:id="rId18"/>
    <p:sldId id="458" r:id="rId19"/>
    <p:sldId id="490" r:id="rId20"/>
    <p:sldId id="3287" r:id="rId21"/>
    <p:sldId id="430" r:id="rId22"/>
    <p:sldId id="425" r:id="rId23"/>
    <p:sldId id="3288" r:id="rId24"/>
    <p:sldId id="428" r:id="rId25"/>
    <p:sldId id="3299" r:id="rId26"/>
    <p:sldId id="433" r:id="rId27"/>
    <p:sldId id="3296" r:id="rId28"/>
    <p:sldId id="3289" r:id="rId29"/>
    <p:sldId id="3290" r:id="rId30"/>
    <p:sldId id="3295" r:id="rId31"/>
    <p:sldId id="3294" r:id="rId32"/>
    <p:sldId id="2001" r:id="rId33"/>
    <p:sldId id="1377" r:id="rId34"/>
    <p:sldId id="3280" r:id="rId35"/>
    <p:sldId id="3291" r:id="rId36"/>
    <p:sldId id="3292" r:id="rId37"/>
    <p:sldId id="1378" r:id="rId38"/>
    <p:sldId id="3264" r:id="rId39"/>
    <p:sldId id="3300" r:id="rId40"/>
    <p:sldId id="3298" r:id="rId41"/>
  </p:sldIdLst>
  <p:sldSz cx="9144000" cy="6858000" type="screen4x3"/>
  <p:notesSz cx="6797675" cy="9926638"/>
  <p:defaultTextStyle>
    <a:defPPr>
      <a:defRPr sz="1800" kern="1200">
        <a:solidFill>
          <a:schemeClr val="tx1"/>
        </a:solidFill>
        <a:latin typeface="+mn-lt"/>
        <a:ea typeface="+mn-ea"/>
        <a:cs typeface="+mn-cs"/>
      </a:defRPr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6" userDrawn="1">
          <p15:clr>
            <a:srgbClr val="A4A3A4"/>
          </p15:clr>
        </p15:guide>
        <p15:guide id="2" orient="horz" pos="3816" userDrawn="1">
          <p15:clr>
            <a:srgbClr val="A4A3A4"/>
          </p15:clr>
        </p15:guide>
        <p15:guide id="3" orient="horz" pos="3067" userDrawn="1">
          <p15:clr>
            <a:srgbClr val="A4A3A4"/>
          </p15:clr>
        </p15:guide>
        <p15:guide id="4" orient="horz" pos="2636" userDrawn="1">
          <p15:clr>
            <a:srgbClr val="A4A3A4"/>
          </p15:clr>
        </p15:guide>
        <p15:guide id="5" orient="horz" pos="1094" userDrawn="1">
          <p15:clr>
            <a:srgbClr val="A4A3A4"/>
          </p15:clr>
        </p15:guide>
        <p15:guide id="6" orient="horz" pos="1185" userDrawn="1">
          <p15:clr>
            <a:srgbClr val="A4A3A4"/>
          </p15:clr>
        </p15:guide>
        <p15:guide id="7" orient="horz" pos="1230" userDrawn="1">
          <p15:clr>
            <a:srgbClr val="A4A3A4"/>
          </p15:clr>
        </p15:guide>
        <p15:guide id="8" orient="horz" pos="1275" userDrawn="1">
          <p15:clr>
            <a:srgbClr val="A4A3A4"/>
          </p15:clr>
        </p15:guide>
        <p15:guide id="9" orient="horz" pos="1321" userDrawn="1">
          <p15:clr>
            <a:srgbClr val="A4A3A4"/>
          </p15:clr>
        </p15:guide>
        <p15:guide id="10" orient="horz" pos="1366" userDrawn="1">
          <p15:clr>
            <a:srgbClr val="A4A3A4"/>
          </p15:clr>
        </p15:guide>
        <p15:guide id="11" orient="horz" pos="323" userDrawn="1">
          <p15:clr>
            <a:srgbClr val="A4A3A4"/>
          </p15:clr>
        </p15:guide>
        <p15:guide id="12" orient="horz" pos="1457" userDrawn="1">
          <p15:clr>
            <a:srgbClr val="A4A3A4"/>
          </p15:clr>
        </p15:guide>
        <p15:guide id="13" orient="horz" pos="1412" userDrawn="1">
          <p15:clr>
            <a:srgbClr val="A4A3A4"/>
          </p15:clr>
        </p15:guide>
        <p15:guide id="14" orient="horz" pos="1548" userDrawn="1">
          <p15:clr>
            <a:srgbClr val="A4A3A4"/>
          </p15:clr>
        </p15:guide>
        <p15:guide id="15" orient="horz" pos="1593" userDrawn="1">
          <p15:clr>
            <a:srgbClr val="A4A3A4"/>
          </p15:clr>
        </p15:guide>
        <p15:guide id="16" orient="horz" pos="1638" userDrawn="1">
          <p15:clr>
            <a:srgbClr val="A4A3A4"/>
          </p15:clr>
        </p15:guide>
        <p15:guide id="17" orient="horz" pos="1684" userDrawn="1">
          <p15:clr>
            <a:srgbClr val="A4A3A4"/>
          </p15:clr>
        </p15:guide>
        <p15:guide id="18" orient="horz" pos="1729" userDrawn="1">
          <p15:clr>
            <a:srgbClr val="A4A3A4"/>
          </p15:clr>
        </p15:guide>
        <p15:guide id="19" orient="horz" pos="1774" userDrawn="1">
          <p15:clr>
            <a:srgbClr val="A4A3A4"/>
          </p15:clr>
        </p15:guide>
        <p15:guide id="20" orient="horz" pos="1820" userDrawn="1">
          <p15:clr>
            <a:srgbClr val="A4A3A4"/>
          </p15:clr>
        </p15:guide>
        <p15:guide id="21" orient="horz" pos="1956" userDrawn="1">
          <p15:clr>
            <a:srgbClr val="A4A3A4"/>
          </p15:clr>
        </p15:guide>
        <p15:guide id="22" orient="horz" pos="2001" userDrawn="1">
          <p15:clr>
            <a:srgbClr val="A4A3A4"/>
          </p15:clr>
        </p15:guide>
        <p15:guide id="23" orient="horz" pos="2047" userDrawn="1">
          <p15:clr>
            <a:srgbClr val="A4A3A4"/>
          </p15:clr>
        </p15:guide>
        <p15:guide id="24" orient="horz" pos="2137" userDrawn="1">
          <p15:clr>
            <a:srgbClr val="A4A3A4"/>
          </p15:clr>
        </p15:guide>
        <p15:guide id="25" orient="horz" pos="2183" userDrawn="1">
          <p15:clr>
            <a:srgbClr val="A4A3A4"/>
          </p15:clr>
        </p15:guide>
        <p15:guide id="26" orient="horz" pos="2205" userDrawn="1">
          <p15:clr>
            <a:srgbClr val="A4A3A4"/>
          </p15:clr>
        </p15:guide>
        <p15:guide id="27" orient="horz" pos="2251" userDrawn="1">
          <p15:clr>
            <a:srgbClr val="A4A3A4"/>
          </p15:clr>
        </p15:guide>
        <p15:guide id="28" orient="horz" pos="2319" userDrawn="1">
          <p15:clr>
            <a:srgbClr val="A4A3A4"/>
          </p15:clr>
        </p15:guide>
        <p15:guide id="29" orient="horz" pos="2364" userDrawn="1">
          <p15:clr>
            <a:srgbClr val="A4A3A4"/>
          </p15:clr>
        </p15:guide>
        <p15:guide id="30" orient="horz" pos="2387" userDrawn="1">
          <p15:clr>
            <a:srgbClr val="A4A3A4"/>
          </p15:clr>
        </p15:guide>
        <p15:guide id="31" orient="horz" pos="2455" userDrawn="1">
          <p15:clr>
            <a:srgbClr val="A4A3A4"/>
          </p15:clr>
        </p15:guide>
        <p15:guide id="32" orient="horz" pos="2500" userDrawn="1">
          <p15:clr>
            <a:srgbClr val="A4A3A4"/>
          </p15:clr>
        </p15:guide>
        <p15:guide id="33" orient="horz" pos="2546" userDrawn="1">
          <p15:clr>
            <a:srgbClr val="A4A3A4"/>
          </p15:clr>
        </p15:guide>
        <p15:guide id="34" orient="horz" pos="2591" userDrawn="1">
          <p15:clr>
            <a:srgbClr val="A4A3A4"/>
          </p15:clr>
        </p15:guide>
        <p15:guide id="35" orient="horz" pos="2682" userDrawn="1">
          <p15:clr>
            <a:srgbClr val="A4A3A4"/>
          </p15:clr>
        </p15:guide>
        <p15:guide id="36" orient="horz" pos="2727" userDrawn="1">
          <p15:clr>
            <a:srgbClr val="A4A3A4"/>
          </p15:clr>
        </p15:guide>
        <p15:guide id="37" orient="horz" pos="2772" userDrawn="1">
          <p15:clr>
            <a:srgbClr val="A4A3A4"/>
          </p15:clr>
        </p15:guide>
        <p15:guide id="38" orient="horz" pos="2818" userDrawn="1">
          <p15:clr>
            <a:srgbClr val="A4A3A4"/>
          </p15:clr>
        </p15:guide>
        <p15:guide id="39" orient="horz" pos="2863" userDrawn="1">
          <p15:clr>
            <a:srgbClr val="A4A3A4"/>
          </p15:clr>
        </p15:guide>
        <p15:guide id="40" orient="horz" pos="2908" userDrawn="1">
          <p15:clr>
            <a:srgbClr val="A4A3A4"/>
          </p15:clr>
        </p15:guide>
        <p15:guide id="41" orient="horz" pos="2954" userDrawn="1">
          <p15:clr>
            <a:srgbClr val="A4A3A4"/>
          </p15:clr>
        </p15:guide>
        <p15:guide id="42" orient="horz" pos="3022" userDrawn="1">
          <p15:clr>
            <a:srgbClr val="A4A3A4"/>
          </p15:clr>
        </p15:guide>
        <p15:guide id="43" orient="horz" pos="3045" userDrawn="1">
          <p15:clr>
            <a:srgbClr val="A4A3A4"/>
          </p15:clr>
        </p15:guide>
        <p15:guide id="44" orient="horz" pos="3135" userDrawn="1">
          <p15:clr>
            <a:srgbClr val="A4A3A4"/>
          </p15:clr>
        </p15:guide>
        <p15:guide id="45" orient="horz" pos="3181" userDrawn="1">
          <p15:clr>
            <a:srgbClr val="A4A3A4"/>
          </p15:clr>
        </p15:guide>
        <p15:guide id="46" orient="horz" pos="3226" userDrawn="1">
          <p15:clr>
            <a:srgbClr val="A4A3A4"/>
          </p15:clr>
        </p15:guide>
        <p15:guide id="47" orient="horz" pos="3271" userDrawn="1">
          <p15:clr>
            <a:srgbClr val="A4A3A4"/>
          </p15:clr>
        </p15:guide>
        <p15:guide id="48" orient="horz" pos="3317" userDrawn="1">
          <p15:clr>
            <a:srgbClr val="A4A3A4"/>
          </p15:clr>
        </p15:guide>
        <p15:guide id="49" orient="horz" pos="3385" userDrawn="1">
          <p15:clr>
            <a:srgbClr val="A4A3A4"/>
          </p15:clr>
        </p15:guide>
        <p15:guide id="50" orient="horz" pos="3407" userDrawn="1">
          <p15:clr>
            <a:srgbClr val="A4A3A4"/>
          </p15:clr>
        </p15:guide>
        <p15:guide id="51" orient="horz" pos="3453" userDrawn="1">
          <p15:clr>
            <a:srgbClr val="A4A3A4"/>
          </p15:clr>
        </p15:guide>
        <p15:guide id="52" orient="horz" pos="3498" userDrawn="1">
          <p15:clr>
            <a:srgbClr val="A4A3A4"/>
          </p15:clr>
        </p15:guide>
        <p15:guide id="53" orient="horz" pos="3566" userDrawn="1">
          <p15:clr>
            <a:srgbClr val="A4A3A4"/>
          </p15:clr>
        </p15:guide>
        <p15:guide id="55" orient="horz" pos="3634" userDrawn="1">
          <p15:clr>
            <a:srgbClr val="A4A3A4"/>
          </p15:clr>
        </p15:guide>
        <p15:guide id="56" orient="horz" pos="3680" userDrawn="1">
          <p15:clr>
            <a:srgbClr val="A4A3A4"/>
          </p15:clr>
        </p15:guide>
        <p15:guide id="57" orient="horz" pos="3725" userDrawn="1">
          <p15:clr>
            <a:srgbClr val="A4A3A4"/>
          </p15:clr>
        </p15:guide>
        <p15:guide id="58" orient="horz" pos="3770" userDrawn="1">
          <p15:clr>
            <a:srgbClr val="A4A3A4"/>
          </p15:clr>
        </p15:guide>
        <p15:guide id="59" orient="horz" pos="3861" userDrawn="1">
          <p15:clr>
            <a:srgbClr val="A4A3A4"/>
          </p15:clr>
        </p15:guide>
        <p15:guide id="60" orient="horz" pos="1139" userDrawn="1">
          <p15:clr>
            <a:srgbClr val="A4A3A4"/>
          </p15:clr>
        </p15:guide>
        <p15:guide id="61" orient="horz" pos="1502" userDrawn="1">
          <p15:clr>
            <a:srgbClr val="A4A3A4"/>
          </p15:clr>
        </p15:guide>
        <p15:guide id="62" orient="horz" pos="1865" userDrawn="1">
          <p15:clr>
            <a:srgbClr val="A4A3A4"/>
          </p15:clr>
        </p15:guide>
        <p15:guide id="63" orient="horz" pos="1911" userDrawn="1">
          <p15:clr>
            <a:srgbClr val="A4A3A4"/>
          </p15:clr>
        </p15:guide>
        <p15:guide id="64" orient="horz" pos="3952" userDrawn="1">
          <p15:clr>
            <a:srgbClr val="A4A3A4"/>
          </p15:clr>
        </p15:guide>
        <p15:guide id="65" orient="horz" pos="2092" userDrawn="1">
          <p15:clr>
            <a:srgbClr val="A4A3A4"/>
          </p15:clr>
        </p15:guide>
        <p15:guide id="66" orient="horz" pos="4224" userDrawn="1">
          <p15:clr>
            <a:srgbClr val="A4A3A4"/>
          </p15:clr>
        </p15:guide>
        <p15:guide id="67" pos="5420" userDrawn="1">
          <p15:clr>
            <a:srgbClr val="A4A3A4"/>
          </p15:clr>
        </p15:guide>
        <p15:guide id="68" pos="340" userDrawn="1">
          <p15:clr>
            <a:srgbClr val="A4A3A4"/>
          </p15:clr>
        </p15:guide>
        <p15:guide id="69" pos="680" userDrawn="1">
          <p15:clr>
            <a:srgbClr val="A4A3A4"/>
          </p15:clr>
        </p15:guide>
        <p15:guide id="70" pos="771" userDrawn="1">
          <p15:clr>
            <a:srgbClr val="A4A3A4"/>
          </p15:clr>
        </p15:guide>
        <p15:guide id="71" pos="1111">
          <p15:clr>
            <a:srgbClr val="A4A3A4"/>
          </p15:clr>
        </p15:guide>
        <p15:guide id="72" pos="1202" userDrawn="1">
          <p15:clr>
            <a:srgbClr val="A4A3A4"/>
          </p15:clr>
        </p15:guide>
        <p15:guide id="73" pos="1542" userDrawn="1">
          <p15:clr>
            <a:srgbClr val="A4A3A4"/>
          </p15:clr>
        </p15:guide>
        <p15:guide id="74" pos="1633" userDrawn="1">
          <p15:clr>
            <a:srgbClr val="A4A3A4"/>
          </p15:clr>
        </p15:guide>
        <p15:guide id="75" pos="1973">
          <p15:clr>
            <a:srgbClr val="A4A3A4"/>
          </p15:clr>
        </p15:guide>
        <p15:guide id="76" pos="2064">
          <p15:clr>
            <a:srgbClr val="A4A3A4"/>
          </p15:clr>
        </p15:guide>
        <p15:guide id="77" pos="2404" userDrawn="1">
          <p15:clr>
            <a:srgbClr val="A4A3A4"/>
          </p15:clr>
        </p15:guide>
        <p15:guide id="78" pos="2494" userDrawn="1">
          <p15:clr>
            <a:srgbClr val="A4A3A4"/>
          </p15:clr>
        </p15:guide>
        <p15:guide id="79" pos="2835" userDrawn="1">
          <p15:clr>
            <a:srgbClr val="A4A3A4"/>
          </p15:clr>
        </p15:guide>
        <p15:guide id="80" pos="2925" userDrawn="1">
          <p15:clr>
            <a:srgbClr val="A4A3A4"/>
          </p15:clr>
        </p15:guide>
        <p15:guide id="81" pos="3266" userDrawn="1">
          <p15:clr>
            <a:srgbClr val="A4A3A4"/>
          </p15:clr>
        </p15:guide>
        <p15:guide id="82" pos="3356" userDrawn="1">
          <p15:clr>
            <a:srgbClr val="A4A3A4"/>
          </p15:clr>
        </p15:guide>
        <p15:guide id="83" pos="3696" userDrawn="1">
          <p15:clr>
            <a:srgbClr val="A4A3A4"/>
          </p15:clr>
        </p15:guide>
        <p15:guide id="84" pos="3787" userDrawn="1">
          <p15:clr>
            <a:srgbClr val="A4A3A4"/>
          </p15:clr>
        </p15:guide>
        <p15:guide id="85" pos="4127" userDrawn="1">
          <p15:clr>
            <a:srgbClr val="A4A3A4"/>
          </p15:clr>
        </p15:guide>
        <p15:guide id="86" pos="4218" userDrawn="1">
          <p15:clr>
            <a:srgbClr val="A4A3A4"/>
          </p15:clr>
        </p15:guide>
        <p15:guide id="87" pos="4558" userDrawn="1">
          <p15:clr>
            <a:srgbClr val="A4A3A4"/>
          </p15:clr>
        </p15:guide>
        <p15:guide id="88" pos="4649">
          <p15:clr>
            <a:srgbClr val="A4A3A4"/>
          </p15:clr>
        </p15:guide>
        <p15:guide id="89" pos="4967" userDrawn="1">
          <p15:clr>
            <a:srgbClr val="A4A3A4"/>
          </p15:clr>
        </p15:guide>
        <p15:guide id="90" pos="5080" userDrawn="1">
          <p15:clr>
            <a:srgbClr val="A4A3A4"/>
          </p15:clr>
        </p15:guide>
        <p15:guide id="91" orient="horz" pos="572" userDrawn="1">
          <p15:clr>
            <a:srgbClr val="A4A3A4"/>
          </p15:clr>
        </p15:guide>
        <p15:guide id="92" orient="horz" pos="7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ric Bianca STAM" initials="BBS" lastIdx="6" clrIdx="0"/>
  <p:cmAuthor id="2" name="Owen Alice SRSUK" initials="AO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18" autoAdjust="0"/>
    <p:restoredTop sz="95232" autoAdjust="0"/>
  </p:normalViewPr>
  <p:slideViewPr>
    <p:cSldViewPr snapToObjects="1" showGuides="1">
      <p:cViewPr varScale="1">
        <p:scale>
          <a:sx n="63" d="100"/>
          <a:sy n="63" d="100"/>
        </p:scale>
        <p:origin x="1580" y="92"/>
      </p:cViewPr>
      <p:guideLst>
        <p:guide orient="horz" pos="3906"/>
        <p:guide orient="horz" pos="3816"/>
        <p:guide orient="horz" pos="3067"/>
        <p:guide orient="horz" pos="2636"/>
        <p:guide orient="horz" pos="1094"/>
        <p:guide orient="horz" pos="1185"/>
        <p:guide orient="horz" pos="1230"/>
        <p:guide orient="horz" pos="1275"/>
        <p:guide orient="horz" pos="1321"/>
        <p:guide orient="horz" pos="1366"/>
        <p:guide orient="horz" pos="323"/>
        <p:guide orient="horz" pos="1457"/>
        <p:guide orient="horz" pos="1412"/>
        <p:guide orient="horz" pos="1548"/>
        <p:guide orient="horz" pos="1593"/>
        <p:guide orient="horz" pos="1638"/>
        <p:guide orient="horz" pos="1684"/>
        <p:guide orient="horz" pos="1729"/>
        <p:guide orient="horz" pos="1774"/>
        <p:guide orient="horz" pos="1820"/>
        <p:guide orient="horz" pos="1956"/>
        <p:guide orient="horz" pos="2001"/>
        <p:guide orient="horz" pos="2047"/>
        <p:guide orient="horz" pos="2137"/>
        <p:guide orient="horz" pos="2183"/>
        <p:guide orient="horz" pos="2205"/>
        <p:guide orient="horz" pos="2251"/>
        <p:guide orient="horz" pos="2319"/>
        <p:guide orient="horz" pos="2364"/>
        <p:guide orient="horz" pos="2387"/>
        <p:guide orient="horz" pos="2455"/>
        <p:guide orient="horz" pos="2500"/>
        <p:guide orient="horz" pos="2546"/>
        <p:guide orient="horz" pos="2591"/>
        <p:guide orient="horz" pos="2682"/>
        <p:guide orient="horz" pos="2727"/>
        <p:guide orient="horz" pos="2772"/>
        <p:guide orient="horz" pos="2818"/>
        <p:guide orient="horz" pos="2863"/>
        <p:guide orient="horz" pos="2908"/>
        <p:guide orient="horz" pos="2954"/>
        <p:guide orient="horz" pos="3022"/>
        <p:guide orient="horz" pos="3045"/>
        <p:guide orient="horz" pos="3135"/>
        <p:guide orient="horz" pos="3181"/>
        <p:guide orient="horz" pos="3226"/>
        <p:guide orient="horz" pos="3271"/>
        <p:guide orient="horz" pos="3317"/>
        <p:guide orient="horz" pos="3385"/>
        <p:guide orient="horz" pos="3407"/>
        <p:guide orient="horz" pos="3453"/>
        <p:guide orient="horz" pos="3498"/>
        <p:guide orient="horz" pos="3566"/>
        <p:guide orient="horz" pos="3634"/>
        <p:guide orient="horz" pos="3680"/>
        <p:guide orient="horz" pos="3725"/>
        <p:guide orient="horz" pos="3770"/>
        <p:guide orient="horz" pos="3861"/>
        <p:guide orient="horz" pos="1139"/>
        <p:guide orient="horz" pos="1502"/>
        <p:guide orient="horz" pos="1865"/>
        <p:guide orient="horz" pos="1911"/>
        <p:guide orient="horz" pos="3952"/>
        <p:guide orient="horz" pos="2092"/>
        <p:guide orient="horz" pos="4224"/>
        <p:guide pos="5420"/>
        <p:guide pos="340"/>
        <p:guide pos="680"/>
        <p:guide pos="771"/>
        <p:guide pos="1111"/>
        <p:guide pos="1202"/>
        <p:guide pos="1542"/>
        <p:guide pos="1633"/>
        <p:guide pos="1973"/>
        <p:guide pos="2064"/>
        <p:guide pos="2404"/>
        <p:guide pos="2494"/>
        <p:guide pos="2835"/>
        <p:guide pos="2925"/>
        <p:guide pos="3266"/>
        <p:guide pos="3356"/>
        <p:guide pos="3696"/>
        <p:guide pos="3787"/>
        <p:guide pos="4127"/>
        <p:guide pos="4218"/>
        <p:guide pos="4558"/>
        <p:guide pos="4649"/>
        <p:guide pos="4967"/>
        <p:guide pos="5080"/>
        <p:guide orient="horz" pos="572"/>
        <p:guide orient="horz" pos="731"/>
      </p:guideLst>
    </p:cSldViewPr>
  </p:slideViewPr>
  <p:outlineViewPr>
    <p:cViewPr>
      <p:scale>
        <a:sx n="33" d="100"/>
        <a:sy n="33" d="100"/>
      </p:scale>
      <p:origin x="0" y="-424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494"/>
    </p:cViewPr>
  </p:sorterViewPr>
  <p:notesViewPr>
    <p:cSldViewPr snapToObjects="1" showGuides="1">
      <p:cViewPr varScale="1">
        <p:scale>
          <a:sx n="113" d="100"/>
          <a:sy n="113" d="100"/>
        </p:scale>
        <p:origin x="-4904" y="-48"/>
      </p:cViewPr>
      <p:guideLst>
        <p:guide orient="horz" pos="2880"/>
        <p:guide pos="2160"/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/>
          </c:spPr>
          <c:invertIfNegative val="0"/>
          <c:dPt>
            <c:idx val="25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0E1-444D-B66E-9CD6A5C5CA0B}"/>
              </c:ext>
            </c:extLst>
          </c:dPt>
          <c:dPt>
            <c:idx val="26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9B-444F-93BE-18B227A37182}"/>
              </c:ext>
            </c:extLst>
          </c:dPt>
          <c:dPt>
            <c:idx val="27"/>
            <c:invertIfNegative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9B-444F-93BE-18B227A37182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3"/>
              </a:solidFill>
              <a:ln>
                <a:solidFill>
                  <a:schemeClr val="accent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1633-4D65-AC42-D5FED34626A2}"/>
              </c:ext>
            </c:extLst>
          </c:dPt>
          <c:cat>
            <c:numRef>
              <c:f>Tabelle1!$A$2:$A$30</c:f>
              <c:numCache>
                <c:formatCode>General</c:formatCode>
                <c:ptCount val="29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</c:numCache>
            </c:numRef>
          </c:cat>
          <c:val>
            <c:numRef>
              <c:f>Tabelle1!$B$2:$B$30</c:f>
              <c:numCache>
                <c:formatCode>General</c:formatCode>
                <c:ptCount val="29"/>
                <c:pt idx="0">
                  <c:v>15.7</c:v>
                </c:pt>
                <c:pt idx="1">
                  <c:v>13</c:v>
                </c:pt>
                <c:pt idx="2">
                  <c:v>13</c:v>
                </c:pt>
                <c:pt idx="3">
                  <c:v>26.4</c:v>
                </c:pt>
                <c:pt idx="4">
                  <c:v>49.8</c:v>
                </c:pt>
                <c:pt idx="5">
                  <c:v>92</c:v>
                </c:pt>
                <c:pt idx="6">
                  <c:v>125</c:v>
                </c:pt>
                <c:pt idx="7">
                  <c:v>161</c:v>
                </c:pt>
                <c:pt idx="8">
                  <c:v>207</c:v>
                </c:pt>
                <c:pt idx="9">
                  <c:v>330</c:v>
                </c:pt>
                <c:pt idx="10">
                  <c:v>322</c:v>
                </c:pt>
                <c:pt idx="11">
                  <c:v>556</c:v>
                </c:pt>
                <c:pt idx="12">
                  <c:v>603</c:v>
                </c:pt>
                <c:pt idx="13">
                  <c:v>786</c:v>
                </c:pt>
                <c:pt idx="14">
                  <c:v>1237</c:v>
                </c:pt>
                <c:pt idx="15">
                  <c:v>1060</c:v>
                </c:pt>
                <c:pt idx="16">
                  <c:v>1043</c:v>
                </c:pt>
                <c:pt idx="17">
                  <c:v>1069</c:v>
                </c:pt>
                <c:pt idx="18">
                  <c:v>1392</c:v>
                </c:pt>
                <c:pt idx="19">
                  <c:v>2366</c:v>
                </c:pt>
                <c:pt idx="20">
                  <c:v>2497</c:v>
                </c:pt>
                <c:pt idx="21">
                  <c:v>1897</c:v>
                </c:pt>
                <c:pt idx="22">
                  <c:v>1751</c:v>
                </c:pt>
                <c:pt idx="23">
                  <c:v>2065</c:v>
                </c:pt>
                <c:pt idx="24">
                  <c:v>2428</c:v>
                </c:pt>
                <c:pt idx="25">
                  <c:v>2000</c:v>
                </c:pt>
                <c:pt idx="26">
                  <c:v>3200</c:v>
                </c:pt>
                <c:pt idx="27">
                  <c:v>3100</c:v>
                </c:pt>
                <c:pt idx="28">
                  <c:v>3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19B-444F-93BE-18B227A371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58501040"/>
        <c:axId val="558498688"/>
      </c:barChart>
      <c:catAx>
        <c:axId val="558501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1"/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8498688"/>
        <c:crosses val="autoZero"/>
        <c:auto val="1"/>
        <c:lblAlgn val="ctr"/>
        <c:lblOffset val="100"/>
        <c:noMultiLvlLbl val="0"/>
      </c:catAx>
      <c:valAx>
        <c:axId val="558498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/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85010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solidFill>
      <a:schemeClr val="accent5"/>
    </a:solidFill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36950601323209E-2"/>
          <c:y val="4.3955898688943333E-2"/>
          <c:w val="0.9125310287183972"/>
          <c:h val="0.724266808241171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Average FTE 2021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Tabelle1!$B$1:$AC$1</c:f>
              <c:strCache>
                <c:ptCount val="28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  <c:pt idx="20">
                  <c:v>2014</c:v>
                </c:pt>
                <c:pt idx="21">
                  <c:v>2015</c:v>
                </c:pt>
                <c:pt idx="22">
                  <c:v>2016</c:v>
                </c:pt>
                <c:pt idx="23">
                  <c:v>2017</c:v>
                </c:pt>
                <c:pt idx="24">
                  <c:v>2018</c:v>
                </c:pt>
                <c:pt idx="25">
                  <c:v>2019</c:v>
                </c:pt>
                <c:pt idx="26">
                  <c:v>2020</c:v>
                </c:pt>
                <c:pt idx="27">
                  <c:v>2021</c:v>
                </c:pt>
              </c:strCache>
            </c:strRef>
          </c:cat>
          <c:val>
            <c:numRef>
              <c:f>Tabelle1!$B$2:$AC$2</c:f>
              <c:numCache>
                <c:formatCode>General</c:formatCode>
                <c:ptCount val="28"/>
                <c:pt idx="0">
                  <c:v>46</c:v>
                </c:pt>
                <c:pt idx="1">
                  <c:v>52</c:v>
                </c:pt>
                <c:pt idx="2">
                  <c:v>71</c:v>
                </c:pt>
                <c:pt idx="3">
                  <c:v>157</c:v>
                </c:pt>
                <c:pt idx="4">
                  <c:v>189</c:v>
                </c:pt>
                <c:pt idx="5">
                  <c:v>217</c:v>
                </c:pt>
                <c:pt idx="6">
                  <c:v>442</c:v>
                </c:pt>
                <c:pt idx="7">
                  <c:v>499</c:v>
                </c:pt>
                <c:pt idx="8">
                  <c:v>720</c:v>
                </c:pt>
                <c:pt idx="9">
                  <c:v>806</c:v>
                </c:pt>
                <c:pt idx="10">
                  <c:v>1079</c:v>
                </c:pt>
                <c:pt idx="11">
                  <c:v>1493</c:v>
                </c:pt>
                <c:pt idx="12">
                  <c:v>1979</c:v>
                </c:pt>
                <c:pt idx="13">
                  <c:v>2454</c:v>
                </c:pt>
                <c:pt idx="14">
                  <c:v>2476</c:v>
                </c:pt>
                <c:pt idx="15">
                  <c:v>2626</c:v>
                </c:pt>
                <c:pt idx="16">
                  <c:v>3202</c:v>
                </c:pt>
                <c:pt idx="17">
                  <c:v>4133</c:v>
                </c:pt>
                <c:pt idx="18">
                  <c:v>5610</c:v>
                </c:pt>
                <c:pt idx="19">
                  <c:v>5654</c:v>
                </c:pt>
                <c:pt idx="20">
                  <c:v>5606</c:v>
                </c:pt>
                <c:pt idx="21">
                  <c:v>5857</c:v>
                </c:pt>
                <c:pt idx="22">
                  <c:v>7066</c:v>
                </c:pt>
                <c:pt idx="23">
                  <c:v>7600</c:v>
                </c:pt>
                <c:pt idx="24">
                  <c:v>8874</c:v>
                </c:pt>
                <c:pt idx="25">
                  <c:v>10900</c:v>
                </c:pt>
                <c:pt idx="26">
                  <c:v>12156</c:v>
                </c:pt>
                <c:pt idx="27">
                  <c:v>13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0A-4ADC-8508-904DE527E3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8496728"/>
        <c:axId val="558499864"/>
      </c:barChart>
      <c:dateAx>
        <c:axId val="558496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/>
            </a:solidFill>
            <a:prstDash val="sysDot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8499864"/>
        <c:crosses val="autoZero"/>
        <c:auto val="0"/>
        <c:lblOffset val="100"/>
        <c:baseTimeUnit val="days"/>
        <c:majorUnit val="5"/>
      </c:dateAx>
      <c:valAx>
        <c:axId val="558499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1"/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8496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5"/>
    </a:solidFill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B1F45088-F8AB-418B-B5F7-741644BBCFC3}" type="datetimeFigureOut">
              <a:rPr lang="de-CH" smtClean="0"/>
              <a:t>22.06.2023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3" y="9428586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6" y="9428586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20DB593C-0348-4B3C-975F-791D7567F5B4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76407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>
              <a:defRPr sz="1200"/>
            </a:lvl1pPr>
          </a:lstStyle>
          <a:p>
            <a:fld id="{49733604-526C-4083-B560-0ED48323808D}" type="datetimeFigureOut">
              <a:rPr lang="de-CH" smtClean="0"/>
              <a:t>22.06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7" tIns="45708" rIns="91417" bIns="4570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1417" tIns="45708" rIns="91417" bIns="45708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3" y="9428586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6" y="9428586"/>
            <a:ext cx="2945659" cy="496332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r">
              <a:defRPr sz="1200"/>
            </a:lvl1pPr>
          </a:lstStyle>
          <a:p>
            <a:fld id="{6303C26B-7104-4787-AA86-60A6C10E045F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6119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893332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Folienbildplatzhalter 1">
            <a:extLst>
              <a:ext uri="{FF2B5EF4-FFF2-40B4-BE49-F238E27FC236}">
                <a16:creationId xmlns:a16="http://schemas.microsoft.com/office/drawing/2014/main" id="{CF2C2D29-3640-4717-B889-F1A2A1F73CB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izenplatzhalter 2">
            <a:extLst>
              <a:ext uri="{FF2B5EF4-FFF2-40B4-BE49-F238E27FC236}">
                <a16:creationId xmlns:a16="http://schemas.microsoft.com/office/drawing/2014/main" id="{5799E2B5-1706-4A22-B277-8C294D4241E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CH" alt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872B2A6-6D1C-4A68-A573-DA7FA5CEDDF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2EEC303-A2B6-43C1-ACB1-1B872107BC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29</a:t>
            </a:fld>
            <a:endParaRPr lang="de-CH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RS Valu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697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7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6619BD5-0C0D-4CDD-8D69-E12B346BF366}" type="datetime1">
              <a:rPr lang="de-CH" smtClean="0"/>
              <a:t>22.06.2023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052183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E3026C-8EEB-4CFA-901F-923891ABC79E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7237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Folienbildplatzhalter 1">
            <a:extLst>
              <a:ext uri="{FF2B5EF4-FFF2-40B4-BE49-F238E27FC236}">
                <a16:creationId xmlns:a16="http://schemas.microsoft.com/office/drawing/2014/main" id="{417B87E1-F925-484E-ACC6-4E891E8D5B1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Notizenplatzhalter 2">
            <a:extLst>
              <a:ext uri="{FF2B5EF4-FFF2-40B4-BE49-F238E27FC236}">
                <a16:creationId xmlns:a16="http://schemas.microsoft.com/office/drawing/2014/main" id="{1C53746D-2AF3-4C94-940E-F80745911AD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CH" alt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29CC5C6-561F-437E-9A84-58377C365A1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1CEA10-F61A-4F13-BD33-8C2B79FD62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11</a:t>
            </a:fld>
            <a:endParaRPr lang="de-CH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Folienbildplatzhalter 1">
            <a:extLst>
              <a:ext uri="{FF2B5EF4-FFF2-40B4-BE49-F238E27FC236}">
                <a16:creationId xmlns:a16="http://schemas.microsoft.com/office/drawing/2014/main" id="{15014E1B-14EF-49BA-97CE-81848CF1D6A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izenplatzhalter 2">
            <a:extLst>
              <a:ext uri="{FF2B5EF4-FFF2-40B4-BE49-F238E27FC236}">
                <a16:creationId xmlns:a16="http://schemas.microsoft.com/office/drawing/2014/main" id="{BB5B993A-3B12-4499-A2AD-87DB0232F04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de-DE" alt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B14EEA6-FF9D-4AC0-B52C-927463B3228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GBR Ralf Warwel 26.10.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5D4E738-C1C7-478C-B2CE-1CF3E86D7A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17</a:t>
            </a:fld>
            <a:endParaRPr lang="de-CH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Folienbildplatzhalter 1">
            <a:extLst>
              <a:ext uri="{FF2B5EF4-FFF2-40B4-BE49-F238E27FC236}">
                <a16:creationId xmlns:a16="http://schemas.microsoft.com/office/drawing/2014/main" id="{52C4BD53-A32C-488F-A905-91D16D4084E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9635" name="Notizenplatzhalter 2">
            <a:extLst>
              <a:ext uri="{FF2B5EF4-FFF2-40B4-BE49-F238E27FC236}">
                <a16:creationId xmlns:a16="http://schemas.microsoft.com/office/drawing/2014/main" id="{98FAB5DD-E784-45C2-AABE-9327A9F9DA1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CH" altLang="de-DE"/>
              <a:t>Gap closers erwähn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9158908-D36D-4D3E-A9FD-BD25861C19D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GBR Ralf Warwel 26.10.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3E4917-65BB-438E-A85D-30C93A21DF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20</a:t>
            </a:fld>
            <a:endParaRPr lang="de-CH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Folienbildplatzhalter 1">
            <a:extLst>
              <a:ext uri="{FF2B5EF4-FFF2-40B4-BE49-F238E27FC236}">
                <a16:creationId xmlns:a16="http://schemas.microsoft.com/office/drawing/2014/main" id="{C2253543-9E71-4021-9ED4-A55C99342F8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izenplatzhalter 2">
            <a:extLst>
              <a:ext uri="{FF2B5EF4-FFF2-40B4-BE49-F238E27FC236}">
                <a16:creationId xmlns:a16="http://schemas.microsoft.com/office/drawing/2014/main" id="{A63FFD78-BC53-4BE1-97F5-64021CF6F3C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CH" altLang="de-DE"/>
              <a:t>Gap closers erwähn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435A056-A8DA-420B-BCD7-25A992A8D6B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GBR Ralf Warwel 26.10.202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5191D38-F863-43FF-8956-DC058B90F0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21</a:t>
            </a:fld>
            <a:endParaRPr lang="de-CH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Gap </a:t>
            </a:r>
            <a:r>
              <a:rPr lang="de-CH" dirty="0" err="1"/>
              <a:t>closers</a:t>
            </a:r>
            <a:r>
              <a:rPr lang="de-CH" dirty="0"/>
              <a:t> erwähn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3A76BB-D336-4458-B187-DBC3B6B3B9C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57DF283-13F1-4A9D-83A8-E6CD18BB78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519304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Folienbildplatzhalter 1">
            <a:extLst>
              <a:ext uri="{FF2B5EF4-FFF2-40B4-BE49-F238E27FC236}">
                <a16:creationId xmlns:a16="http://schemas.microsoft.com/office/drawing/2014/main" id="{FCB84335-7616-41E6-A1D4-C848C04E363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Notizenplatzhalter 2">
            <a:extLst>
              <a:ext uri="{FF2B5EF4-FFF2-40B4-BE49-F238E27FC236}">
                <a16:creationId xmlns:a16="http://schemas.microsoft.com/office/drawing/2014/main" id="{322DAB77-962C-4850-A9F8-623FDC82346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B83C3A-FDA6-4B22-B472-EC9028DC0AC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FAC7B4D-98ED-42C7-8A0D-F0F3E513B24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3C26B-7104-4787-AA86-60A6C10E045F}" type="slidenum">
              <a:rPr lang="de-CH" smtClean="0"/>
              <a:t>24</a:t>
            </a:fld>
            <a:endParaRPr lang="de-CH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0"/>
            <a:ext cx="9151046" cy="4581525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icon</a:t>
            </a:r>
            <a:r>
              <a:rPr lang="de-CH" noProof="0" dirty="0"/>
              <a:t>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add</a:t>
            </a:r>
            <a:r>
              <a:rPr lang="de-CH" noProof="0" dirty="0"/>
              <a:t> </a:t>
            </a:r>
            <a:r>
              <a:rPr lang="de-CH" noProof="0" dirty="0" err="1"/>
              <a:t>picture</a:t>
            </a:r>
            <a:endParaRPr lang="de-CH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4"/>
            <a:ext cx="9151046" cy="23129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subtitle</a:t>
            </a:r>
            <a:r>
              <a:rPr lang="de-CH" noProof="0" dirty="0"/>
              <a:t> sty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156000"/>
            <a:ext cx="4320000" cy="288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 dirty="0"/>
              <a:t>Präsentator, Ort, Datum </a:t>
            </a:r>
            <a:r>
              <a:rPr lang="de-CH" noProof="0" dirty="0" err="1"/>
              <a:t>TT.MM.JJJJ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38286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 userDrawn="1">
          <p15:clr>
            <a:srgbClr val="9FCC3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1" name="Inhaltsplatzhalter 2"/>
          <p:cNvSpPr>
            <a:spLocks noGrp="1"/>
          </p:cNvSpPr>
          <p:nvPr>
            <p:ph idx="48" hasCustomPrompt="1"/>
          </p:nvPr>
        </p:nvSpPr>
        <p:spPr>
          <a:xfrm>
            <a:off x="1908174" y="2528886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2" name="Bildplatzhalter 13"/>
          <p:cNvSpPr>
            <a:spLocks noGrp="1"/>
          </p:cNvSpPr>
          <p:nvPr>
            <p:ph type="pic" sz="quarter" idx="49"/>
          </p:nvPr>
        </p:nvSpPr>
        <p:spPr>
          <a:xfrm>
            <a:off x="1908174" y="1736723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3" name="Inhaltsplatzhalter 2"/>
          <p:cNvSpPr>
            <a:spLocks noGrp="1"/>
          </p:cNvSpPr>
          <p:nvPr>
            <p:ph idx="50" hasCustomPrompt="1"/>
          </p:nvPr>
        </p:nvSpPr>
        <p:spPr>
          <a:xfrm>
            <a:off x="3276599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4" name="Bildplatzhalter 13"/>
          <p:cNvSpPr>
            <a:spLocks noGrp="1"/>
          </p:cNvSpPr>
          <p:nvPr>
            <p:ph type="pic" sz="quarter" idx="51"/>
          </p:nvPr>
        </p:nvSpPr>
        <p:spPr>
          <a:xfrm>
            <a:off x="3276600" y="1736724"/>
            <a:ext cx="1223963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5" name="Inhaltsplatzhalter 2"/>
          <p:cNvSpPr>
            <a:spLocks noGrp="1"/>
          </p:cNvSpPr>
          <p:nvPr>
            <p:ph idx="52" hasCustomPrompt="1"/>
          </p:nvPr>
        </p:nvSpPr>
        <p:spPr>
          <a:xfrm>
            <a:off x="4643438" y="2528888"/>
            <a:ext cx="12245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6" name="Bildplatzhalter 13"/>
          <p:cNvSpPr>
            <a:spLocks noGrp="1"/>
          </p:cNvSpPr>
          <p:nvPr>
            <p:ph type="pic" sz="quarter" idx="53"/>
          </p:nvPr>
        </p:nvSpPr>
        <p:spPr>
          <a:xfrm>
            <a:off x="4643575" y="1736724"/>
            <a:ext cx="1224425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7" name="Inhaltsplatzhalter 2"/>
          <p:cNvSpPr>
            <a:spLocks noGrp="1"/>
          </p:cNvSpPr>
          <p:nvPr>
            <p:ph idx="54" hasCustomPrompt="1"/>
          </p:nvPr>
        </p:nvSpPr>
        <p:spPr>
          <a:xfrm>
            <a:off x="6011863" y="2528888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8" name="Bildplatzhalter 13"/>
          <p:cNvSpPr>
            <a:spLocks noGrp="1"/>
          </p:cNvSpPr>
          <p:nvPr>
            <p:ph type="pic" sz="quarter" idx="55"/>
          </p:nvPr>
        </p:nvSpPr>
        <p:spPr>
          <a:xfrm>
            <a:off x="6011863" y="1736724"/>
            <a:ext cx="1224137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9" name="Inhaltsplatzhalter 2"/>
          <p:cNvSpPr>
            <a:spLocks noGrp="1"/>
          </p:cNvSpPr>
          <p:nvPr>
            <p:ph idx="56" hasCustomPrompt="1"/>
          </p:nvPr>
        </p:nvSpPr>
        <p:spPr>
          <a:xfrm>
            <a:off x="7380288" y="2528888"/>
            <a:ext cx="1226948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0" name="Bildplatzhalter 13"/>
          <p:cNvSpPr>
            <a:spLocks noGrp="1"/>
          </p:cNvSpPr>
          <p:nvPr>
            <p:ph type="pic" sz="quarter" idx="57"/>
          </p:nvPr>
        </p:nvSpPr>
        <p:spPr>
          <a:xfrm>
            <a:off x="7380288" y="1736722"/>
            <a:ext cx="1226948" cy="792166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1" name="Inhaltsplatzhalter 2"/>
          <p:cNvSpPr>
            <a:spLocks noGrp="1"/>
          </p:cNvSpPr>
          <p:nvPr>
            <p:ph idx="58" hasCustomPrompt="1"/>
          </p:nvPr>
        </p:nvSpPr>
        <p:spPr>
          <a:xfrm>
            <a:off x="539750" y="3752849"/>
            <a:ext cx="1224250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2" name="Bildplatzhalter 13"/>
          <p:cNvSpPr>
            <a:spLocks noGrp="1"/>
          </p:cNvSpPr>
          <p:nvPr>
            <p:ph type="pic" sz="quarter" idx="59"/>
          </p:nvPr>
        </p:nvSpPr>
        <p:spPr>
          <a:xfrm>
            <a:off x="539750" y="2960688"/>
            <a:ext cx="1223963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3" name="Inhaltsplatzhalter 2"/>
          <p:cNvSpPr>
            <a:spLocks noGrp="1"/>
          </p:cNvSpPr>
          <p:nvPr>
            <p:ph idx="60" hasCustomPrompt="1"/>
          </p:nvPr>
        </p:nvSpPr>
        <p:spPr>
          <a:xfrm>
            <a:off x="1908175" y="3752849"/>
            <a:ext cx="1221258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4" name="Bildplatzhalter 13"/>
          <p:cNvSpPr>
            <a:spLocks noGrp="1"/>
          </p:cNvSpPr>
          <p:nvPr>
            <p:ph type="pic" sz="quarter" idx="61"/>
          </p:nvPr>
        </p:nvSpPr>
        <p:spPr>
          <a:xfrm>
            <a:off x="1908174" y="2960687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5" name="Inhaltsplatzhalter 2"/>
          <p:cNvSpPr>
            <a:spLocks noGrp="1"/>
          </p:cNvSpPr>
          <p:nvPr>
            <p:ph idx="62" hasCustomPrompt="1"/>
          </p:nvPr>
        </p:nvSpPr>
        <p:spPr>
          <a:xfrm>
            <a:off x="3276599" y="3752849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6" name="Bildplatzhalter 13"/>
          <p:cNvSpPr>
            <a:spLocks noGrp="1"/>
          </p:cNvSpPr>
          <p:nvPr>
            <p:ph type="pic" sz="quarter" idx="63"/>
          </p:nvPr>
        </p:nvSpPr>
        <p:spPr>
          <a:xfrm>
            <a:off x="3276599" y="2960687"/>
            <a:ext cx="122195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7" name="Inhaltsplatzhalter 2"/>
          <p:cNvSpPr>
            <a:spLocks noGrp="1"/>
          </p:cNvSpPr>
          <p:nvPr>
            <p:ph idx="64" hasCustomPrompt="1"/>
          </p:nvPr>
        </p:nvSpPr>
        <p:spPr>
          <a:xfrm>
            <a:off x="4643438" y="3752849"/>
            <a:ext cx="1223962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8" name="Bildplatzhalter 13"/>
          <p:cNvSpPr>
            <a:spLocks noGrp="1"/>
          </p:cNvSpPr>
          <p:nvPr>
            <p:ph type="pic" sz="quarter" idx="65"/>
          </p:nvPr>
        </p:nvSpPr>
        <p:spPr>
          <a:xfrm>
            <a:off x="4643439" y="2960687"/>
            <a:ext cx="12245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9" name="Inhaltsplatzhalter 2"/>
          <p:cNvSpPr>
            <a:spLocks noGrp="1"/>
          </p:cNvSpPr>
          <p:nvPr>
            <p:ph idx="66" hasCustomPrompt="1"/>
          </p:nvPr>
        </p:nvSpPr>
        <p:spPr>
          <a:xfrm>
            <a:off x="6011863" y="3752849"/>
            <a:ext cx="1224137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0" name="Bildplatzhalter 13"/>
          <p:cNvSpPr>
            <a:spLocks noGrp="1"/>
          </p:cNvSpPr>
          <p:nvPr>
            <p:ph type="pic" sz="quarter" idx="67"/>
          </p:nvPr>
        </p:nvSpPr>
        <p:spPr>
          <a:xfrm>
            <a:off x="6011863" y="2960687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1" name="Inhaltsplatzhalter 2"/>
          <p:cNvSpPr>
            <a:spLocks noGrp="1"/>
          </p:cNvSpPr>
          <p:nvPr>
            <p:ph idx="68" hasCustomPrompt="1"/>
          </p:nvPr>
        </p:nvSpPr>
        <p:spPr>
          <a:xfrm>
            <a:off x="7380288" y="3752849"/>
            <a:ext cx="1226948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2" name="Bildplatzhalter 13"/>
          <p:cNvSpPr>
            <a:spLocks noGrp="1"/>
          </p:cNvSpPr>
          <p:nvPr>
            <p:ph type="pic" sz="quarter" idx="69"/>
          </p:nvPr>
        </p:nvSpPr>
        <p:spPr>
          <a:xfrm>
            <a:off x="7380288" y="2960688"/>
            <a:ext cx="1226948" cy="79216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3" name="Inhaltsplatzhalter 2"/>
          <p:cNvSpPr>
            <a:spLocks noGrp="1"/>
          </p:cNvSpPr>
          <p:nvPr>
            <p:ph idx="70" hasCustomPrompt="1"/>
          </p:nvPr>
        </p:nvSpPr>
        <p:spPr>
          <a:xfrm>
            <a:off x="539750" y="4976813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4" name="Bildplatzhalter 13"/>
          <p:cNvSpPr>
            <a:spLocks noGrp="1"/>
          </p:cNvSpPr>
          <p:nvPr>
            <p:ph type="pic" sz="quarter" idx="71"/>
          </p:nvPr>
        </p:nvSpPr>
        <p:spPr>
          <a:xfrm>
            <a:off x="539750" y="4184649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5" name="Inhaltsplatzhalter 2"/>
          <p:cNvSpPr>
            <a:spLocks noGrp="1"/>
          </p:cNvSpPr>
          <p:nvPr>
            <p:ph idx="72" hasCustomPrompt="1"/>
          </p:nvPr>
        </p:nvSpPr>
        <p:spPr>
          <a:xfrm>
            <a:off x="1908174" y="4976813"/>
            <a:ext cx="1221259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6" name="Bildplatzhalter 13"/>
          <p:cNvSpPr>
            <a:spLocks noGrp="1"/>
          </p:cNvSpPr>
          <p:nvPr>
            <p:ph type="pic" sz="quarter" idx="73"/>
          </p:nvPr>
        </p:nvSpPr>
        <p:spPr>
          <a:xfrm>
            <a:off x="1906720" y="4184650"/>
            <a:ext cx="1225418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7" name="Inhaltsplatzhalter 2"/>
          <p:cNvSpPr>
            <a:spLocks noGrp="1"/>
          </p:cNvSpPr>
          <p:nvPr>
            <p:ph idx="74" hasCustomPrompt="1"/>
          </p:nvPr>
        </p:nvSpPr>
        <p:spPr>
          <a:xfrm>
            <a:off x="3279572" y="4976813"/>
            <a:ext cx="1220991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8" name="Bildplatzhalter 13"/>
          <p:cNvSpPr>
            <a:spLocks noGrp="1"/>
          </p:cNvSpPr>
          <p:nvPr>
            <p:ph type="pic" sz="quarter" idx="75"/>
          </p:nvPr>
        </p:nvSpPr>
        <p:spPr>
          <a:xfrm>
            <a:off x="3276600" y="4184649"/>
            <a:ext cx="1221956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9" name="Inhaltsplatzhalter 2"/>
          <p:cNvSpPr>
            <a:spLocks noGrp="1"/>
          </p:cNvSpPr>
          <p:nvPr>
            <p:ph idx="76" hasCustomPrompt="1"/>
          </p:nvPr>
        </p:nvSpPr>
        <p:spPr>
          <a:xfrm>
            <a:off x="4647997" y="4976813"/>
            <a:ext cx="121891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0" name="Bildplatzhalter 13"/>
          <p:cNvSpPr>
            <a:spLocks noGrp="1"/>
          </p:cNvSpPr>
          <p:nvPr>
            <p:ph type="pic" sz="quarter" idx="77"/>
          </p:nvPr>
        </p:nvSpPr>
        <p:spPr>
          <a:xfrm>
            <a:off x="4643438" y="4184649"/>
            <a:ext cx="12239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1" name="Inhaltsplatzhalter 2"/>
          <p:cNvSpPr>
            <a:spLocks noGrp="1"/>
          </p:cNvSpPr>
          <p:nvPr>
            <p:ph idx="78" hasCustomPrompt="1"/>
          </p:nvPr>
        </p:nvSpPr>
        <p:spPr>
          <a:xfrm>
            <a:off x="6011863" y="4976813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2" name="Bildplatzhalter 13"/>
          <p:cNvSpPr>
            <a:spLocks noGrp="1"/>
          </p:cNvSpPr>
          <p:nvPr>
            <p:ph type="pic" sz="quarter" idx="79"/>
          </p:nvPr>
        </p:nvSpPr>
        <p:spPr>
          <a:xfrm>
            <a:off x="6011863" y="4184649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3" name="Inhaltsplatzhalter 2"/>
          <p:cNvSpPr>
            <a:spLocks noGrp="1"/>
          </p:cNvSpPr>
          <p:nvPr>
            <p:ph idx="80" hasCustomPrompt="1"/>
          </p:nvPr>
        </p:nvSpPr>
        <p:spPr>
          <a:xfrm>
            <a:off x="7380288" y="4976813"/>
            <a:ext cx="12239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4" name="Bildplatzhalter 13"/>
          <p:cNvSpPr>
            <a:spLocks noGrp="1"/>
          </p:cNvSpPr>
          <p:nvPr>
            <p:ph type="pic" sz="quarter" idx="81"/>
          </p:nvPr>
        </p:nvSpPr>
        <p:spPr>
          <a:xfrm>
            <a:off x="7380288" y="4184648"/>
            <a:ext cx="1226948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3"/>
            <a:ext cx="8059540" cy="395287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  <p:sp>
        <p:nvSpPr>
          <p:cNvPr id="4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49" y="800100"/>
            <a:ext cx="8064501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083234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Bilder + Text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64D508-2976-42EB-80D4-95D99DF51E08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25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2592389" cy="107950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28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2816225"/>
            <a:ext cx="2592388" cy="217488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43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3276600" y="1736724"/>
            <a:ext cx="2590800" cy="107950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4" name="Inhaltsplatzhalter 2"/>
          <p:cNvSpPr>
            <a:spLocks noGrp="1"/>
          </p:cNvSpPr>
          <p:nvPr>
            <p:ph idx="16" hasCustomPrompt="1"/>
          </p:nvPr>
        </p:nvSpPr>
        <p:spPr>
          <a:xfrm>
            <a:off x="3276600" y="2816225"/>
            <a:ext cx="2590800" cy="217488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45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11862" y="1736724"/>
            <a:ext cx="2592387" cy="107950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6" name="Inhaltsplatzhalter 2"/>
          <p:cNvSpPr>
            <a:spLocks noGrp="1"/>
          </p:cNvSpPr>
          <p:nvPr>
            <p:ph idx="18" hasCustomPrompt="1"/>
          </p:nvPr>
        </p:nvSpPr>
        <p:spPr>
          <a:xfrm>
            <a:off x="6011862" y="2816225"/>
            <a:ext cx="2592387" cy="217488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48" name="Bildplatzhalter 13"/>
          <p:cNvSpPr>
            <a:spLocks noGrp="1"/>
          </p:cNvSpPr>
          <p:nvPr>
            <p:ph type="pic" sz="quarter" idx="19"/>
          </p:nvPr>
        </p:nvSpPr>
        <p:spPr>
          <a:xfrm>
            <a:off x="539749" y="3105150"/>
            <a:ext cx="2592389" cy="10795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9" name="Inhaltsplatzhalter 2"/>
          <p:cNvSpPr>
            <a:spLocks noGrp="1"/>
          </p:cNvSpPr>
          <p:nvPr>
            <p:ph idx="20" hasCustomPrompt="1"/>
          </p:nvPr>
        </p:nvSpPr>
        <p:spPr>
          <a:xfrm>
            <a:off x="539749" y="4184650"/>
            <a:ext cx="2592389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50" name="Bildplatzhalter 13"/>
          <p:cNvSpPr>
            <a:spLocks noGrp="1"/>
          </p:cNvSpPr>
          <p:nvPr>
            <p:ph type="pic" sz="quarter" idx="21"/>
          </p:nvPr>
        </p:nvSpPr>
        <p:spPr>
          <a:xfrm>
            <a:off x="3276600" y="3105150"/>
            <a:ext cx="2590800" cy="10795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1" name="Inhaltsplatzhalter 2"/>
          <p:cNvSpPr>
            <a:spLocks noGrp="1"/>
          </p:cNvSpPr>
          <p:nvPr>
            <p:ph idx="22" hasCustomPrompt="1"/>
          </p:nvPr>
        </p:nvSpPr>
        <p:spPr>
          <a:xfrm>
            <a:off x="3276599" y="4184650"/>
            <a:ext cx="2590801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52" name="Bildplatzhalter 13"/>
          <p:cNvSpPr>
            <a:spLocks noGrp="1"/>
          </p:cNvSpPr>
          <p:nvPr>
            <p:ph type="pic" sz="quarter" idx="23"/>
          </p:nvPr>
        </p:nvSpPr>
        <p:spPr>
          <a:xfrm>
            <a:off x="6011863" y="3112142"/>
            <a:ext cx="2592387" cy="1072508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3" name="Inhaltsplatzhalter 2"/>
          <p:cNvSpPr>
            <a:spLocks noGrp="1"/>
          </p:cNvSpPr>
          <p:nvPr>
            <p:ph idx="24" hasCustomPrompt="1"/>
          </p:nvPr>
        </p:nvSpPr>
        <p:spPr>
          <a:xfrm>
            <a:off x="6011863" y="4184650"/>
            <a:ext cx="2592137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54" name="Bildplatzhalter 13"/>
          <p:cNvSpPr>
            <a:spLocks noGrp="1"/>
          </p:cNvSpPr>
          <p:nvPr>
            <p:ph type="pic" sz="quarter" idx="25"/>
          </p:nvPr>
        </p:nvSpPr>
        <p:spPr>
          <a:xfrm>
            <a:off x="539749" y="4473574"/>
            <a:ext cx="2592389" cy="107950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5" name="Inhaltsplatzhalter 2"/>
          <p:cNvSpPr>
            <a:spLocks noGrp="1"/>
          </p:cNvSpPr>
          <p:nvPr>
            <p:ph idx="26" hasCustomPrompt="1"/>
          </p:nvPr>
        </p:nvSpPr>
        <p:spPr>
          <a:xfrm>
            <a:off x="539749" y="5553075"/>
            <a:ext cx="2592389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56" name="Bildplatzhalter 13"/>
          <p:cNvSpPr>
            <a:spLocks noGrp="1"/>
          </p:cNvSpPr>
          <p:nvPr>
            <p:ph type="pic" sz="quarter" idx="27"/>
          </p:nvPr>
        </p:nvSpPr>
        <p:spPr>
          <a:xfrm>
            <a:off x="3276600" y="4473574"/>
            <a:ext cx="2590800" cy="107791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7" name="Inhaltsplatzhalter 2"/>
          <p:cNvSpPr>
            <a:spLocks noGrp="1"/>
          </p:cNvSpPr>
          <p:nvPr>
            <p:ph idx="28" hasCustomPrompt="1"/>
          </p:nvPr>
        </p:nvSpPr>
        <p:spPr>
          <a:xfrm>
            <a:off x="3276599" y="5553075"/>
            <a:ext cx="2590801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58" name="Bildplatzhalter 13"/>
          <p:cNvSpPr>
            <a:spLocks noGrp="1"/>
          </p:cNvSpPr>
          <p:nvPr>
            <p:ph type="pic" sz="quarter" idx="29"/>
          </p:nvPr>
        </p:nvSpPr>
        <p:spPr>
          <a:xfrm>
            <a:off x="6011863" y="4473574"/>
            <a:ext cx="2592387" cy="107950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9" name="Inhaltsplatzhalter 2"/>
          <p:cNvSpPr>
            <a:spLocks noGrp="1"/>
          </p:cNvSpPr>
          <p:nvPr>
            <p:ph idx="30" hasCustomPrompt="1"/>
          </p:nvPr>
        </p:nvSpPr>
        <p:spPr>
          <a:xfrm>
            <a:off x="6011863" y="5553075"/>
            <a:ext cx="2592387" cy="215900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dirty="0"/>
              <a:t>Textmasterformat bearbeiten</a:t>
            </a:r>
          </a:p>
        </p:txBody>
      </p:sp>
      <p:sp>
        <p:nvSpPr>
          <p:cNvPr id="29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49" y="800100"/>
            <a:ext cx="8064501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30" name="Titel 3"/>
          <p:cNvSpPr>
            <a:spLocks noGrp="1"/>
          </p:cNvSpPr>
          <p:nvPr>
            <p:ph type="title" hasCustomPrompt="1"/>
          </p:nvPr>
        </p:nvSpPr>
        <p:spPr>
          <a:xfrm>
            <a:off x="539749" y="404814"/>
            <a:ext cx="8059791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02597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539750" y="1665288"/>
            <a:ext cx="80645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935489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539750" y="1665288"/>
            <a:ext cx="80645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/>
          <a:p>
            <a:r>
              <a:rPr lang="de-CH" dirty="0" err="1"/>
              <a:t>Klik</a:t>
            </a:r>
            <a:r>
              <a:rPr lang="de-CH" dirty="0"/>
              <a:t> </a:t>
            </a:r>
            <a:r>
              <a:rPr lang="de-CH" dirty="0" err="1"/>
              <a:t>om</a:t>
            </a:r>
            <a:r>
              <a:rPr lang="de-CH" dirty="0"/>
              <a:t> de </a:t>
            </a:r>
            <a:r>
              <a:rPr lang="de-CH" dirty="0" err="1"/>
              <a:t>stijl</a:t>
            </a:r>
            <a:r>
              <a:rPr lang="de-CH" dirty="0"/>
              <a:t> </a:t>
            </a:r>
            <a:r>
              <a:rPr lang="de-CH" dirty="0" err="1"/>
              <a:t>te</a:t>
            </a:r>
            <a:r>
              <a:rPr lang="de-CH" dirty="0"/>
              <a:t> </a:t>
            </a:r>
            <a:r>
              <a:rPr lang="de-CH" dirty="0" err="1"/>
              <a:t>bewerk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632775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8059790" cy="4537076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7657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8064500" cy="2736851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689475"/>
            <a:ext cx="8064500" cy="158432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42655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4537075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32363" y="1665288"/>
            <a:ext cx="3667178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49" y="404814"/>
            <a:ext cx="8059791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62281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  <p15:guide id="2" pos="3107" userDrawn="1">
          <p15:clr>
            <a:srgbClr val="9FCC3B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abell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4537076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32362" y="2097088"/>
            <a:ext cx="3671888" cy="41767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 algn="l">
              <a:defRPr sz="1800"/>
            </a:lvl3pPr>
            <a:lvl4pPr algn="l">
              <a:defRPr sz="1800"/>
            </a:lvl4pPr>
            <a:lvl5pPr algn="l"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66" hasCustomPrompt="1"/>
          </p:nvPr>
        </p:nvSpPr>
        <p:spPr>
          <a:xfrm>
            <a:off x="4932362" y="1736724"/>
            <a:ext cx="3671888" cy="215901"/>
          </a:xfr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lIns="108000" anchor="ctr" anchorCtr="0"/>
          <a:lstStyle>
            <a:lvl1pPr marL="0" indent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200" b="1">
                <a:solidFill>
                  <a:schemeClr val="bg1"/>
                </a:solidFill>
              </a:defRPr>
            </a:lvl2pPr>
            <a:lvl3pPr>
              <a:defRPr sz="1200" b="1">
                <a:solidFill>
                  <a:schemeClr val="bg1"/>
                </a:solidFill>
              </a:defRPr>
            </a:lvl3pPr>
            <a:lvl4pPr>
              <a:defRPr sz="12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49" y="800100"/>
            <a:ext cx="8064501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05709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07" userDrawn="1">
          <p15:clr>
            <a:srgbClr val="9FCC3B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2447926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473574"/>
            <a:ext cx="3960242" cy="1800226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45345" y="4473574"/>
            <a:ext cx="3958905" cy="1800226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19"/>
          </p:nvPr>
        </p:nvSpPr>
        <p:spPr>
          <a:xfrm>
            <a:off x="4645345" y="1736724"/>
            <a:ext cx="3958905" cy="24479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49" y="404814"/>
            <a:ext cx="8059791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44864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2592388" cy="2016125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041776"/>
            <a:ext cx="2592388" cy="2236534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276813" y="4041776"/>
            <a:ext cx="2590587" cy="2236534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12000" y="4041775"/>
            <a:ext cx="2587540" cy="2232026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1"/>
          </p:nvPr>
        </p:nvSpPr>
        <p:spPr>
          <a:xfrm>
            <a:off x="3276813" y="1736724"/>
            <a:ext cx="2590587" cy="201612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22"/>
          </p:nvPr>
        </p:nvSpPr>
        <p:spPr>
          <a:xfrm>
            <a:off x="6012000" y="1736724"/>
            <a:ext cx="2592250" cy="2016125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5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33028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-1"/>
            <a:ext cx="9151046" cy="4545014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icon</a:t>
            </a:r>
            <a:r>
              <a:rPr lang="de-CH" noProof="0" dirty="0"/>
              <a:t>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add</a:t>
            </a:r>
            <a:r>
              <a:rPr lang="de-CH" noProof="0" dirty="0"/>
              <a:t> </a:t>
            </a:r>
            <a:r>
              <a:rPr lang="de-CH" noProof="0" dirty="0" err="1"/>
              <a:t>picture</a:t>
            </a:r>
            <a:endParaRPr lang="de-CH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3"/>
            <a:ext cx="9151046" cy="23129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subtitle</a:t>
            </a:r>
            <a:r>
              <a:rPr lang="de-CH" noProof="0" dirty="0"/>
              <a:t> sty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720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 userDrawn="1">
          <p15:clr>
            <a:srgbClr val="9FCC3B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5"/>
            <a:ext cx="5327650" cy="4537074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012000" y="1736724"/>
            <a:ext cx="2592000" cy="22320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012000" y="4041774"/>
            <a:ext cx="2592250" cy="22320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679020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</p:spPr>
        <p:txBody>
          <a:bodyPr tIns="23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46208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  <p15:guide id="2" orient="horz" pos="4088" userDrawn="1">
          <p15:clr>
            <a:srgbClr val="9FCC3B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Säu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736724"/>
            <a:ext cx="8064500" cy="4537075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586934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953110"/>
            <a:ext cx="2592388" cy="1871178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39750" y="1665288"/>
            <a:ext cx="2592388" cy="215900"/>
          </a:xfrm>
        </p:spPr>
        <p:txBody>
          <a:bodyPr tIns="43200"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11" name="Diagrammplatzhalter 9"/>
          <p:cNvSpPr>
            <a:spLocks noGrp="1"/>
          </p:cNvSpPr>
          <p:nvPr>
            <p:ph type="chart" sz="quarter" idx="18"/>
          </p:nvPr>
        </p:nvSpPr>
        <p:spPr>
          <a:xfrm>
            <a:off x="4644000" y="1953110"/>
            <a:ext cx="2591825" cy="1871178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4644000" y="1665289"/>
            <a:ext cx="2592000" cy="215900"/>
          </a:xfrm>
        </p:spPr>
        <p:txBody>
          <a:bodyPr tIns="43200"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66" hasCustomPrompt="1"/>
          </p:nvPr>
        </p:nvSpPr>
        <p:spPr>
          <a:xfrm>
            <a:off x="539750" y="4760913"/>
            <a:ext cx="2592000" cy="1512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67" hasCustomPrompt="1"/>
          </p:nvPr>
        </p:nvSpPr>
        <p:spPr>
          <a:xfrm>
            <a:off x="4644000" y="4760913"/>
            <a:ext cx="2592000" cy="1512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68"/>
          </p:nvPr>
        </p:nvSpPr>
        <p:spPr>
          <a:xfrm>
            <a:off x="4644000" y="3968749"/>
            <a:ext cx="2591825" cy="720725"/>
          </a:xfrm>
        </p:spPr>
        <p:txBody>
          <a:bodyPr/>
          <a:lstStyle/>
          <a:p>
            <a:endParaRPr lang="de-CH" noProof="0" dirty="0"/>
          </a:p>
        </p:txBody>
      </p:sp>
      <p:sp>
        <p:nvSpPr>
          <p:cNvPr id="16" name="Tabellenplatzhalter 6"/>
          <p:cNvSpPr>
            <a:spLocks noGrp="1"/>
          </p:cNvSpPr>
          <p:nvPr>
            <p:ph type="tbl" sz="quarter" idx="69"/>
          </p:nvPr>
        </p:nvSpPr>
        <p:spPr>
          <a:xfrm>
            <a:off x="539750" y="3968749"/>
            <a:ext cx="2592388" cy="720725"/>
          </a:xfrm>
        </p:spPr>
        <p:txBody>
          <a:bodyPr/>
          <a:lstStyle/>
          <a:p>
            <a:endParaRPr lang="de-CH" noProof="0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20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086403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690270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9 Bilder + Text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49" y="1727588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28" name="Inhaltsplatzhalter 2"/>
          <p:cNvSpPr>
            <a:spLocks noGrp="1"/>
          </p:cNvSpPr>
          <p:nvPr>
            <p:ph idx="1"/>
          </p:nvPr>
        </p:nvSpPr>
        <p:spPr>
          <a:xfrm>
            <a:off x="539750" y="2846863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3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3276000" y="1727588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44" name="Inhaltsplatzhalter 2"/>
          <p:cNvSpPr>
            <a:spLocks noGrp="1"/>
          </p:cNvSpPr>
          <p:nvPr>
            <p:ph idx="16"/>
          </p:nvPr>
        </p:nvSpPr>
        <p:spPr>
          <a:xfrm>
            <a:off x="3276000" y="2846863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5" name="Bildplatzhalter 13"/>
          <p:cNvSpPr>
            <a:spLocks noGrp="1"/>
          </p:cNvSpPr>
          <p:nvPr>
            <p:ph type="pic" sz="quarter" idx="17"/>
          </p:nvPr>
        </p:nvSpPr>
        <p:spPr>
          <a:xfrm>
            <a:off x="6010727" y="1727588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46" name="Inhaltsplatzhalter 2"/>
          <p:cNvSpPr>
            <a:spLocks noGrp="1"/>
          </p:cNvSpPr>
          <p:nvPr>
            <p:ph idx="18"/>
          </p:nvPr>
        </p:nvSpPr>
        <p:spPr>
          <a:xfrm>
            <a:off x="6010727" y="2846863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8" name="Bildplatzhalter 13"/>
          <p:cNvSpPr>
            <a:spLocks noGrp="1"/>
          </p:cNvSpPr>
          <p:nvPr>
            <p:ph type="pic" sz="quarter" idx="19"/>
          </p:nvPr>
        </p:nvSpPr>
        <p:spPr>
          <a:xfrm>
            <a:off x="539749" y="3096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49" name="Inhaltsplatzhalter 2"/>
          <p:cNvSpPr>
            <a:spLocks noGrp="1"/>
          </p:cNvSpPr>
          <p:nvPr>
            <p:ph idx="20"/>
          </p:nvPr>
        </p:nvSpPr>
        <p:spPr>
          <a:xfrm>
            <a:off x="539750" y="4215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0" name="Bildplatzhalter 13"/>
          <p:cNvSpPr>
            <a:spLocks noGrp="1"/>
          </p:cNvSpPr>
          <p:nvPr>
            <p:ph type="pic" sz="quarter" idx="21"/>
          </p:nvPr>
        </p:nvSpPr>
        <p:spPr>
          <a:xfrm>
            <a:off x="3274476" y="3096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51" name="Inhaltsplatzhalter 2"/>
          <p:cNvSpPr>
            <a:spLocks noGrp="1"/>
          </p:cNvSpPr>
          <p:nvPr>
            <p:ph idx="22"/>
          </p:nvPr>
        </p:nvSpPr>
        <p:spPr>
          <a:xfrm>
            <a:off x="3274477" y="4215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2" name="Bildplatzhalter 13"/>
          <p:cNvSpPr>
            <a:spLocks noGrp="1"/>
          </p:cNvSpPr>
          <p:nvPr>
            <p:ph type="pic" sz="quarter" idx="23"/>
          </p:nvPr>
        </p:nvSpPr>
        <p:spPr>
          <a:xfrm>
            <a:off x="6012000" y="3096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53" name="Inhaltsplatzhalter 2"/>
          <p:cNvSpPr>
            <a:spLocks noGrp="1"/>
          </p:cNvSpPr>
          <p:nvPr>
            <p:ph idx="24"/>
          </p:nvPr>
        </p:nvSpPr>
        <p:spPr>
          <a:xfrm>
            <a:off x="6012000" y="4215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4" name="Bildplatzhalter 13"/>
          <p:cNvSpPr>
            <a:spLocks noGrp="1"/>
          </p:cNvSpPr>
          <p:nvPr>
            <p:ph type="pic" sz="quarter" idx="25"/>
          </p:nvPr>
        </p:nvSpPr>
        <p:spPr>
          <a:xfrm>
            <a:off x="539749" y="4464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55" name="Inhaltsplatzhalter 2"/>
          <p:cNvSpPr>
            <a:spLocks noGrp="1"/>
          </p:cNvSpPr>
          <p:nvPr>
            <p:ph idx="26"/>
          </p:nvPr>
        </p:nvSpPr>
        <p:spPr>
          <a:xfrm>
            <a:off x="539750" y="5583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6" name="Bildplatzhalter 13"/>
          <p:cNvSpPr>
            <a:spLocks noGrp="1"/>
          </p:cNvSpPr>
          <p:nvPr>
            <p:ph type="pic" sz="quarter" idx="27"/>
          </p:nvPr>
        </p:nvSpPr>
        <p:spPr>
          <a:xfrm>
            <a:off x="3274476" y="4464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57" name="Inhaltsplatzhalter 2"/>
          <p:cNvSpPr>
            <a:spLocks noGrp="1"/>
          </p:cNvSpPr>
          <p:nvPr>
            <p:ph idx="28"/>
          </p:nvPr>
        </p:nvSpPr>
        <p:spPr>
          <a:xfrm>
            <a:off x="3274477" y="5583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8" name="Bildplatzhalter 13"/>
          <p:cNvSpPr>
            <a:spLocks noGrp="1"/>
          </p:cNvSpPr>
          <p:nvPr>
            <p:ph type="pic" sz="quarter" idx="29"/>
          </p:nvPr>
        </p:nvSpPr>
        <p:spPr>
          <a:xfrm>
            <a:off x="6012000" y="4464000"/>
            <a:ext cx="2592000" cy="1080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pPr lvl="0"/>
            <a:endParaRPr lang="de-CH" noProof="0" dirty="0"/>
          </a:p>
        </p:txBody>
      </p:sp>
      <p:sp>
        <p:nvSpPr>
          <p:cNvPr id="59" name="Inhaltsplatzhalter 2"/>
          <p:cNvSpPr>
            <a:spLocks noGrp="1"/>
          </p:cNvSpPr>
          <p:nvPr>
            <p:ph idx="30"/>
          </p:nvPr>
        </p:nvSpPr>
        <p:spPr>
          <a:xfrm>
            <a:off x="6012000" y="5583600"/>
            <a:ext cx="2592000" cy="17997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40447" y="5832000"/>
            <a:ext cx="8064000" cy="432000"/>
          </a:xfr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20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61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396000"/>
          </a:xfrm>
        </p:spPr>
        <p:txBody>
          <a:bodyPr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62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074A3FC2-42E1-4568-BA92-CC7764F1819F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 | Name | © Stadler | 24.03.2023</a:t>
            </a:r>
            <a:endParaRPr lang="de-CH" dirty="0"/>
          </a:p>
        </p:txBody>
      </p:sp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35EA9F82-8CD3-44B1-82BF-ED0C77072B33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5368BD-A080-47C3-977D-9E4B0E28FE28}" type="slidenum">
              <a:rPr lang="de-CH" altLang="de-DE"/>
              <a:pPr>
                <a:defRPr/>
              </a:pPr>
              <a:t>‹#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9371586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lide Titel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2" y="1642266"/>
            <a:ext cx="8064500" cy="360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39750" y="5612365"/>
            <a:ext cx="8064000" cy="648000"/>
          </a:xfrm>
          <a:solidFill>
            <a:srgbClr val="1E5A9A"/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800" b="1">
                <a:solidFill>
                  <a:srgbClr val="FFFFFF"/>
                </a:solidFill>
              </a:defRPr>
            </a:lvl1pPr>
            <a:lvl2pPr marL="457068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138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206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276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39752" y="418808"/>
            <a:ext cx="8064500" cy="415275"/>
          </a:xfrm>
        </p:spPr>
        <p:txBody>
          <a:bodyPr/>
          <a:lstStyle>
            <a:lvl1pPr>
              <a:defRPr baseline="0"/>
            </a:lvl1pPr>
          </a:lstStyle>
          <a:p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2F8469-0CBA-4DD1-B605-C29955F9D3E0}"/>
              </a:ext>
            </a:extLst>
          </p:cNvPr>
          <p:cNvSpPr>
            <a:spLocks noGrp="1"/>
          </p:cNvSpPr>
          <p:nvPr>
            <p:ph type="ftr" sz="quarter" idx="4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 | Name | © Stadler | 24.03.2023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F8271E-9E4D-43E4-98E6-4A0DBF6F66C4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E77DF-8734-44DF-AB05-417FFEA7C08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8700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lide Titel Untertitel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0" y="1642266"/>
            <a:ext cx="8064500" cy="360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39750" y="5612365"/>
            <a:ext cx="8064000" cy="648000"/>
          </a:xfrm>
          <a:solidFill>
            <a:srgbClr val="1E5A9A"/>
          </a:solidFill>
          <a:ln>
            <a:noFill/>
          </a:ln>
        </p:spPr>
        <p:txBody>
          <a:bodyPr anchor="ctr"/>
          <a:lstStyle>
            <a:lvl1pPr marL="0" indent="0" algn="ctr">
              <a:buFontTx/>
              <a:buNone/>
              <a:defRPr sz="1800" b="1"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9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15275"/>
          </a:xfrm>
        </p:spPr>
        <p:txBody>
          <a:bodyPr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A286B7F-5121-4B52-B0BA-07F535A41BA9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Title | Name | © Stadler | 24.03.2023</a:t>
            </a:r>
            <a:endParaRPr lang="de-CH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7B7E38D7-52D8-4605-9609-51887799A139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0819C-9DF5-4191-ADFA-68C8F4F7EB77}" type="slidenum">
              <a:rPr lang="de-CH" altLang="de-DE"/>
              <a:pPr>
                <a:defRPr/>
              </a:pPr>
              <a:t>‹#›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1105763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0"/>
            <a:ext cx="9151046" cy="4581525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de-CH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4"/>
            <a:ext cx="9151046" cy="23129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CH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156000"/>
            <a:ext cx="4320000" cy="288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 dirty="0"/>
              <a:t>Präsentator, Ort, Datum </a:t>
            </a:r>
            <a:r>
              <a:rPr lang="de-CH" noProof="0" dirty="0" err="1"/>
              <a:t>TT.MM.JJJJ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468940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863">
          <p15:clr>
            <a:srgbClr val="9FCC3B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-1"/>
            <a:ext cx="9151046" cy="4545014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icon</a:t>
            </a:r>
            <a:r>
              <a:rPr lang="de-CH" noProof="0" dirty="0"/>
              <a:t>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add</a:t>
            </a:r>
            <a:r>
              <a:rPr lang="de-CH" noProof="0" dirty="0"/>
              <a:t> </a:t>
            </a:r>
            <a:r>
              <a:rPr lang="de-CH" noProof="0" dirty="0" err="1"/>
              <a:t>picture</a:t>
            </a:r>
            <a:endParaRPr lang="de-CH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3"/>
            <a:ext cx="9151046" cy="23129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subtitle</a:t>
            </a:r>
            <a:r>
              <a:rPr lang="de-CH" noProof="0" dirty="0"/>
              <a:t> styl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491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9FCC3B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0"/>
            <a:ext cx="9180000" cy="6858000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icon</a:t>
            </a:r>
            <a:r>
              <a:rPr lang="de-CH" noProof="0" dirty="0"/>
              <a:t>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add</a:t>
            </a:r>
            <a:r>
              <a:rPr lang="de-CH" noProof="0" dirty="0"/>
              <a:t> </a:t>
            </a:r>
            <a:r>
              <a:rPr lang="de-CH" noProof="0" dirty="0" err="1"/>
              <a:t>picture</a:t>
            </a:r>
            <a:endParaRPr lang="de-CH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432000"/>
            <a:ext cx="8064500" cy="396000"/>
          </a:xfrm>
        </p:spPr>
        <p:txBody>
          <a:bodyPr anchor="t" anchorCtr="0">
            <a:noAutofit/>
          </a:bodyPr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3564000"/>
            <a:ext cx="8064500" cy="2160000"/>
          </a:xfrm>
        </p:spPr>
        <p:txBody>
          <a:bodyPr>
            <a:noAutofit/>
          </a:bodyPr>
          <a:lstStyle>
            <a:lvl1pPr marL="0" indent="0" algn="l">
              <a:buNone/>
              <a:defRPr sz="5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subtitle</a:t>
            </a:r>
            <a:r>
              <a:rPr lang="de-CH" noProof="0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5448581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5400000" cy="864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930556"/>
            <a:ext cx="8064698" cy="4320000"/>
          </a:xfrm>
        </p:spPr>
        <p:txBody>
          <a:bodyPr/>
          <a:lstStyle>
            <a:lvl1pPr marL="342900" indent="-342900">
              <a:buFont typeface="+mj-lt"/>
              <a:buAutoNum type="arabicPeriod"/>
              <a:tabLst>
                <a:tab pos="4783138" algn="l"/>
                <a:tab pos="5470525" algn="l"/>
              </a:tabLst>
              <a:defRPr sz="18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467" y="508593"/>
            <a:ext cx="2160037" cy="20021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23464"/>
            <a:ext cx="8064698" cy="67056"/>
          </a:xfrm>
          <a:prstGeom prst="rect">
            <a:avLst/>
          </a:prstGeom>
        </p:spPr>
      </p:pic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548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396000"/>
          </a:xfrm>
        </p:spPr>
        <p:txBody>
          <a:bodyPr anchor="t" anchorCtr="0"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endParaRPr lang="de-CH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85143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50" y="790607"/>
            <a:ext cx="8064500" cy="396000"/>
          </a:xfrm>
        </p:spPr>
        <p:txBody>
          <a:bodyPr/>
          <a:lstStyle>
            <a:lvl1pPr marL="0" indent="0">
              <a:buNone/>
              <a:defRPr sz="2800" b="1" cap="all" baseline="0">
                <a:solidFill>
                  <a:schemeClr val="tx2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50" y="172564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16" name="Inhaltsplatzhalter 2"/>
          <p:cNvSpPr>
            <a:spLocks noGrp="1"/>
          </p:cNvSpPr>
          <p:nvPr>
            <p:ph idx="15"/>
          </p:nvPr>
        </p:nvSpPr>
        <p:spPr>
          <a:xfrm>
            <a:off x="2607826" y="2854021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17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2607826" y="1728227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18" name="Inhaltsplatzhalter 2"/>
          <p:cNvSpPr>
            <a:spLocks noGrp="1"/>
          </p:cNvSpPr>
          <p:nvPr>
            <p:ph idx="17"/>
          </p:nvPr>
        </p:nvSpPr>
        <p:spPr>
          <a:xfrm>
            <a:off x="4662542" y="285143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19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4662542" y="172564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20" name="Inhaltsplatzhalter 2"/>
          <p:cNvSpPr>
            <a:spLocks noGrp="1"/>
          </p:cNvSpPr>
          <p:nvPr>
            <p:ph idx="19"/>
          </p:nvPr>
        </p:nvSpPr>
        <p:spPr>
          <a:xfrm>
            <a:off x="6717258" y="285143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1" name="Bildplatzhalter 13"/>
          <p:cNvSpPr>
            <a:spLocks noGrp="1"/>
          </p:cNvSpPr>
          <p:nvPr>
            <p:ph type="pic" sz="quarter" idx="20"/>
          </p:nvPr>
        </p:nvSpPr>
        <p:spPr>
          <a:xfrm>
            <a:off x="6717258" y="172564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24" name="Inhaltsplatzhalter 2"/>
          <p:cNvSpPr>
            <a:spLocks noGrp="1"/>
          </p:cNvSpPr>
          <p:nvPr>
            <p:ph idx="21"/>
          </p:nvPr>
        </p:nvSpPr>
        <p:spPr>
          <a:xfrm>
            <a:off x="539868" y="429619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25" name="Bildplatzhalter 13"/>
          <p:cNvSpPr>
            <a:spLocks noGrp="1"/>
          </p:cNvSpPr>
          <p:nvPr>
            <p:ph type="pic" sz="quarter" idx="22"/>
          </p:nvPr>
        </p:nvSpPr>
        <p:spPr>
          <a:xfrm>
            <a:off x="539868" y="317040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26" name="Inhaltsplatzhalter 2"/>
          <p:cNvSpPr>
            <a:spLocks noGrp="1"/>
          </p:cNvSpPr>
          <p:nvPr>
            <p:ph idx="23"/>
          </p:nvPr>
        </p:nvSpPr>
        <p:spPr>
          <a:xfrm>
            <a:off x="2607944" y="4298781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27" name="Bildplatzhalter 13"/>
          <p:cNvSpPr>
            <a:spLocks noGrp="1"/>
          </p:cNvSpPr>
          <p:nvPr>
            <p:ph type="pic" sz="quarter" idx="24"/>
          </p:nvPr>
        </p:nvSpPr>
        <p:spPr>
          <a:xfrm>
            <a:off x="2607944" y="3172987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28" name="Inhaltsplatzhalter 2"/>
          <p:cNvSpPr>
            <a:spLocks noGrp="1"/>
          </p:cNvSpPr>
          <p:nvPr>
            <p:ph idx="25"/>
          </p:nvPr>
        </p:nvSpPr>
        <p:spPr>
          <a:xfrm>
            <a:off x="4662660" y="429619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9" name="Bildplatzhalter 13"/>
          <p:cNvSpPr>
            <a:spLocks noGrp="1"/>
          </p:cNvSpPr>
          <p:nvPr>
            <p:ph type="pic" sz="quarter" idx="26"/>
          </p:nvPr>
        </p:nvSpPr>
        <p:spPr>
          <a:xfrm>
            <a:off x="4662660" y="317040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30" name="Inhaltsplatzhalter 2"/>
          <p:cNvSpPr>
            <a:spLocks noGrp="1"/>
          </p:cNvSpPr>
          <p:nvPr>
            <p:ph idx="27"/>
          </p:nvPr>
        </p:nvSpPr>
        <p:spPr>
          <a:xfrm>
            <a:off x="6717376" y="429619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1" name="Bildplatzhalter 13"/>
          <p:cNvSpPr>
            <a:spLocks noGrp="1"/>
          </p:cNvSpPr>
          <p:nvPr>
            <p:ph type="pic" sz="quarter" idx="28"/>
          </p:nvPr>
        </p:nvSpPr>
        <p:spPr>
          <a:xfrm>
            <a:off x="6717376" y="317040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32" name="Inhaltsplatzhalter 2"/>
          <p:cNvSpPr>
            <a:spLocks noGrp="1"/>
          </p:cNvSpPr>
          <p:nvPr>
            <p:ph idx="29"/>
          </p:nvPr>
        </p:nvSpPr>
        <p:spPr>
          <a:xfrm>
            <a:off x="539552" y="5736547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3" name="Bildplatzhalter 13"/>
          <p:cNvSpPr>
            <a:spLocks noGrp="1"/>
          </p:cNvSpPr>
          <p:nvPr>
            <p:ph type="pic" sz="quarter" idx="30"/>
          </p:nvPr>
        </p:nvSpPr>
        <p:spPr>
          <a:xfrm>
            <a:off x="539552" y="4610753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34" name="Inhaltsplatzhalter 2"/>
          <p:cNvSpPr>
            <a:spLocks noGrp="1"/>
          </p:cNvSpPr>
          <p:nvPr>
            <p:ph idx="31"/>
          </p:nvPr>
        </p:nvSpPr>
        <p:spPr>
          <a:xfrm>
            <a:off x="2607628" y="5739129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5" name="Bildplatzhalter 13"/>
          <p:cNvSpPr>
            <a:spLocks noGrp="1"/>
          </p:cNvSpPr>
          <p:nvPr>
            <p:ph type="pic" sz="quarter" idx="32"/>
          </p:nvPr>
        </p:nvSpPr>
        <p:spPr>
          <a:xfrm>
            <a:off x="2607628" y="4613335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36" name="Inhaltsplatzhalter 2"/>
          <p:cNvSpPr>
            <a:spLocks noGrp="1"/>
          </p:cNvSpPr>
          <p:nvPr>
            <p:ph idx="33"/>
          </p:nvPr>
        </p:nvSpPr>
        <p:spPr>
          <a:xfrm>
            <a:off x="4662344" y="5736547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7" name="Bildplatzhalter 13"/>
          <p:cNvSpPr>
            <a:spLocks noGrp="1"/>
          </p:cNvSpPr>
          <p:nvPr>
            <p:ph type="pic" sz="quarter" idx="34"/>
          </p:nvPr>
        </p:nvSpPr>
        <p:spPr>
          <a:xfrm>
            <a:off x="4662344" y="4610753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38" name="Inhaltsplatzhalter 2"/>
          <p:cNvSpPr>
            <a:spLocks noGrp="1"/>
          </p:cNvSpPr>
          <p:nvPr>
            <p:ph idx="35"/>
          </p:nvPr>
        </p:nvSpPr>
        <p:spPr>
          <a:xfrm>
            <a:off x="6717060" y="5736547"/>
            <a:ext cx="1908000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9" name="Bildplatzhalter 13"/>
          <p:cNvSpPr>
            <a:spLocks noGrp="1"/>
          </p:cNvSpPr>
          <p:nvPr>
            <p:ph type="pic" sz="quarter" idx="36"/>
          </p:nvPr>
        </p:nvSpPr>
        <p:spPr>
          <a:xfrm>
            <a:off x="6717060" y="4610753"/>
            <a:ext cx="1908000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81584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s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396000"/>
          </a:xfrm>
        </p:spPr>
        <p:txBody>
          <a:bodyPr anchor="t" anchorCtr="0"/>
          <a:lstStyle>
            <a:lvl1pPr>
              <a:defRPr b="1" baseline="0">
                <a:solidFill>
                  <a:schemeClr val="tx2"/>
                </a:solidFill>
              </a:defRPr>
            </a:lvl1pPr>
          </a:lstStyle>
          <a:p>
            <a:endParaRPr lang="de-CH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2994892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50" y="215609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0" name="Inhaltsplatzhalter 2"/>
          <p:cNvSpPr>
            <a:spLocks noGrp="1"/>
          </p:cNvSpPr>
          <p:nvPr>
            <p:ph idx="15"/>
          </p:nvPr>
        </p:nvSpPr>
        <p:spPr>
          <a:xfrm>
            <a:off x="1907704" y="2994892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1" name="Bildplatzhalter 13"/>
          <p:cNvSpPr>
            <a:spLocks noGrp="1"/>
          </p:cNvSpPr>
          <p:nvPr>
            <p:ph type="pic" sz="quarter" idx="16"/>
          </p:nvPr>
        </p:nvSpPr>
        <p:spPr>
          <a:xfrm>
            <a:off x="1907704" y="2156094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2" name="Inhaltsplatzhalter 2"/>
          <p:cNvSpPr>
            <a:spLocks noGrp="1"/>
          </p:cNvSpPr>
          <p:nvPr>
            <p:ph idx="17"/>
          </p:nvPr>
        </p:nvSpPr>
        <p:spPr>
          <a:xfrm>
            <a:off x="3294390" y="299508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43" name="Bildplatzhalter 13"/>
          <p:cNvSpPr>
            <a:spLocks noGrp="1"/>
          </p:cNvSpPr>
          <p:nvPr>
            <p:ph type="pic" sz="quarter" idx="18"/>
          </p:nvPr>
        </p:nvSpPr>
        <p:spPr>
          <a:xfrm>
            <a:off x="3294390" y="215609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4" name="Inhaltsplatzhalter 2"/>
          <p:cNvSpPr>
            <a:spLocks noGrp="1"/>
          </p:cNvSpPr>
          <p:nvPr>
            <p:ph idx="19"/>
          </p:nvPr>
        </p:nvSpPr>
        <p:spPr>
          <a:xfrm>
            <a:off x="4662542" y="299508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45" name="Bildplatzhalter 13"/>
          <p:cNvSpPr>
            <a:spLocks noGrp="1"/>
          </p:cNvSpPr>
          <p:nvPr>
            <p:ph type="pic" sz="quarter" idx="20"/>
          </p:nvPr>
        </p:nvSpPr>
        <p:spPr>
          <a:xfrm>
            <a:off x="4662542" y="215609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6" name="Inhaltsplatzhalter 2"/>
          <p:cNvSpPr>
            <a:spLocks noGrp="1"/>
          </p:cNvSpPr>
          <p:nvPr>
            <p:ph idx="21"/>
          </p:nvPr>
        </p:nvSpPr>
        <p:spPr>
          <a:xfrm>
            <a:off x="6036872" y="2994892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47" name="Bildplatzhalter 13"/>
          <p:cNvSpPr>
            <a:spLocks noGrp="1"/>
          </p:cNvSpPr>
          <p:nvPr>
            <p:ph type="pic" sz="quarter" idx="22"/>
          </p:nvPr>
        </p:nvSpPr>
        <p:spPr>
          <a:xfrm>
            <a:off x="6036872" y="215493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8" name="Inhaltsplatzhalter 2"/>
          <p:cNvSpPr>
            <a:spLocks noGrp="1"/>
          </p:cNvSpPr>
          <p:nvPr>
            <p:ph idx="23"/>
          </p:nvPr>
        </p:nvSpPr>
        <p:spPr>
          <a:xfrm>
            <a:off x="7404962" y="299508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49" name="Bildplatzhalter 13"/>
          <p:cNvSpPr>
            <a:spLocks noGrp="1"/>
          </p:cNvSpPr>
          <p:nvPr>
            <p:ph type="pic" sz="quarter" idx="24"/>
          </p:nvPr>
        </p:nvSpPr>
        <p:spPr>
          <a:xfrm>
            <a:off x="7404962" y="215609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0" name="Inhaltsplatzhalter 2"/>
          <p:cNvSpPr>
            <a:spLocks noGrp="1"/>
          </p:cNvSpPr>
          <p:nvPr>
            <p:ph idx="25"/>
          </p:nvPr>
        </p:nvSpPr>
        <p:spPr>
          <a:xfrm>
            <a:off x="539750" y="421902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1" name="Bildplatzhalter 13"/>
          <p:cNvSpPr>
            <a:spLocks noGrp="1"/>
          </p:cNvSpPr>
          <p:nvPr>
            <p:ph type="pic" sz="quarter" idx="26"/>
          </p:nvPr>
        </p:nvSpPr>
        <p:spPr>
          <a:xfrm>
            <a:off x="539750" y="3380228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2" name="Inhaltsplatzhalter 2"/>
          <p:cNvSpPr>
            <a:spLocks noGrp="1"/>
          </p:cNvSpPr>
          <p:nvPr>
            <p:ph idx="27"/>
          </p:nvPr>
        </p:nvSpPr>
        <p:spPr>
          <a:xfrm>
            <a:off x="1907704" y="421902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3" name="Bildplatzhalter 13"/>
          <p:cNvSpPr>
            <a:spLocks noGrp="1"/>
          </p:cNvSpPr>
          <p:nvPr>
            <p:ph type="pic" sz="quarter" idx="28"/>
          </p:nvPr>
        </p:nvSpPr>
        <p:spPr>
          <a:xfrm>
            <a:off x="1907704" y="3380230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4" name="Inhaltsplatzhalter 2"/>
          <p:cNvSpPr>
            <a:spLocks noGrp="1"/>
          </p:cNvSpPr>
          <p:nvPr>
            <p:ph idx="29"/>
          </p:nvPr>
        </p:nvSpPr>
        <p:spPr>
          <a:xfrm>
            <a:off x="3294390" y="4219224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5" name="Bildplatzhalter 13"/>
          <p:cNvSpPr>
            <a:spLocks noGrp="1"/>
          </p:cNvSpPr>
          <p:nvPr>
            <p:ph type="pic" sz="quarter" idx="30"/>
          </p:nvPr>
        </p:nvSpPr>
        <p:spPr>
          <a:xfrm>
            <a:off x="3294390" y="3380228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6" name="Inhaltsplatzhalter 2"/>
          <p:cNvSpPr>
            <a:spLocks noGrp="1"/>
          </p:cNvSpPr>
          <p:nvPr>
            <p:ph idx="31"/>
          </p:nvPr>
        </p:nvSpPr>
        <p:spPr>
          <a:xfrm>
            <a:off x="4662542" y="4219224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57" name="Bildplatzhalter 13"/>
          <p:cNvSpPr>
            <a:spLocks noGrp="1"/>
          </p:cNvSpPr>
          <p:nvPr>
            <p:ph type="pic" sz="quarter" idx="32"/>
          </p:nvPr>
        </p:nvSpPr>
        <p:spPr>
          <a:xfrm>
            <a:off x="4662542" y="3380228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8" name="Inhaltsplatzhalter 2"/>
          <p:cNvSpPr>
            <a:spLocks noGrp="1"/>
          </p:cNvSpPr>
          <p:nvPr>
            <p:ph idx="33"/>
          </p:nvPr>
        </p:nvSpPr>
        <p:spPr>
          <a:xfrm>
            <a:off x="6036872" y="421902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59" name="Bildplatzhalter 13"/>
          <p:cNvSpPr>
            <a:spLocks noGrp="1"/>
          </p:cNvSpPr>
          <p:nvPr>
            <p:ph type="pic" sz="quarter" idx="34"/>
          </p:nvPr>
        </p:nvSpPr>
        <p:spPr>
          <a:xfrm>
            <a:off x="6036872" y="3379068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64" name="Inhaltsplatzhalter 2"/>
          <p:cNvSpPr>
            <a:spLocks noGrp="1"/>
          </p:cNvSpPr>
          <p:nvPr>
            <p:ph idx="39"/>
          </p:nvPr>
        </p:nvSpPr>
        <p:spPr>
          <a:xfrm>
            <a:off x="1907704" y="5449672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65" name="Bildplatzhalter 13"/>
          <p:cNvSpPr>
            <a:spLocks noGrp="1"/>
          </p:cNvSpPr>
          <p:nvPr>
            <p:ph type="pic" sz="quarter" idx="40"/>
          </p:nvPr>
        </p:nvSpPr>
        <p:spPr>
          <a:xfrm>
            <a:off x="1907704" y="4610874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66" name="Inhaltsplatzhalter 2"/>
          <p:cNvSpPr>
            <a:spLocks noGrp="1"/>
          </p:cNvSpPr>
          <p:nvPr>
            <p:ph idx="41"/>
          </p:nvPr>
        </p:nvSpPr>
        <p:spPr>
          <a:xfrm>
            <a:off x="3294390" y="5449868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67" name="Bildplatzhalter 13"/>
          <p:cNvSpPr>
            <a:spLocks noGrp="1"/>
          </p:cNvSpPr>
          <p:nvPr>
            <p:ph type="pic" sz="quarter" idx="42"/>
          </p:nvPr>
        </p:nvSpPr>
        <p:spPr>
          <a:xfrm>
            <a:off x="3294390" y="461087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70" name="Inhaltsplatzhalter 2"/>
          <p:cNvSpPr>
            <a:spLocks noGrp="1"/>
          </p:cNvSpPr>
          <p:nvPr>
            <p:ph idx="45"/>
          </p:nvPr>
        </p:nvSpPr>
        <p:spPr>
          <a:xfrm>
            <a:off x="6036872" y="5449672"/>
            <a:ext cx="1223938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71" name="Bildplatzhalter 13"/>
          <p:cNvSpPr>
            <a:spLocks noGrp="1"/>
          </p:cNvSpPr>
          <p:nvPr>
            <p:ph type="pic" sz="quarter" idx="46"/>
          </p:nvPr>
        </p:nvSpPr>
        <p:spPr>
          <a:xfrm>
            <a:off x="6036872" y="4609712"/>
            <a:ext cx="1224000" cy="792000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40447" y="5967814"/>
            <a:ext cx="8098727" cy="504056"/>
          </a:xfrm>
          <a:solidFill>
            <a:schemeClr val="tx2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200" b="1">
                <a:solidFill>
                  <a:schemeClr val="bg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48"/>
          </p:nvPr>
        </p:nvSpPr>
        <p:spPr>
          <a:xfrm>
            <a:off x="539750" y="1675089"/>
            <a:ext cx="3960813" cy="431800"/>
          </a:xfrm>
        </p:spPr>
        <p:txBody>
          <a:bodyPr/>
          <a:lstStyle>
            <a:lvl1pPr marL="0" indent="0">
              <a:buFontTx/>
              <a:buNone/>
              <a:defRPr sz="1400" cap="all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de-CH" noProof="0" dirty="0"/>
          </a:p>
        </p:txBody>
      </p:sp>
      <p:sp>
        <p:nvSpPr>
          <p:cNvPr id="74" name="Textplatzhalter 9"/>
          <p:cNvSpPr>
            <a:spLocks noGrp="1"/>
          </p:cNvSpPr>
          <p:nvPr>
            <p:ph type="body" sz="quarter" idx="49"/>
          </p:nvPr>
        </p:nvSpPr>
        <p:spPr>
          <a:xfrm>
            <a:off x="4662169" y="1675089"/>
            <a:ext cx="1224509" cy="431800"/>
          </a:xfrm>
        </p:spPr>
        <p:txBody>
          <a:bodyPr/>
          <a:lstStyle>
            <a:lvl1pPr marL="0" indent="0">
              <a:buFontTx/>
              <a:buNone/>
              <a:defRPr sz="1400" cap="all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de-CH" noProof="0" dirty="0"/>
          </a:p>
        </p:txBody>
      </p:sp>
      <p:sp>
        <p:nvSpPr>
          <p:cNvPr id="75" name="Textplatzhalter 9"/>
          <p:cNvSpPr>
            <a:spLocks noGrp="1"/>
          </p:cNvSpPr>
          <p:nvPr>
            <p:ph type="body" sz="quarter" idx="50"/>
          </p:nvPr>
        </p:nvSpPr>
        <p:spPr>
          <a:xfrm>
            <a:off x="6036712" y="1675089"/>
            <a:ext cx="1224509" cy="431800"/>
          </a:xfrm>
        </p:spPr>
        <p:txBody>
          <a:bodyPr/>
          <a:lstStyle>
            <a:lvl1pPr marL="0" indent="0">
              <a:buFontTx/>
              <a:buNone/>
              <a:defRPr sz="1400" cap="all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de-CH" noProof="0" dirty="0"/>
          </a:p>
        </p:txBody>
      </p:sp>
      <p:sp>
        <p:nvSpPr>
          <p:cNvPr id="76" name="Textplatzhalter 9"/>
          <p:cNvSpPr>
            <a:spLocks noGrp="1"/>
          </p:cNvSpPr>
          <p:nvPr>
            <p:ph type="body" sz="quarter" idx="51"/>
          </p:nvPr>
        </p:nvSpPr>
        <p:spPr>
          <a:xfrm>
            <a:off x="7404712" y="1675089"/>
            <a:ext cx="1224509" cy="431800"/>
          </a:xfrm>
        </p:spPr>
        <p:txBody>
          <a:bodyPr/>
          <a:lstStyle>
            <a:lvl1pPr marL="0" indent="0">
              <a:buFontTx/>
              <a:buNone/>
              <a:defRPr sz="1400" cap="all" baseline="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4100225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15275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>
              <a:solidFill>
                <a:srgbClr val="1E5A9A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0" y="1642266"/>
            <a:ext cx="8064500" cy="460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24012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15275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0" y="1642266"/>
            <a:ext cx="8064500" cy="460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4110418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0" y="1642266"/>
            <a:ext cx="8064500" cy="360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39750" y="5612365"/>
            <a:ext cx="8064000" cy="648000"/>
          </a:xfrm>
          <a:solidFill>
            <a:srgbClr val="1E5A9A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800" b="1"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15275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5054708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 Untertitel +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/>
          </p:nvPr>
        </p:nvSpPr>
        <p:spPr>
          <a:xfrm>
            <a:off x="539750" y="1642266"/>
            <a:ext cx="8064500" cy="3600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</a:t>
            </a:r>
            <a:r>
              <a:rPr lang="de-CH" noProof="0" dirty="0"/>
              <a:t>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39750" y="5612365"/>
            <a:ext cx="8064000" cy="648000"/>
          </a:xfrm>
          <a:solidFill>
            <a:srgbClr val="1E5A9A"/>
          </a:solidFill>
          <a:ln>
            <a:noFill/>
          </a:ln>
        </p:spPr>
        <p:txBody>
          <a:bodyPr anchor="ctr" anchorCtr="0"/>
          <a:lstStyle>
            <a:lvl1pPr marL="0" indent="0" algn="ctr">
              <a:buFontTx/>
              <a:buNone/>
              <a:defRPr sz="1800" b="1"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9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15275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0777072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47"/>
          </p:nvPr>
        </p:nvSpPr>
        <p:spPr>
          <a:xfrm>
            <a:off x="539750" y="1719269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48"/>
          </p:nvPr>
        </p:nvSpPr>
        <p:spPr>
          <a:xfrm>
            <a:off x="3131840" y="1719164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9"/>
          </p:nvPr>
        </p:nvSpPr>
        <p:spPr>
          <a:xfrm>
            <a:off x="539750" y="2219858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50"/>
          </p:nvPr>
        </p:nvSpPr>
        <p:spPr>
          <a:xfrm>
            <a:off x="3131840" y="2219753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51"/>
          </p:nvPr>
        </p:nvSpPr>
        <p:spPr>
          <a:xfrm>
            <a:off x="539750" y="2724095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52"/>
          </p:nvPr>
        </p:nvSpPr>
        <p:spPr>
          <a:xfrm>
            <a:off x="3131840" y="2723990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53"/>
          </p:nvPr>
        </p:nvSpPr>
        <p:spPr>
          <a:xfrm>
            <a:off x="539750" y="3230804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54"/>
          </p:nvPr>
        </p:nvSpPr>
        <p:spPr>
          <a:xfrm>
            <a:off x="3131840" y="3230699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55"/>
          </p:nvPr>
        </p:nvSpPr>
        <p:spPr>
          <a:xfrm>
            <a:off x="539750" y="3732167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56"/>
          </p:nvPr>
        </p:nvSpPr>
        <p:spPr>
          <a:xfrm>
            <a:off x="3131840" y="3732062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57"/>
          </p:nvPr>
        </p:nvSpPr>
        <p:spPr>
          <a:xfrm>
            <a:off x="539552" y="4238916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58"/>
          </p:nvPr>
        </p:nvSpPr>
        <p:spPr>
          <a:xfrm>
            <a:off x="3131642" y="4238811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59"/>
          </p:nvPr>
        </p:nvSpPr>
        <p:spPr>
          <a:xfrm>
            <a:off x="539552" y="4743533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60"/>
          </p:nvPr>
        </p:nvSpPr>
        <p:spPr>
          <a:xfrm>
            <a:off x="3131642" y="4743428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61"/>
          </p:nvPr>
        </p:nvSpPr>
        <p:spPr>
          <a:xfrm>
            <a:off x="539552" y="5250883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62"/>
          </p:nvPr>
        </p:nvSpPr>
        <p:spPr>
          <a:xfrm>
            <a:off x="3131642" y="5250778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63"/>
          </p:nvPr>
        </p:nvSpPr>
        <p:spPr>
          <a:xfrm>
            <a:off x="539750" y="5751685"/>
            <a:ext cx="2592000" cy="36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64"/>
          </p:nvPr>
        </p:nvSpPr>
        <p:spPr>
          <a:xfrm>
            <a:off x="3131840" y="5751580"/>
            <a:ext cx="5472608" cy="36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3080416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2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48"/>
          </p:nvPr>
        </p:nvSpPr>
        <p:spPr>
          <a:xfrm>
            <a:off x="3288212" y="1721851"/>
            <a:ext cx="5328592" cy="792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49"/>
          </p:nvPr>
        </p:nvSpPr>
        <p:spPr>
          <a:xfrm>
            <a:off x="539750" y="1722971"/>
            <a:ext cx="1223963" cy="792162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4" name="Textplatzhalter 7"/>
          <p:cNvSpPr>
            <a:spLocks noGrp="1"/>
          </p:cNvSpPr>
          <p:nvPr>
            <p:ph type="body" sz="quarter" idx="51"/>
          </p:nvPr>
        </p:nvSpPr>
        <p:spPr>
          <a:xfrm>
            <a:off x="3288212" y="2656637"/>
            <a:ext cx="5328592" cy="792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45" name="Bildplatzhalter 8"/>
          <p:cNvSpPr>
            <a:spLocks noGrp="1"/>
          </p:cNvSpPr>
          <p:nvPr>
            <p:ph type="pic" sz="quarter" idx="52"/>
          </p:nvPr>
        </p:nvSpPr>
        <p:spPr>
          <a:xfrm>
            <a:off x="539750" y="2656637"/>
            <a:ext cx="1223963" cy="792162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47" name="Textplatzhalter 7"/>
          <p:cNvSpPr>
            <a:spLocks noGrp="1"/>
          </p:cNvSpPr>
          <p:nvPr>
            <p:ph type="body" sz="quarter" idx="54"/>
          </p:nvPr>
        </p:nvSpPr>
        <p:spPr>
          <a:xfrm>
            <a:off x="3288014" y="3593673"/>
            <a:ext cx="5328592" cy="792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48" name="Bildplatzhalter 8"/>
          <p:cNvSpPr>
            <a:spLocks noGrp="1"/>
          </p:cNvSpPr>
          <p:nvPr>
            <p:ph type="pic" sz="quarter" idx="55"/>
          </p:nvPr>
        </p:nvSpPr>
        <p:spPr>
          <a:xfrm>
            <a:off x="539552" y="3593673"/>
            <a:ext cx="1223963" cy="792162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0" name="Textplatzhalter 7"/>
          <p:cNvSpPr>
            <a:spLocks noGrp="1"/>
          </p:cNvSpPr>
          <p:nvPr>
            <p:ph type="body" sz="quarter" idx="57"/>
          </p:nvPr>
        </p:nvSpPr>
        <p:spPr>
          <a:xfrm>
            <a:off x="3288014" y="4533451"/>
            <a:ext cx="5328592" cy="792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51" name="Bildplatzhalter 8"/>
          <p:cNvSpPr>
            <a:spLocks noGrp="1"/>
          </p:cNvSpPr>
          <p:nvPr>
            <p:ph type="pic" sz="quarter" idx="58"/>
          </p:nvPr>
        </p:nvSpPr>
        <p:spPr>
          <a:xfrm>
            <a:off x="539552" y="4533451"/>
            <a:ext cx="1223963" cy="792162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3" name="Textplatzhalter 7"/>
          <p:cNvSpPr>
            <a:spLocks noGrp="1"/>
          </p:cNvSpPr>
          <p:nvPr>
            <p:ph type="body" sz="quarter" idx="60"/>
          </p:nvPr>
        </p:nvSpPr>
        <p:spPr>
          <a:xfrm>
            <a:off x="3288014" y="5481581"/>
            <a:ext cx="5328592" cy="792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anchor="ctr" anchorCtr="0"/>
          <a:lstStyle>
            <a:lvl1pPr marL="0" indent="0" algn="l">
              <a:buFontTx/>
              <a:buNone/>
              <a:defRPr sz="1200" b="0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54" name="Bildplatzhalter 8"/>
          <p:cNvSpPr>
            <a:spLocks noGrp="1"/>
          </p:cNvSpPr>
          <p:nvPr>
            <p:ph type="pic" sz="quarter" idx="61"/>
          </p:nvPr>
        </p:nvSpPr>
        <p:spPr>
          <a:xfrm>
            <a:off x="539552" y="5481581"/>
            <a:ext cx="1223963" cy="792162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dirty="0"/>
          </a:p>
        </p:txBody>
      </p:sp>
      <p:sp>
        <p:nvSpPr>
          <p:cNvPr id="56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3607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66"/>
          </p:nvPr>
        </p:nvSpPr>
        <p:spPr>
          <a:xfrm>
            <a:off x="1916112" y="1723337"/>
            <a:ext cx="1220443" cy="792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anchor="ctr" anchorCtr="0"/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67"/>
          </p:nvPr>
        </p:nvSpPr>
        <p:spPr>
          <a:xfrm>
            <a:off x="1916112" y="2656637"/>
            <a:ext cx="1220443" cy="792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anchor="ctr" anchorCtr="0"/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68"/>
          </p:nvPr>
        </p:nvSpPr>
        <p:spPr>
          <a:xfrm>
            <a:off x="1916112" y="3593673"/>
            <a:ext cx="1220443" cy="792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anchor="ctr" anchorCtr="0"/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69"/>
          </p:nvPr>
        </p:nvSpPr>
        <p:spPr>
          <a:xfrm>
            <a:off x="1916112" y="4533451"/>
            <a:ext cx="1220443" cy="792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anchor="ctr" anchorCtr="0"/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70"/>
          </p:nvPr>
        </p:nvSpPr>
        <p:spPr>
          <a:xfrm>
            <a:off x="1916112" y="5481581"/>
            <a:ext cx="1220443" cy="792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0" anchor="ctr" anchorCtr="0"/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24775735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8064000" cy="4608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93156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4262585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432000"/>
            <a:ext cx="8064500" cy="396000"/>
          </a:xfrm>
        </p:spPr>
        <p:txBody>
          <a:bodyPr anchor="t" anchorCtr="0">
            <a:noAutofit/>
          </a:bodyPr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title sty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3564000"/>
            <a:ext cx="8064500" cy="2160000"/>
          </a:xfrm>
        </p:spPr>
        <p:txBody>
          <a:bodyPr>
            <a:noAutofit/>
          </a:bodyPr>
          <a:lstStyle>
            <a:lvl1pPr marL="0" indent="0" algn="l">
              <a:buNone/>
              <a:defRPr sz="5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subtitle</a:t>
            </a:r>
            <a:r>
              <a:rPr lang="de-CH" noProof="0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20831901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8064000" cy="2736000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93156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539750" y="4681321"/>
            <a:ext cx="8064500" cy="154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5652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3960242" cy="4608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93156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4932040" y="1659385"/>
            <a:ext cx="3672000" cy="4572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527455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abell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0312"/>
            <a:ext cx="3960242" cy="4608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4932040" y="2086273"/>
            <a:ext cx="3672000" cy="424727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 algn="l">
              <a:defRPr sz="1800"/>
            </a:lvl3pPr>
            <a:lvl4pPr algn="l">
              <a:defRPr sz="1800"/>
            </a:lvl4pPr>
            <a:lvl5pPr algn="l">
              <a:defRPr sz="18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CH" noProof="0" dirty="0"/>
              <a:t>Zweite</a:t>
            </a:r>
            <a:r>
              <a:rPr lang="de-DE" dirty="0"/>
              <a:t>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1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8370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66"/>
          </p:nvPr>
        </p:nvSpPr>
        <p:spPr>
          <a:xfrm>
            <a:off x="4932250" y="1725549"/>
            <a:ext cx="3672000" cy="216000"/>
          </a:xfr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lIns="108000" anchor="ctr" anchorCtr="0"/>
          <a:lstStyle>
            <a:lvl1pPr marL="0" indent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200" b="1">
                <a:solidFill>
                  <a:schemeClr val="bg1"/>
                </a:solidFill>
              </a:defRPr>
            </a:lvl2pPr>
            <a:lvl3pPr>
              <a:defRPr sz="1200" b="1">
                <a:solidFill>
                  <a:schemeClr val="bg1"/>
                </a:solidFill>
              </a:defRPr>
            </a:lvl3pPr>
            <a:lvl4pPr>
              <a:defRPr sz="12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 dirty="0"/>
              <a:t>Textmasterformat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4005451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2719"/>
            <a:ext cx="3960242" cy="2448000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93156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539750" y="4446534"/>
            <a:ext cx="3960242" cy="1825550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662542" y="1722719"/>
            <a:ext cx="3960242" cy="2448000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4662542" y="4446534"/>
            <a:ext cx="3960242" cy="1825550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43483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88393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539750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7"/>
          </p:nvPr>
        </p:nvSpPr>
        <p:spPr>
          <a:xfrm>
            <a:off x="3294534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8"/>
          </p:nvPr>
        </p:nvSpPr>
        <p:spPr>
          <a:xfrm>
            <a:off x="6030784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294390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030784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571434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5328394" cy="4536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036872" y="1724134"/>
            <a:ext cx="2592000" cy="2196000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036962" y="4063444"/>
            <a:ext cx="2592000" cy="2196000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1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3607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687330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580800"/>
          </a:xfrm>
        </p:spPr>
        <p:txBody>
          <a:bodyPr tIns="234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8806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>
            <a:lvl1pPr>
              <a:defRPr sz="750" b="1">
                <a:solidFill>
                  <a:schemeClr val="tx2"/>
                </a:solidFill>
              </a:defRPr>
            </a:lvl1pPr>
          </a:lstStyle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>
              <a:solidFill>
                <a:srgbClr val="1E5A9A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93156"/>
            <a:ext cx="8064000" cy="504000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06610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Säu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720964"/>
            <a:ext cx="8064500" cy="4537075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1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3607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9299372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971487"/>
            <a:ext cx="2592000" cy="1800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39750" y="1684615"/>
            <a:ext cx="2592388" cy="22638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11" name="Diagrammplatzhalter 9"/>
          <p:cNvSpPr>
            <a:spLocks noGrp="1"/>
          </p:cNvSpPr>
          <p:nvPr>
            <p:ph type="chart" sz="quarter" idx="18"/>
          </p:nvPr>
        </p:nvSpPr>
        <p:spPr>
          <a:xfrm>
            <a:off x="4656993" y="1972615"/>
            <a:ext cx="2592000" cy="1800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4656993" y="1684615"/>
            <a:ext cx="2592388" cy="226381"/>
          </a:xfrm>
        </p:spPr>
        <p:txBody>
          <a:bodyPr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14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3607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66"/>
          </p:nvPr>
        </p:nvSpPr>
        <p:spPr>
          <a:xfrm>
            <a:off x="539750" y="4753767"/>
            <a:ext cx="2592000" cy="16557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67"/>
          </p:nvPr>
        </p:nvSpPr>
        <p:spPr>
          <a:xfrm>
            <a:off x="4656993" y="4753767"/>
            <a:ext cx="2592000" cy="16557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68"/>
          </p:nvPr>
        </p:nvSpPr>
        <p:spPr>
          <a:xfrm>
            <a:off x="4656993" y="3959998"/>
            <a:ext cx="2598440" cy="720080"/>
          </a:xfrm>
        </p:spPr>
        <p:txBody>
          <a:bodyPr/>
          <a:lstStyle/>
          <a:p>
            <a:endParaRPr lang="de-CH"/>
          </a:p>
        </p:txBody>
      </p:sp>
      <p:sp>
        <p:nvSpPr>
          <p:cNvPr id="16" name="Tabellenplatzhalter 6"/>
          <p:cNvSpPr>
            <a:spLocks noGrp="1"/>
          </p:cNvSpPr>
          <p:nvPr>
            <p:ph type="tbl" sz="quarter" idx="69"/>
          </p:nvPr>
        </p:nvSpPr>
        <p:spPr>
          <a:xfrm>
            <a:off x="539750" y="3959998"/>
            <a:ext cx="2598440" cy="72008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844048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 7 Spalten + Titel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32000"/>
            <a:ext cx="8064500" cy="396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4962" y="6597352"/>
            <a:ext cx="6120000" cy="143992"/>
          </a:xfrm>
          <a:prstGeom prst="rect">
            <a:avLst/>
          </a:prstGeom>
        </p:spPr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48" hasCustomPrompt="1"/>
          </p:nvPr>
        </p:nvSpPr>
        <p:spPr>
          <a:xfrm>
            <a:off x="17028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49"/>
          </p:nvPr>
        </p:nvSpPr>
        <p:spPr>
          <a:xfrm>
            <a:off x="539749" y="2160000"/>
            <a:ext cx="1080000" cy="720000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6" name="Textplatzhalter 44"/>
          <p:cNvSpPr>
            <a:spLocks noGrp="1"/>
          </p:cNvSpPr>
          <p:nvPr>
            <p:ph type="body" sz="quarter" idx="65"/>
          </p:nvPr>
        </p:nvSpPr>
        <p:spPr>
          <a:xfrm>
            <a:off x="539750" y="793607"/>
            <a:ext cx="8064500" cy="396000"/>
          </a:xfrm>
        </p:spPr>
        <p:txBody>
          <a:bodyPr/>
          <a:lstStyle>
            <a:lvl1pPr marL="0" indent="0">
              <a:buNone/>
              <a:defRPr sz="2800" cap="all" baseline="0"/>
            </a:lvl1pPr>
          </a:lstStyle>
          <a:p>
            <a:pPr lvl="0"/>
            <a:endParaRPr lang="de-CH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68"/>
          </p:nvPr>
        </p:nvSpPr>
        <p:spPr>
          <a:xfrm>
            <a:off x="540000" y="2952000"/>
            <a:ext cx="1080000" cy="720000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71"/>
          </p:nvPr>
        </p:nvSpPr>
        <p:spPr>
          <a:xfrm>
            <a:off x="540000" y="3744000"/>
            <a:ext cx="1080000" cy="720000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33" name="Bildplatzhalter 8"/>
          <p:cNvSpPr>
            <a:spLocks noGrp="1"/>
          </p:cNvSpPr>
          <p:nvPr>
            <p:ph type="pic" sz="quarter" idx="74"/>
          </p:nvPr>
        </p:nvSpPr>
        <p:spPr>
          <a:xfrm>
            <a:off x="540000" y="4536000"/>
            <a:ext cx="1080000" cy="720000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77"/>
          </p:nvPr>
        </p:nvSpPr>
        <p:spPr>
          <a:xfrm>
            <a:off x="540000" y="5328000"/>
            <a:ext cx="1080000" cy="720000"/>
          </a:xfr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82"/>
          </p:nvPr>
        </p:nvSpPr>
        <p:spPr>
          <a:xfrm>
            <a:off x="1702800" y="5329238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2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83"/>
          </p:nvPr>
        </p:nvSpPr>
        <p:spPr>
          <a:xfrm>
            <a:off x="17028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2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84"/>
          </p:nvPr>
        </p:nvSpPr>
        <p:spPr>
          <a:xfrm>
            <a:off x="17028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2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85"/>
          </p:nvPr>
        </p:nvSpPr>
        <p:spPr>
          <a:xfrm>
            <a:off x="1702800" y="2953575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2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86"/>
          </p:nvPr>
        </p:nvSpPr>
        <p:spPr>
          <a:xfrm>
            <a:off x="17028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2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87" hasCustomPrompt="1"/>
          </p:nvPr>
        </p:nvSpPr>
        <p:spPr>
          <a:xfrm>
            <a:off x="28656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88"/>
          </p:nvPr>
        </p:nvSpPr>
        <p:spPr>
          <a:xfrm>
            <a:off x="2865600" y="5328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89"/>
          </p:nvPr>
        </p:nvSpPr>
        <p:spPr>
          <a:xfrm>
            <a:off x="28656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90"/>
          </p:nvPr>
        </p:nvSpPr>
        <p:spPr>
          <a:xfrm>
            <a:off x="28656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91"/>
          </p:nvPr>
        </p:nvSpPr>
        <p:spPr>
          <a:xfrm>
            <a:off x="2865600" y="2952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92"/>
          </p:nvPr>
        </p:nvSpPr>
        <p:spPr>
          <a:xfrm>
            <a:off x="28656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93" hasCustomPrompt="1"/>
          </p:nvPr>
        </p:nvSpPr>
        <p:spPr>
          <a:xfrm>
            <a:off x="40284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94"/>
          </p:nvPr>
        </p:nvSpPr>
        <p:spPr>
          <a:xfrm>
            <a:off x="4028400" y="5328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95"/>
          </p:nvPr>
        </p:nvSpPr>
        <p:spPr>
          <a:xfrm>
            <a:off x="40284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69" name="Textplatzhalter 7"/>
          <p:cNvSpPr>
            <a:spLocks noGrp="1"/>
          </p:cNvSpPr>
          <p:nvPr>
            <p:ph type="body" sz="quarter" idx="96"/>
          </p:nvPr>
        </p:nvSpPr>
        <p:spPr>
          <a:xfrm>
            <a:off x="40284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0" name="Textplatzhalter 7"/>
          <p:cNvSpPr>
            <a:spLocks noGrp="1"/>
          </p:cNvSpPr>
          <p:nvPr>
            <p:ph type="body" sz="quarter" idx="97"/>
          </p:nvPr>
        </p:nvSpPr>
        <p:spPr>
          <a:xfrm>
            <a:off x="4028400" y="2952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98"/>
          </p:nvPr>
        </p:nvSpPr>
        <p:spPr>
          <a:xfrm>
            <a:off x="40284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99" hasCustomPrompt="1"/>
          </p:nvPr>
        </p:nvSpPr>
        <p:spPr>
          <a:xfrm>
            <a:off x="51912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73" name="Textplatzhalter 7"/>
          <p:cNvSpPr>
            <a:spLocks noGrp="1"/>
          </p:cNvSpPr>
          <p:nvPr>
            <p:ph type="body" sz="quarter" idx="100"/>
          </p:nvPr>
        </p:nvSpPr>
        <p:spPr>
          <a:xfrm>
            <a:off x="5191200" y="5328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4" name="Textplatzhalter 7"/>
          <p:cNvSpPr>
            <a:spLocks noGrp="1"/>
          </p:cNvSpPr>
          <p:nvPr>
            <p:ph type="body" sz="quarter" idx="101"/>
          </p:nvPr>
        </p:nvSpPr>
        <p:spPr>
          <a:xfrm>
            <a:off x="51912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5" name="Textplatzhalter 7"/>
          <p:cNvSpPr>
            <a:spLocks noGrp="1"/>
          </p:cNvSpPr>
          <p:nvPr>
            <p:ph type="body" sz="quarter" idx="102"/>
          </p:nvPr>
        </p:nvSpPr>
        <p:spPr>
          <a:xfrm>
            <a:off x="51912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6" name="Textplatzhalter 7"/>
          <p:cNvSpPr>
            <a:spLocks noGrp="1"/>
          </p:cNvSpPr>
          <p:nvPr>
            <p:ph type="body" sz="quarter" idx="103"/>
          </p:nvPr>
        </p:nvSpPr>
        <p:spPr>
          <a:xfrm>
            <a:off x="5191200" y="2952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7" name="Textplatzhalter 7"/>
          <p:cNvSpPr>
            <a:spLocks noGrp="1"/>
          </p:cNvSpPr>
          <p:nvPr>
            <p:ph type="body" sz="quarter" idx="104"/>
          </p:nvPr>
        </p:nvSpPr>
        <p:spPr>
          <a:xfrm>
            <a:off x="51912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78" name="Textplatzhalter 7"/>
          <p:cNvSpPr>
            <a:spLocks noGrp="1"/>
          </p:cNvSpPr>
          <p:nvPr>
            <p:ph type="body" sz="quarter" idx="105" hasCustomPrompt="1"/>
          </p:nvPr>
        </p:nvSpPr>
        <p:spPr>
          <a:xfrm>
            <a:off x="63540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79" name="Textplatzhalter 7"/>
          <p:cNvSpPr>
            <a:spLocks noGrp="1"/>
          </p:cNvSpPr>
          <p:nvPr>
            <p:ph type="body" sz="quarter" idx="106"/>
          </p:nvPr>
        </p:nvSpPr>
        <p:spPr>
          <a:xfrm>
            <a:off x="6354000" y="5328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0" name="Textplatzhalter 7"/>
          <p:cNvSpPr>
            <a:spLocks noGrp="1"/>
          </p:cNvSpPr>
          <p:nvPr>
            <p:ph type="body" sz="quarter" idx="107"/>
          </p:nvPr>
        </p:nvSpPr>
        <p:spPr>
          <a:xfrm>
            <a:off x="63540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1" name="Textplatzhalter 7"/>
          <p:cNvSpPr>
            <a:spLocks noGrp="1"/>
          </p:cNvSpPr>
          <p:nvPr>
            <p:ph type="body" sz="quarter" idx="108"/>
          </p:nvPr>
        </p:nvSpPr>
        <p:spPr>
          <a:xfrm>
            <a:off x="63540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2" name="Textplatzhalter 7"/>
          <p:cNvSpPr>
            <a:spLocks noGrp="1"/>
          </p:cNvSpPr>
          <p:nvPr>
            <p:ph type="body" sz="quarter" idx="109"/>
          </p:nvPr>
        </p:nvSpPr>
        <p:spPr>
          <a:xfrm>
            <a:off x="6354000" y="2952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3" name="Textplatzhalter 7"/>
          <p:cNvSpPr>
            <a:spLocks noGrp="1"/>
          </p:cNvSpPr>
          <p:nvPr>
            <p:ph type="body" sz="quarter" idx="110"/>
          </p:nvPr>
        </p:nvSpPr>
        <p:spPr>
          <a:xfrm>
            <a:off x="63540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4" name="Textplatzhalter 7"/>
          <p:cNvSpPr>
            <a:spLocks noGrp="1"/>
          </p:cNvSpPr>
          <p:nvPr>
            <p:ph type="body" sz="quarter" idx="111" hasCustomPrompt="1"/>
          </p:nvPr>
        </p:nvSpPr>
        <p:spPr>
          <a:xfrm>
            <a:off x="7516800" y="1728000"/>
            <a:ext cx="1090800" cy="360000"/>
          </a:xfrm>
          <a:solidFill>
            <a:schemeClr val="tx2"/>
          </a:solidFill>
          <a:ln>
            <a:noFill/>
          </a:ln>
        </p:spPr>
        <p:txBody>
          <a:bodyPr lIns="72000" anchor="ctr" anchorCtr="0"/>
          <a:lstStyle>
            <a:lvl1pPr marL="0" indent="0" algn="l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itel</a:t>
            </a:r>
          </a:p>
        </p:txBody>
      </p:sp>
      <p:sp>
        <p:nvSpPr>
          <p:cNvPr id="85" name="Textplatzhalter 7"/>
          <p:cNvSpPr>
            <a:spLocks noGrp="1"/>
          </p:cNvSpPr>
          <p:nvPr>
            <p:ph type="body" sz="quarter" idx="112"/>
          </p:nvPr>
        </p:nvSpPr>
        <p:spPr>
          <a:xfrm>
            <a:off x="7516800" y="5328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6" name="Textplatzhalter 7"/>
          <p:cNvSpPr>
            <a:spLocks noGrp="1"/>
          </p:cNvSpPr>
          <p:nvPr>
            <p:ph type="body" sz="quarter" idx="113"/>
          </p:nvPr>
        </p:nvSpPr>
        <p:spPr>
          <a:xfrm>
            <a:off x="7516800" y="4536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7" name="Textplatzhalter 7"/>
          <p:cNvSpPr>
            <a:spLocks noGrp="1"/>
          </p:cNvSpPr>
          <p:nvPr>
            <p:ph type="body" sz="quarter" idx="114"/>
          </p:nvPr>
        </p:nvSpPr>
        <p:spPr>
          <a:xfrm>
            <a:off x="7516800" y="3744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8" name="Textplatzhalter 7"/>
          <p:cNvSpPr>
            <a:spLocks noGrp="1"/>
          </p:cNvSpPr>
          <p:nvPr>
            <p:ph type="body" sz="quarter" idx="115"/>
          </p:nvPr>
        </p:nvSpPr>
        <p:spPr>
          <a:xfrm>
            <a:off x="7516800" y="2952000"/>
            <a:ext cx="1090800" cy="720000"/>
          </a:xfr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89" name="Textplatzhalter 7"/>
          <p:cNvSpPr>
            <a:spLocks noGrp="1"/>
          </p:cNvSpPr>
          <p:nvPr>
            <p:ph type="body" sz="quarter" idx="116"/>
          </p:nvPr>
        </p:nvSpPr>
        <p:spPr>
          <a:xfrm>
            <a:off x="7516800" y="2160000"/>
            <a:ext cx="1090800" cy="720000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72000" anchor="ctr" anchorCtr="0"/>
          <a:lstStyle>
            <a:lvl1pPr marL="0" indent="0" algn="l">
              <a:spcBef>
                <a:spcPts val="0"/>
              </a:spcBef>
              <a:buFontTx/>
              <a:buNone/>
              <a:defRPr sz="1000" b="0">
                <a:solidFill>
                  <a:schemeClr val="accent4"/>
                </a:solidFill>
              </a:defRPr>
            </a:lvl1pPr>
            <a:lvl2pPr marL="457200" indent="0" algn="ctr"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914400" indent="0" algn="ctr"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1371600" indent="0" algn="ctr"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828800" indent="0" algn="ctr">
              <a:buFontTx/>
              <a:buNone/>
              <a:defRPr sz="1200"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420025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8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>
                <a:solidFill>
                  <a:srgbClr val="FFFFFF"/>
                </a:solidFill>
              </a:rPr>
              <a:pPr/>
              <a:t>‹#›</a:t>
            </a:fld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1" name="Inhaltsplatzhalter 2"/>
          <p:cNvSpPr>
            <a:spLocks noGrp="1"/>
          </p:cNvSpPr>
          <p:nvPr>
            <p:ph idx="48" hasCustomPrompt="1"/>
          </p:nvPr>
        </p:nvSpPr>
        <p:spPr>
          <a:xfrm>
            <a:off x="1908174" y="2528886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2" name="Bildplatzhalter 13"/>
          <p:cNvSpPr>
            <a:spLocks noGrp="1"/>
          </p:cNvSpPr>
          <p:nvPr>
            <p:ph type="pic" sz="quarter" idx="49"/>
          </p:nvPr>
        </p:nvSpPr>
        <p:spPr>
          <a:xfrm>
            <a:off x="1908174" y="1736723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3" name="Inhaltsplatzhalter 2"/>
          <p:cNvSpPr>
            <a:spLocks noGrp="1"/>
          </p:cNvSpPr>
          <p:nvPr>
            <p:ph idx="50" hasCustomPrompt="1"/>
          </p:nvPr>
        </p:nvSpPr>
        <p:spPr>
          <a:xfrm>
            <a:off x="3276599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4" name="Bildplatzhalter 13"/>
          <p:cNvSpPr>
            <a:spLocks noGrp="1"/>
          </p:cNvSpPr>
          <p:nvPr>
            <p:ph type="pic" sz="quarter" idx="51"/>
          </p:nvPr>
        </p:nvSpPr>
        <p:spPr>
          <a:xfrm>
            <a:off x="3276600" y="1736724"/>
            <a:ext cx="1223963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5" name="Inhaltsplatzhalter 2"/>
          <p:cNvSpPr>
            <a:spLocks noGrp="1"/>
          </p:cNvSpPr>
          <p:nvPr>
            <p:ph idx="52" hasCustomPrompt="1"/>
          </p:nvPr>
        </p:nvSpPr>
        <p:spPr>
          <a:xfrm>
            <a:off x="4643438" y="2528888"/>
            <a:ext cx="12245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6" name="Bildplatzhalter 13"/>
          <p:cNvSpPr>
            <a:spLocks noGrp="1"/>
          </p:cNvSpPr>
          <p:nvPr>
            <p:ph type="pic" sz="quarter" idx="53"/>
          </p:nvPr>
        </p:nvSpPr>
        <p:spPr>
          <a:xfrm>
            <a:off x="4643575" y="1736724"/>
            <a:ext cx="1224425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7" name="Inhaltsplatzhalter 2"/>
          <p:cNvSpPr>
            <a:spLocks noGrp="1"/>
          </p:cNvSpPr>
          <p:nvPr>
            <p:ph idx="54" hasCustomPrompt="1"/>
          </p:nvPr>
        </p:nvSpPr>
        <p:spPr>
          <a:xfrm>
            <a:off x="6011863" y="2528888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8" name="Bildplatzhalter 13"/>
          <p:cNvSpPr>
            <a:spLocks noGrp="1"/>
          </p:cNvSpPr>
          <p:nvPr>
            <p:ph type="pic" sz="quarter" idx="55"/>
          </p:nvPr>
        </p:nvSpPr>
        <p:spPr>
          <a:xfrm>
            <a:off x="6011863" y="1736724"/>
            <a:ext cx="1224137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9" name="Inhaltsplatzhalter 2"/>
          <p:cNvSpPr>
            <a:spLocks noGrp="1"/>
          </p:cNvSpPr>
          <p:nvPr>
            <p:ph idx="56" hasCustomPrompt="1"/>
          </p:nvPr>
        </p:nvSpPr>
        <p:spPr>
          <a:xfrm>
            <a:off x="7380288" y="2528888"/>
            <a:ext cx="1226948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0" name="Bildplatzhalter 13"/>
          <p:cNvSpPr>
            <a:spLocks noGrp="1"/>
          </p:cNvSpPr>
          <p:nvPr>
            <p:ph type="pic" sz="quarter" idx="57"/>
          </p:nvPr>
        </p:nvSpPr>
        <p:spPr>
          <a:xfrm>
            <a:off x="7380288" y="1736722"/>
            <a:ext cx="1226948" cy="792166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1" name="Inhaltsplatzhalter 2"/>
          <p:cNvSpPr>
            <a:spLocks noGrp="1"/>
          </p:cNvSpPr>
          <p:nvPr>
            <p:ph idx="58" hasCustomPrompt="1"/>
          </p:nvPr>
        </p:nvSpPr>
        <p:spPr>
          <a:xfrm>
            <a:off x="539750" y="3752849"/>
            <a:ext cx="1224250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2" name="Bildplatzhalter 13"/>
          <p:cNvSpPr>
            <a:spLocks noGrp="1"/>
          </p:cNvSpPr>
          <p:nvPr>
            <p:ph type="pic" sz="quarter" idx="59"/>
          </p:nvPr>
        </p:nvSpPr>
        <p:spPr>
          <a:xfrm>
            <a:off x="539750" y="2960688"/>
            <a:ext cx="1223963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3" name="Inhaltsplatzhalter 2"/>
          <p:cNvSpPr>
            <a:spLocks noGrp="1"/>
          </p:cNvSpPr>
          <p:nvPr>
            <p:ph idx="60" hasCustomPrompt="1"/>
          </p:nvPr>
        </p:nvSpPr>
        <p:spPr>
          <a:xfrm>
            <a:off x="1908175" y="3752849"/>
            <a:ext cx="1221258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4" name="Bildplatzhalter 13"/>
          <p:cNvSpPr>
            <a:spLocks noGrp="1"/>
          </p:cNvSpPr>
          <p:nvPr>
            <p:ph type="pic" sz="quarter" idx="61"/>
          </p:nvPr>
        </p:nvSpPr>
        <p:spPr>
          <a:xfrm>
            <a:off x="1908174" y="2960687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5" name="Inhaltsplatzhalter 2"/>
          <p:cNvSpPr>
            <a:spLocks noGrp="1"/>
          </p:cNvSpPr>
          <p:nvPr>
            <p:ph idx="62" hasCustomPrompt="1"/>
          </p:nvPr>
        </p:nvSpPr>
        <p:spPr>
          <a:xfrm>
            <a:off x="3276599" y="3752849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6" name="Bildplatzhalter 13"/>
          <p:cNvSpPr>
            <a:spLocks noGrp="1"/>
          </p:cNvSpPr>
          <p:nvPr>
            <p:ph type="pic" sz="quarter" idx="63"/>
          </p:nvPr>
        </p:nvSpPr>
        <p:spPr>
          <a:xfrm>
            <a:off x="3276599" y="2960687"/>
            <a:ext cx="122195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7" name="Inhaltsplatzhalter 2"/>
          <p:cNvSpPr>
            <a:spLocks noGrp="1"/>
          </p:cNvSpPr>
          <p:nvPr>
            <p:ph idx="64" hasCustomPrompt="1"/>
          </p:nvPr>
        </p:nvSpPr>
        <p:spPr>
          <a:xfrm>
            <a:off x="4643438" y="3752849"/>
            <a:ext cx="1223962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8" name="Bildplatzhalter 13"/>
          <p:cNvSpPr>
            <a:spLocks noGrp="1"/>
          </p:cNvSpPr>
          <p:nvPr>
            <p:ph type="pic" sz="quarter" idx="65"/>
          </p:nvPr>
        </p:nvSpPr>
        <p:spPr>
          <a:xfrm>
            <a:off x="4643439" y="2960687"/>
            <a:ext cx="12245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9" name="Inhaltsplatzhalter 2"/>
          <p:cNvSpPr>
            <a:spLocks noGrp="1"/>
          </p:cNvSpPr>
          <p:nvPr>
            <p:ph idx="66" hasCustomPrompt="1"/>
          </p:nvPr>
        </p:nvSpPr>
        <p:spPr>
          <a:xfrm>
            <a:off x="6011863" y="3752849"/>
            <a:ext cx="1224137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0" name="Bildplatzhalter 13"/>
          <p:cNvSpPr>
            <a:spLocks noGrp="1"/>
          </p:cNvSpPr>
          <p:nvPr>
            <p:ph type="pic" sz="quarter" idx="67"/>
          </p:nvPr>
        </p:nvSpPr>
        <p:spPr>
          <a:xfrm>
            <a:off x="6011863" y="2960687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1" name="Inhaltsplatzhalter 2"/>
          <p:cNvSpPr>
            <a:spLocks noGrp="1"/>
          </p:cNvSpPr>
          <p:nvPr>
            <p:ph idx="68" hasCustomPrompt="1"/>
          </p:nvPr>
        </p:nvSpPr>
        <p:spPr>
          <a:xfrm>
            <a:off x="7380288" y="3752849"/>
            <a:ext cx="1226948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2" name="Bildplatzhalter 13"/>
          <p:cNvSpPr>
            <a:spLocks noGrp="1"/>
          </p:cNvSpPr>
          <p:nvPr>
            <p:ph type="pic" sz="quarter" idx="69"/>
          </p:nvPr>
        </p:nvSpPr>
        <p:spPr>
          <a:xfrm>
            <a:off x="7380288" y="2960688"/>
            <a:ext cx="1226948" cy="79216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3" name="Inhaltsplatzhalter 2"/>
          <p:cNvSpPr>
            <a:spLocks noGrp="1"/>
          </p:cNvSpPr>
          <p:nvPr>
            <p:ph idx="70" hasCustomPrompt="1"/>
          </p:nvPr>
        </p:nvSpPr>
        <p:spPr>
          <a:xfrm>
            <a:off x="539750" y="4976813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4" name="Bildplatzhalter 13"/>
          <p:cNvSpPr>
            <a:spLocks noGrp="1"/>
          </p:cNvSpPr>
          <p:nvPr>
            <p:ph type="pic" sz="quarter" idx="71"/>
          </p:nvPr>
        </p:nvSpPr>
        <p:spPr>
          <a:xfrm>
            <a:off x="539750" y="4184649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5" name="Inhaltsplatzhalter 2"/>
          <p:cNvSpPr>
            <a:spLocks noGrp="1"/>
          </p:cNvSpPr>
          <p:nvPr>
            <p:ph idx="72" hasCustomPrompt="1"/>
          </p:nvPr>
        </p:nvSpPr>
        <p:spPr>
          <a:xfrm>
            <a:off x="1908174" y="4976813"/>
            <a:ext cx="1221259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6" name="Bildplatzhalter 13"/>
          <p:cNvSpPr>
            <a:spLocks noGrp="1"/>
          </p:cNvSpPr>
          <p:nvPr>
            <p:ph type="pic" sz="quarter" idx="73"/>
          </p:nvPr>
        </p:nvSpPr>
        <p:spPr>
          <a:xfrm>
            <a:off x="1906720" y="4184650"/>
            <a:ext cx="1225418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7" name="Inhaltsplatzhalter 2"/>
          <p:cNvSpPr>
            <a:spLocks noGrp="1"/>
          </p:cNvSpPr>
          <p:nvPr>
            <p:ph idx="74" hasCustomPrompt="1"/>
          </p:nvPr>
        </p:nvSpPr>
        <p:spPr>
          <a:xfrm>
            <a:off x="3279572" y="4976813"/>
            <a:ext cx="1220991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8" name="Bildplatzhalter 13"/>
          <p:cNvSpPr>
            <a:spLocks noGrp="1"/>
          </p:cNvSpPr>
          <p:nvPr>
            <p:ph type="pic" sz="quarter" idx="75"/>
          </p:nvPr>
        </p:nvSpPr>
        <p:spPr>
          <a:xfrm>
            <a:off x="3276600" y="4184649"/>
            <a:ext cx="1221956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9" name="Inhaltsplatzhalter 2"/>
          <p:cNvSpPr>
            <a:spLocks noGrp="1"/>
          </p:cNvSpPr>
          <p:nvPr>
            <p:ph idx="76" hasCustomPrompt="1"/>
          </p:nvPr>
        </p:nvSpPr>
        <p:spPr>
          <a:xfrm>
            <a:off x="4647997" y="4976813"/>
            <a:ext cx="121891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0" name="Bildplatzhalter 13"/>
          <p:cNvSpPr>
            <a:spLocks noGrp="1"/>
          </p:cNvSpPr>
          <p:nvPr>
            <p:ph type="pic" sz="quarter" idx="77"/>
          </p:nvPr>
        </p:nvSpPr>
        <p:spPr>
          <a:xfrm>
            <a:off x="4643438" y="4184649"/>
            <a:ext cx="12239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1" name="Inhaltsplatzhalter 2"/>
          <p:cNvSpPr>
            <a:spLocks noGrp="1"/>
          </p:cNvSpPr>
          <p:nvPr>
            <p:ph idx="78" hasCustomPrompt="1"/>
          </p:nvPr>
        </p:nvSpPr>
        <p:spPr>
          <a:xfrm>
            <a:off x="6011863" y="4976813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2" name="Bildplatzhalter 13"/>
          <p:cNvSpPr>
            <a:spLocks noGrp="1"/>
          </p:cNvSpPr>
          <p:nvPr>
            <p:ph type="pic" sz="quarter" idx="79"/>
          </p:nvPr>
        </p:nvSpPr>
        <p:spPr>
          <a:xfrm>
            <a:off x="6011863" y="4184649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3" name="Inhaltsplatzhalter 2"/>
          <p:cNvSpPr>
            <a:spLocks noGrp="1"/>
          </p:cNvSpPr>
          <p:nvPr>
            <p:ph idx="80" hasCustomPrompt="1"/>
          </p:nvPr>
        </p:nvSpPr>
        <p:spPr>
          <a:xfrm>
            <a:off x="7380288" y="4976813"/>
            <a:ext cx="12239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4" name="Bildplatzhalter 13"/>
          <p:cNvSpPr>
            <a:spLocks noGrp="1"/>
          </p:cNvSpPr>
          <p:nvPr>
            <p:ph type="pic" sz="quarter" idx="81"/>
          </p:nvPr>
        </p:nvSpPr>
        <p:spPr>
          <a:xfrm>
            <a:off x="7380288" y="4184648"/>
            <a:ext cx="1226948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3"/>
            <a:ext cx="8059540" cy="395287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  <p:sp>
        <p:nvSpPr>
          <p:cNvPr id="4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49" y="800100"/>
            <a:ext cx="8064501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529785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552" y="1952624"/>
            <a:ext cx="8064896" cy="4321175"/>
          </a:xfrm>
        </p:spPr>
        <p:txBody>
          <a:bodyPr/>
          <a:lstStyle>
            <a:lvl1pPr marL="342900" indent="-342900">
              <a:buFont typeface="+mj-lt"/>
              <a:buAutoNum type="arabicPeriod"/>
              <a:tabLst>
                <a:tab pos="4783138" algn="l"/>
                <a:tab pos="5470525" algn="l"/>
              </a:tabLst>
              <a:defRPr sz="18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467" y="513355"/>
            <a:ext cx="2160037" cy="20021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36725"/>
            <a:ext cx="8064698" cy="67056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3"/>
            <a:ext cx="5471863" cy="1170187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859908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2816225"/>
            <a:ext cx="190785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8727" y="1736725"/>
            <a:ext cx="1909198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6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92387" y="2816225"/>
            <a:ext cx="190817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7" hasCustomPrompt="1"/>
          </p:nvPr>
        </p:nvSpPr>
        <p:spPr>
          <a:xfrm>
            <a:off x="4643438" y="2816225"/>
            <a:ext cx="1908104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9" hasCustomPrompt="1"/>
          </p:nvPr>
        </p:nvSpPr>
        <p:spPr>
          <a:xfrm>
            <a:off x="6696074" y="2816225"/>
            <a:ext cx="190817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0" name="Bildplatzhalter 13"/>
          <p:cNvSpPr>
            <a:spLocks noGrp="1"/>
          </p:cNvSpPr>
          <p:nvPr>
            <p:ph type="pic" sz="quarter" idx="37"/>
          </p:nvPr>
        </p:nvSpPr>
        <p:spPr>
          <a:xfrm>
            <a:off x="2592388" y="1736725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1" name="Bildplatzhalter 13"/>
          <p:cNvSpPr>
            <a:spLocks noGrp="1"/>
          </p:cNvSpPr>
          <p:nvPr>
            <p:ph type="pic" sz="quarter" idx="38"/>
          </p:nvPr>
        </p:nvSpPr>
        <p:spPr>
          <a:xfrm>
            <a:off x="4643438" y="1736725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2" name="Bildplatzhalter 13"/>
          <p:cNvSpPr>
            <a:spLocks noGrp="1"/>
          </p:cNvSpPr>
          <p:nvPr>
            <p:ph type="pic" sz="quarter" idx="39"/>
          </p:nvPr>
        </p:nvSpPr>
        <p:spPr>
          <a:xfrm>
            <a:off x="6696074" y="1736725"/>
            <a:ext cx="1908176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3" name="Inhaltsplatzhalter 2"/>
          <p:cNvSpPr>
            <a:spLocks noGrp="1"/>
          </p:cNvSpPr>
          <p:nvPr>
            <p:ph idx="40" hasCustomPrompt="1"/>
          </p:nvPr>
        </p:nvSpPr>
        <p:spPr>
          <a:xfrm>
            <a:off x="538727" y="4329113"/>
            <a:ext cx="1909198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4" name="Bildplatzhalter 13"/>
          <p:cNvSpPr>
            <a:spLocks noGrp="1"/>
          </p:cNvSpPr>
          <p:nvPr>
            <p:ph type="pic" sz="quarter" idx="41"/>
          </p:nvPr>
        </p:nvSpPr>
        <p:spPr>
          <a:xfrm>
            <a:off x="538727" y="3249613"/>
            <a:ext cx="1909198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5" name="Inhaltsplatzhalter 2"/>
          <p:cNvSpPr>
            <a:spLocks noGrp="1"/>
          </p:cNvSpPr>
          <p:nvPr>
            <p:ph idx="42" hasCustomPrompt="1"/>
          </p:nvPr>
        </p:nvSpPr>
        <p:spPr>
          <a:xfrm>
            <a:off x="2592387" y="4329113"/>
            <a:ext cx="1908175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6" name="Inhaltsplatzhalter 2"/>
          <p:cNvSpPr>
            <a:spLocks noGrp="1"/>
          </p:cNvSpPr>
          <p:nvPr>
            <p:ph idx="43" hasCustomPrompt="1"/>
          </p:nvPr>
        </p:nvSpPr>
        <p:spPr>
          <a:xfrm>
            <a:off x="4643438" y="4329114"/>
            <a:ext cx="1908174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7" name="Inhaltsplatzhalter 2"/>
          <p:cNvSpPr>
            <a:spLocks noGrp="1"/>
          </p:cNvSpPr>
          <p:nvPr>
            <p:ph idx="44" hasCustomPrompt="1"/>
          </p:nvPr>
        </p:nvSpPr>
        <p:spPr>
          <a:xfrm>
            <a:off x="6696074" y="4329113"/>
            <a:ext cx="1908175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8" name="Bildplatzhalter 13"/>
          <p:cNvSpPr>
            <a:spLocks noGrp="1"/>
          </p:cNvSpPr>
          <p:nvPr>
            <p:ph type="pic" sz="quarter" idx="45"/>
          </p:nvPr>
        </p:nvSpPr>
        <p:spPr>
          <a:xfrm>
            <a:off x="2592387" y="3249613"/>
            <a:ext cx="1908176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9" name="Bildplatzhalter 13"/>
          <p:cNvSpPr>
            <a:spLocks noGrp="1"/>
          </p:cNvSpPr>
          <p:nvPr>
            <p:ph type="pic" sz="quarter" idx="46"/>
          </p:nvPr>
        </p:nvSpPr>
        <p:spPr>
          <a:xfrm>
            <a:off x="4643438" y="3249613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0" name="Bildplatzhalter 13"/>
          <p:cNvSpPr>
            <a:spLocks noGrp="1"/>
          </p:cNvSpPr>
          <p:nvPr>
            <p:ph type="pic" sz="quarter" idx="47"/>
          </p:nvPr>
        </p:nvSpPr>
        <p:spPr>
          <a:xfrm>
            <a:off x="6695950" y="3249613"/>
            <a:ext cx="1908299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1" name="Inhaltsplatzhalter 2"/>
          <p:cNvSpPr>
            <a:spLocks noGrp="1"/>
          </p:cNvSpPr>
          <p:nvPr>
            <p:ph idx="48" hasCustomPrompt="1"/>
          </p:nvPr>
        </p:nvSpPr>
        <p:spPr>
          <a:xfrm>
            <a:off x="539749" y="5842000"/>
            <a:ext cx="1908175" cy="358775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2" name="Bildplatzhalter 13"/>
          <p:cNvSpPr>
            <a:spLocks noGrp="1"/>
          </p:cNvSpPr>
          <p:nvPr>
            <p:ph type="pic" sz="quarter" idx="49"/>
          </p:nvPr>
        </p:nvSpPr>
        <p:spPr>
          <a:xfrm>
            <a:off x="538727" y="4760913"/>
            <a:ext cx="1909198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3" name="Inhaltsplatzhalter 2"/>
          <p:cNvSpPr>
            <a:spLocks noGrp="1"/>
          </p:cNvSpPr>
          <p:nvPr>
            <p:ph idx="50" hasCustomPrompt="1"/>
          </p:nvPr>
        </p:nvSpPr>
        <p:spPr>
          <a:xfrm>
            <a:off x="2592388" y="5842001"/>
            <a:ext cx="1908174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4" name="Inhaltsplatzhalter 2"/>
          <p:cNvSpPr>
            <a:spLocks noGrp="1"/>
          </p:cNvSpPr>
          <p:nvPr>
            <p:ph idx="51" hasCustomPrompt="1"/>
          </p:nvPr>
        </p:nvSpPr>
        <p:spPr>
          <a:xfrm>
            <a:off x="4643437" y="5842001"/>
            <a:ext cx="1908175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5" name="Inhaltsplatzhalter 2"/>
          <p:cNvSpPr>
            <a:spLocks noGrp="1"/>
          </p:cNvSpPr>
          <p:nvPr>
            <p:ph idx="52" hasCustomPrompt="1"/>
          </p:nvPr>
        </p:nvSpPr>
        <p:spPr>
          <a:xfrm>
            <a:off x="6696074" y="5842000"/>
            <a:ext cx="1908175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6" name="Bildplatzhalter 13"/>
          <p:cNvSpPr>
            <a:spLocks noGrp="1"/>
          </p:cNvSpPr>
          <p:nvPr>
            <p:ph type="pic" sz="quarter" idx="53"/>
          </p:nvPr>
        </p:nvSpPr>
        <p:spPr>
          <a:xfrm>
            <a:off x="2592387" y="4760913"/>
            <a:ext cx="1908175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7" name="Bildplatzhalter 13"/>
          <p:cNvSpPr>
            <a:spLocks noGrp="1"/>
          </p:cNvSpPr>
          <p:nvPr>
            <p:ph type="pic" sz="quarter" idx="54"/>
          </p:nvPr>
        </p:nvSpPr>
        <p:spPr>
          <a:xfrm>
            <a:off x="4643438" y="4760913"/>
            <a:ext cx="1908175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8" name="Bildplatzhalter 13"/>
          <p:cNvSpPr>
            <a:spLocks noGrp="1"/>
          </p:cNvSpPr>
          <p:nvPr>
            <p:ph type="pic" sz="quarter" idx="55"/>
          </p:nvPr>
        </p:nvSpPr>
        <p:spPr>
          <a:xfrm>
            <a:off x="6696075" y="4760913"/>
            <a:ext cx="1908174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33209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50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1" name="Inhaltsplatzhalter 2"/>
          <p:cNvSpPr>
            <a:spLocks noGrp="1"/>
          </p:cNvSpPr>
          <p:nvPr>
            <p:ph idx="48" hasCustomPrompt="1"/>
          </p:nvPr>
        </p:nvSpPr>
        <p:spPr>
          <a:xfrm>
            <a:off x="1908174" y="2528886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2" name="Bildplatzhalter 13"/>
          <p:cNvSpPr>
            <a:spLocks noGrp="1"/>
          </p:cNvSpPr>
          <p:nvPr>
            <p:ph type="pic" sz="quarter" idx="49"/>
          </p:nvPr>
        </p:nvSpPr>
        <p:spPr>
          <a:xfrm>
            <a:off x="1908174" y="1736723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3" name="Inhaltsplatzhalter 2"/>
          <p:cNvSpPr>
            <a:spLocks noGrp="1"/>
          </p:cNvSpPr>
          <p:nvPr>
            <p:ph idx="50" hasCustomPrompt="1"/>
          </p:nvPr>
        </p:nvSpPr>
        <p:spPr>
          <a:xfrm>
            <a:off x="3276599" y="2528888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4" name="Bildplatzhalter 13"/>
          <p:cNvSpPr>
            <a:spLocks noGrp="1"/>
          </p:cNvSpPr>
          <p:nvPr>
            <p:ph type="pic" sz="quarter" idx="51"/>
          </p:nvPr>
        </p:nvSpPr>
        <p:spPr>
          <a:xfrm>
            <a:off x="3276600" y="1736724"/>
            <a:ext cx="1223963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5" name="Inhaltsplatzhalter 2"/>
          <p:cNvSpPr>
            <a:spLocks noGrp="1"/>
          </p:cNvSpPr>
          <p:nvPr>
            <p:ph idx="52" hasCustomPrompt="1"/>
          </p:nvPr>
        </p:nvSpPr>
        <p:spPr>
          <a:xfrm>
            <a:off x="4643438" y="2528888"/>
            <a:ext cx="12245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6" name="Bildplatzhalter 13"/>
          <p:cNvSpPr>
            <a:spLocks noGrp="1"/>
          </p:cNvSpPr>
          <p:nvPr>
            <p:ph type="pic" sz="quarter" idx="53"/>
          </p:nvPr>
        </p:nvSpPr>
        <p:spPr>
          <a:xfrm>
            <a:off x="4643575" y="1736724"/>
            <a:ext cx="1224425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7" name="Inhaltsplatzhalter 2"/>
          <p:cNvSpPr>
            <a:spLocks noGrp="1"/>
          </p:cNvSpPr>
          <p:nvPr>
            <p:ph idx="54" hasCustomPrompt="1"/>
          </p:nvPr>
        </p:nvSpPr>
        <p:spPr>
          <a:xfrm>
            <a:off x="6011863" y="2528888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98" name="Bildplatzhalter 13"/>
          <p:cNvSpPr>
            <a:spLocks noGrp="1"/>
          </p:cNvSpPr>
          <p:nvPr>
            <p:ph type="pic" sz="quarter" idx="55"/>
          </p:nvPr>
        </p:nvSpPr>
        <p:spPr>
          <a:xfrm>
            <a:off x="6011863" y="1736724"/>
            <a:ext cx="1224137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99" name="Inhaltsplatzhalter 2"/>
          <p:cNvSpPr>
            <a:spLocks noGrp="1"/>
          </p:cNvSpPr>
          <p:nvPr>
            <p:ph idx="56" hasCustomPrompt="1"/>
          </p:nvPr>
        </p:nvSpPr>
        <p:spPr>
          <a:xfrm>
            <a:off x="7380288" y="2528888"/>
            <a:ext cx="1226948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0" name="Bildplatzhalter 13"/>
          <p:cNvSpPr>
            <a:spLocks noGrp="1"/>
          </p:cNvSpPr>
          <p:nvPr>
            <p:ph type="pic" sz="quarter" idx="57"/>
          </p:nvPr>
        </p:nvSpPr>
        <p:spPr>
          <a:xfrm>
            <a:off x="7380288" y="1736722"/>
            <a:ext cx="1226948" cy="792166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1" name="Inhaltsplatzhalter 2"/>
          <p:cNvSpPr>
            <a:spLocks noGrp="1"/>
          </p:cNvSpPr>
          <p:nvPr>
            <p:ph idx="58" hasCustomPrompt="1"/>
          </p:nvPr>
        </p:nvSpPr>
        <p:spPr>
          <a:xfrm>
            <a:off x="539750" y="3752849"/>
            <a:ext cx="1224250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2" name="Bildplatzhalter 13"/>
          <p:cNvSpPr>
            <a:spLocks noGrp="1"/>
          </p:cNvSpPr>
          <p:nvPr>
            <p:ph type="pic" sz="quarter" idx="59"/>
          </p:nvPr>
        </p:nvSpPr>
        <p:spPr>
          <a:xfrm>
            <a:off x="539750" y="2960688"/>
            <a:ext cx="1223963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3" name="Inhaltsplatzhalter 2"/>
          <p:cNvSpPr>
            <a:spLocks noGrp="1"/>
          </p:cNvSpPr>
          <p:nvPr>
            <p:ph idx="60" hasCustomPrompt="1"/>
          </p:nvPr>
        </p:nvSpPr>
        <p:spPr>
          <a:xfrm>
            <a:off x="1908175" y="3752849"/>
            <a:ext cx="1221258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4" name="Bildplatzhalter 13"/>
          <p:cNvSpPr>
            <a:spLocks noGrp="1"/>
          </p:cNvSpPr>
          <p:nvPr>
            <p:ph type="pic" sz="quarter" idx="61"/>
          </p:nvPr>
        </p:nvSpPr>
        <p:spPr>
          <a:xfrm>
            <a:off x="1908174" y="2960687"/>
            <a:ext cx="1223964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5" name="Inhaltsplatzhalter 2"/>
          <p:cNvSpPr>
            <a:spLocks noGrp="1"/>
          </p:cNvSpPr>
          <p:nvPr>
            <p:ph idx="62" hasCustomPrompt="1"/>
          </p:nvPr>
        </p:nvSpPr>
        <p:spPr>
          <a:xfrm>
            <a:off x="3276599" y="3752849"/>
            <a:ext cx="1223963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6" name="Bildplatzhalter 13"/>
          <p:cNvSpPr>
            <a:spLocks noGrp="1"/>
          </p:cNvSpPr>
          <p:nvPr>
            <p:ph type="pic" sz="quarter" idx="63"/>
          </p:nvPr>
        </p:nvSpPr>
        <p:spPr>
          <a:xfrm>
            <a:off x="3276599" y="2960687"/>
            <a:ext cx="122195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7" name="Inhaltsplatzhalter 2"/>
          <p:cNvSpPr>
            <a:spLocks noGrp="1"/>
          </p:cNvSpPr>
          <p:nvPr>
            <p:ph idx="64" hasCustomPrompt="1"/>
          </p:nvPr>
        </p:nvSpPr>
        <p:spPr>
          <a:xfrm>
            <a:off x="4643438" y="3752849"/>
            <a:ext cx="1223962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08" name="Bildplatzhalter 13"/>
          <p:cNvSpPr>
            <a:spLocks noGrp="1"/>
          </p:cNvSpPr>
          <p:nvPr>
            <p:ph type="pic" sz="quarter" idx="65"/>
          </p:nvPr>
        </p:nvSpPr>
        <p:spPr>
          <a:xfrm>
            <a:off x="4643439" y="2960687"/>
            <a:ext cx="12245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09" name="Inhaltsplatzhalter 2"/>
          <p:cNvSpPr>
            <a:spLocks noGrp="1"/>
          </p:cNvSpPr>
          <p:nvPr>
            <p:ph idx="66" hasCustomPrompt="1"/>
          </p:nvPr>
        </p:nvSpPr>
        <p:spPr>
          <a:xfrm>
            <a:off x="6011863" y="3752849"/>
            <a:ext cx="1224137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0" name="Bildplatzhalter 13"/>
          <p:cNvSpPr>
            <a:spLocks noGrp="1"/>
          </p:cNvSpPr>
          <p:nvPr>
            <p:ph type="pic" sz="quarter" idx="67"/>
          </p:nvPr>
        </p:nvSpPr>
        <p:spPr>
          <a:xfrm>
            <a:off x="6011863" y="2960687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1" name="Inhaltsplatzhalter 2"/>
          <p:cNvSpPr>
            <a:spLocks noGrp="1"/>
          </p:cNvSpPr>
          <p:nvPr>
            <p:ph idx="68" hasCustomPrompt="1"/>
          </p:nvPr>
        </p:nvSpPr>
        <p:spPr>
          <a:xfrm>
            <a:off x="7380288" y="3752849"/>
            <a:ext cx="1226948" cy="36036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2" name="Bildplatzhalter 13"/>
          <p:cNvSpPr>
            <a:spLocks noGrp="1"/>
          </p:cNvSpPr>
          <p:nvPr>
            <p:ph type="pic" sz="quarter" idx="69"/>
          </p:nvPr>
        </p:nvSpPr>
        <p:spPr>
          <a:xfrm>
            <a:off x="7380288" y="2960688"/>
            <a:ext cx="1226948" cy="792161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3" name="Inhaltsplatzhalter 2"/>
          <p:cNvSpPr>
            <a:spLocks noGrp="1"/>
          </p:cNvSpPr>
          <p:nvPr>
            <p:ph idx="70" hasCustomPrompt="1"/>
          </p:nvPr>
        </p:nvSpPr>
        <p:spPr>
          <a:xfrm>
            <a:off x="539750" y="4976813"/>
            <a:ext cx="122396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4" name="Bildplatzhalter 13"/>
          <p:cNvSpPr>
            <a:spLocks noGrp="1"/>
          </p:cNvSpPr>
          <p:nvPr>
            <p:ph type="pic" sz="quarter" idx="71"/>
          </p:nvPr>
        </p:nvSpPr>
        <p:spPr>
          <a:xfrm>
            <a:off x="539750" y="4184649"/>
            <a:ext cx="1223963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5" name="Inhaltsplatzhalter 2"/>
          <p:cNvSpPr>
            <a:spLocks noGrp="1"/>
          </p:cNvSpPr>
          <p:nvPr>
            <p:ph idx="72" hasCustomPrompt="1"/>
          </p:nvPr>
        </p:nvSpPr>
        <p:spPr>
          <a:xfrm>
            <a:off x="1908174" y="4976813"/>
            <a:ext cx="1221259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6" name="Bildplatzhalter 13"/>
          <p:cNvSpPr>
            <a:spLocks noGrp="1"/>
          </p:cNvSpPr>
          <p:nvPr>
            <p:ph type="pic" sz="quarter" idx="73"/>
          </p:nvPr>
        </p:nvSpPr>
        <p:spPr>
          <a:xfrm>
            <a:off x="1906720" y="4184650"/>
            <a:ext cx="1225418" cy="792162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7" name="Inhaltsplatzhalter 2"/>
          <p:cNvSpPr>
            <a:spLocks noGrp="1"/>
          </p:cNvSpPr>
          <p:nvPr>
            <p:ph idx="74" hasCustomPrompt="1"/>
          </p:nvPr>
        </p:nvSpPr>
        <p:spPr>
          <a:xfrm>
            <a:off x="3279572" y="4976813"/>
            <a:ext cx="1220991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18" name="Bildplatzhalter 13"/>
          <p:cNvSpPr>
            <a:spLocks noGrp="1"/>
          </p:cNvSpPr>
          <p:nvPr>
            <p:ph type="pic" sz="quarter" idx="75"/>
          </p:nvPr>
        </p:nvSpPr>
        <p:spPr>
          <a:xfrm>
            <a:off x="3276600" y="4184649"/>
            <a:ext cx="1221956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19" name="Inhaltsplatzhalter 2"/>
          <p:cNvSpPr>
            <a:spLocks noGrp="1"/>
          </p:cNvSpPr>
          <p:nvPr>
            <p:ph idx="76" hasCustomPrompt="1"/>
          </p:nvPr>
        </p:nvSpPr>
        <p:spPr>
          <a:xfrm>
            <a:off x="4647997" y="4976813"/>
            <a:ext cx="1218913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0" name="Bildplatzhalter 13"/>
          <p:cNvSpPr>
            <a:spLocks noGrp="1"/>
          </p:cNvSpPr>
          <p:nvPr>
            <p:ph type="pic" sz="quarter" idx="77"/>
          </p:nvPr>
        </p:nvSpPr>
        <p:spPr>
          <a:xfrm>
            <a:off x="4643438" y="4184649"/>
            <a:ext cx="1223962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1" name="Inhaltsplatzhalter 2"/>
          <p:cNvSpPr>
            <a:spLocks noGrp="1"/>
          </p:cNvSpPr>
          <p:nvPr>
            <p:ph idx="78" hasCustomPrompt="1"/>
          </p:nvPr>
        </p:nvSpPr>
        <p:spPr>
          <a:xfrm>
            <a:off x="6011863" y="4976813"/>
            <a:ext cx="1224137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2" name="Bildplatzhalter 13"/>
          <p:cNvSpPr>
            <a:spLocks noGrp="1"/>
          </p:cNvSpPr>
          <p:nvPr>
            <p:ph type="pic" sz="quarter" idx="79"/>
          </p:nvPr>
        </p:nvSpPr>
        <p:spPr>
          <a:xfrm>
            <a:off x="6011863" y="4184649"/>
            <a:ext cx="1224137" cy="792163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23" name="Inhaltsplatzhalter 2"/>
          <p:cNvSpPr>
            <a:spLocks noGrp="1"/>
          </p:cNvSpPr>
          <p:nvPr>
            <p:ph idx="80" hasCustomPrompt="1"/>
          </p:nvPr>
        </p:nvSpPr>
        <p:spPr>
          <a:xfrm>
            <a:off x="7380288" y="4976813"/>
            <a:ext cx="1223962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24" name="Bildplatzhalter 13"/>
          <p:cNvSpPr>
            <a:spLocks noGrp="1"/>
          </p:cNvSpPr>
          <p:nvPr>
            <p:ph type="pic" sz="quarter" idx="81"/>
          </p:nvPr>
        </p:nvSpPr>
        <p:spPr>
          <a:xfrm>
            <a:off x="7380288" y="4184648"/>
            <a:ext cx="1226948" cy="792164"/>
          </a:xfrm>
          <a:prstGeom prst="rect">
            <a:avLst/>
          </a:prstGeom>
        </p:spPr>
        <p:txBody>
          <a:bodyPr tIns="72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186766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539750" y="1665288"/>
            <a:ext cx="80645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781382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lide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539750" y="1665288"/>
            <a:ext cx="80645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/>
          </p:nvPr>
        </p:nvSpPr>
        <p:spPr>
          <a:xfrm>
            <a:off x="539750" y="404814"/>
            <a:ext cx="8059790" cy="395286"/>
          </a:xfrm>
        </p:spPr>
        <p:txBody>
          <a:bodyPr/>
          <a:lstStyle/>
          <a:p>
            <a:r>
              <a:rPr lang="de-CH" dirty="0" err="1"/>
              <a:t>Klik</a:t>
            </a:r>
            <a:r>
              <a:rPr lang="de-CH" dirty="0"/>
              <a:t> </a:t>
            </a:r>
            <a:r>
              <a:rPr lang="de-CH" dirty="0" err="1"/>
              <a:t>om</a:t>
            </a:r>
            <a:r>
              <a:rPr lang="de-CH" dirty="0"/>
              <a:t> de </a:t>
            </a:r>
            <a:r>
              <a:rPr lang="de-CH" dirty="0" err="1"/>
              <a:t>stijl</a:t>
            </a:r>
            <a:r>
              <a:rPr lang="de-CH" dirty="0"/>
              <a:t> </a:t>
            </a:r>
            <a:r>
              <a:rPr lang="de-CH" dirty="0" err="1"/>
              <a:t>te</a:t>
            </a:r>
            <a:r>
              <a:rPr lang="de-CH" dirty="0"/>
              <a:t> </a:t>
            </a:r>
            <a:r>
              <a:rPr lang="de-CH" dirty="0" err="1"/>
              <a:t>bewerk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931260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8059790" cy="4537076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83973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8064500" cy="2736851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689475"/>
            <a:ext cx="8064500" cy="158432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655265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4537075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32363" y="1665288"/>
            <a:ext cx="3667178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49" y="404814"/>
            <a:ext cx="8059791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96970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  <p15:guide id="2" pos="3107" userDrawn="1">
          <p15:clr>
            <a:srgbClr val="9FCC3B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abelle ho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4537076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932362" y="2097088"/>
            <a:ext cx="3671888" cy="41767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 algn="l">
              <a:defRPr sz="1800"/>
            </a:lvl3pPr>
            <a:lvl4pPr algn="l">
              <a:defRPr sz="1800"/>
            </a:lvl4pPr>
            <a:lvl5pPr algn="l"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66" hasCustomPrompt="1"/>
          </p:nvPr>
        </p:nvSpPr>
        <p:spPr>
          <a:xfrm>
            <a:off x="4932362" y="1736724"/>
            <a:ext cx="3671888" cy="215901"/>
          </a:xfr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lIns="108000" anchor="ctr" anchorCtr="0"/>
          <a:lstStyle>
            <a:lvl1pPr marL="0" indent="0">
              <a:buNone/>
              <a:defRPr sz="1200" b="1" cap="all" baseline="0">
                <a:solidFill>
                  <a:schemeClr val="bg1"/>
                </a:solidFill>
              </a:defRPr>
            </a:lvl1pPr>
            <a:lvl2pPr>
              <a:defRPr sz="1200" b="1">
                <a:solidFill>
                  <a:schemeClr val="bg1"/>
                </a:solidFill>
              </a:defRPr>
            </a:lvl2pPr>
            <a:lvl3pPr>
              <a:defRPr sz="1200" b="1">
                <a:solidFill>
                  <a:schemeClr val="bg1"/>
                </a:solidFill>
              </a:defRPr>
            </a:lvl3pPr>
            <a:lvl4pPr>
              <a:defRPr sz="1200" b="1">
                <a:solidFill>
                  <a:schemeClr val="bg1"/>
                </a:solidFill>
              </a:defRPr>
            </a:lvl4pPr>
            <a:lvl5pPr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49" y="800100"/>
            <a:ext cx="8064501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2949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07" userDrawn="1">
          <p15:clr>
            <a:srgbClr val="9FCC3B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49" y="1736724"/>
            <a:ext cx="3960813" cy="2447926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473574"/>
            <a:ext cx="3960242" cy="1800226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4645345" y="4473574"/>
            <a:ext cx="3958905" cy="1800226"/>
          </a:xfrm>
        </p:spPr>
        <p:txBody>
          <a:bodyPr numCol="1" spcCol="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19"/>
          </p:nvPr>
        </p:nvSpPr>
        <p:spPr>
          <a:xfrm>
            <a:off x="4645345" y="1736724"/>
            <a:ext cx="3958905" cy="24479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49" y="404814"/>
            <a:ext cx="8059791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28346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48408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4"/>
            <a:ext cx="2592388" cy="2016125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041776"/>
            <a:ext cx="2592388" cy="2236534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276813" y="4041776"/>
            <a:ext cx="2590587" cy="2236534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12000" y="4041775"/>
            <a:ext cx="2587540" cy="2232026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1"/>
          </p:nvPr>
        </p:nvSpPr>
        <p:spPr>
          <a:xfrm>
            <a:off x="3276813" y="1736724"/>
            <a:ext cx="2590587" cy="201612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5" name="Bildplatzhalter 6"/>
          <p:cNvSpPr>
            <a:spLocks noGrp="1"/>
          </p:cNvSpPr>
          <p:nvPr>
            <p:ph type="pic" sz="quarter" idx="22"/>
          </p:nvPr>
        </p:nvSpPr>
        <p:spPr>
          <a:xfrm>
            <a:off x="6012000" y="1736724"/>
            <a:ext cx="2592250" cy="2016125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5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48575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36725"/>
            <a:ext cx="5327650" cy="4537074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8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012000" y="1736724"/>
            <a:ext cx="2592000" cy="22320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6"/>
          </p:nvPr>
        </p:nvSpPr>
        <p:spPr>
          <a:xfrm>
            <a:off x="6012000" y="4041774"/>
            <a:ext cx="2592250" cy="2232025"/>
          </a:xfrm>
        </p:spPr>
        <p:txBody>
          <a:bodyPr tIns="5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973198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</p:spPr>
        <p:txBody>
          <a:bodyPr tIns="234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08050"/>
            <a:ext cx="8064000" cy="495950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32480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 userDrawn="1">
          <p15:clr>
            <a:srgbClr val="9FCC3B"/>
          </p15:clr>
        </p15:guide>
        <p15:guide id="2" orient="horz" pos="4088" userDrawn="1">
          <p15:clr>
            <a:srgbClr val="9FCC3B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Säu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736724"/>
            <a:ext cx="8064500" cy="4537075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1939937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0" name="Diagrammplatzhalter 9"/>
          <p:cNvSpPr>
            <a:spLocks noGrp="1"/>
          </p:cNvSpPr>
          <p:nvPr>
            <p:ph type="chart" sz="quarter" idx="15"/>
          </p:nvPr>
        </p:nvSpPr>
        <p:spPr>
          <a:xfrm>
            <a:off x="539750" y="1953110"/>
            <a:ext cx="2592388" cy="1871178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539750" y="1665288"/>
            <a:ext cx="2592388" cy="215900"/>
          </a:xfrm>
        </p:spPr>
        <p:txBody>
          <a:bodyPr tIns="43200"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11" name="Diagrammplatzhalter 9"/>
          <p:cNvSpPr>
            <a:spLocks noGrp="1"/>
          </p:cNvSpPr>
          <p:nvPr>
            <p:ph type="chart" sz="quarter" idx="18"/>
          </p:nvPr>
        </p:nvSpPr>
        <p:spPr>
          <a:xfrm>
            <a:off x="4644000" y="1953110"/>
            <a:ext cx="2591825" cy="1871178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noProof="0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0"/>
          </p:nvPr>
        </p:nvSpPr>
        <p:spPr>
          <a:xfrm>
            <a:off x="4644000" y="1665289"/>
            <a:ext cx="2592000" cy="215900"/>
          </a:xfrm>
        </p:spPr>
        <p:txBody>
          <a:bodyPr tIns="43200"/>
          <a:lstStyle>
            <a:lvl1pPr marL="0" indent="0"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endParaRPr lang="de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66" hasCustomPrompt="1"/>
          </p:nvPr>
        </p:nvSpPr>
        <p:spPr>
          <a:xfrm>
            <a:off x="539750" y="4760913"/>
            <a:ext cx="2592000" cy="1512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67" hasCustomPrompt="1"/>
          </p:nvPr>
        </p:nvSpPr>
        <p:spPr>
          <a:xfrm>
            <a:off x="4644000" y="4760913"/>
            <a:ext cx="2592000" cy="15128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68"/>
          </p:nvPr>
        </p:nvSpPr>
        <p:spPr>
          <a:xfrm>
            <a:off x="4644000" y="3968749"/>
            <a:ext cx="2591825" cy="720725"/>
          </a:xfrm>
        </p:spPr>
        <p:txBody>
          <a:bodyPr/>
          <a:lstStyle/>
          <a:p>
            <a:endParaRPr lang="de-CH" noProof="0" dirty="0"/>
          </a:p>
        </p:txBody>
      </p:sp>
      <p:sp>
        <p:nvSpPr>
          <p:cNvPr id="16" name="Tabellenplatzhalter 6"/>
          <p:cNvSpPr>
            <a:spLocks noGrp="1"/>
          </p:cNvSpPr>
          <p:nvPr>
            <p:ph type="tbl" sz="quarter" idx="69"/>
          </p:nvPr>
        </p:nvSpPr>
        <p:spPr>
          <a:xfrm>
            <a:off x="539750" y="3968749"/>
            <a:ext cx="2592388" cy="720725"/>
          </a:xfrm>
        </p:spPr>
        <p:txBody>
          <a:bodyPr/>
          <a:lstStyle/>
          <a:p>
            <a:endParaRPr lang="de-CH" noProof="0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20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756692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542699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0"/>
            <a:ext cx="9151046" cy="4581525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4"/>
            <a:ext cx="9151046" cy="23129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6156000"/>
            <a:ext cx="4320000" cy="2880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/>
              <a:t>Präsentator</a:t>
            </a:r>
            <a:r>
              <a:rPr lang="en-US" noProof="0" dirty="0"/>
              <a:t>, Ort, Datum </a:t>
            </a:r>
            <a:r>
              <a:rPr lang="en-US" noProof="0" dirty="0" err="1"/>
              <a:t>TT.MM.JJJJ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443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9FCC3B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-1"/>
            <a:ext cx="9151046" cy="4545014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046" y="4545013"/>
            <a:ext cx="9151046" cy="23129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806000"/>
            <a:ext cx="8064500" cy="396000"/>
          </a:xfrm>
        </p:spPr>
        <p:txBody>
          <a:bodyPr anchor="t" anchorCtr="0">
            <a:no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184000"/>
            <a:ext cx="8064500" cy="396000"/>
          </a:xfrm>
        </p:spPr>
        <p:txBody>
          <a:bodyPr>
            <a:noAutofit/>
          </a:bodyPr>
          <a:lstStyle>
            <a:lvl1pPr marL="0" indent="0" algn="l">
              <a:buNone/>
              <a:defRPr sz="2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491" y="6119328"/>
            <a:ext cx="2160042" cy="200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7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9FCC3B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/>
          <p:cNvSpPr>
            <a:spLocks noGrp="1"/>
          </p:cNvSpPr>
          <p:nvPr>
            <p:ph type="pic" sz="quarter" idx="11"/>
          </p:nvPr>
        </p:nvSpPr>
        <p:spPr>
          <a:xfrm>
            <a:off x="-7046" y="0"/>
            <a:ext cx="9180000" cy="6858000"/>
          </a:xfrm>
          <a:prstGeom prst="rect">
            <a:avLst/>
          </a:prstGeom>
        </p:spPr>
        <p:txBody>
          <a:bodyPr tIns="1800000" anchor="t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432000"/>
            <a:ext cx="8064500" cy="396000"/>
          </a:xfrm>
        </p:spPr>
        <p:txBody>
          <a:bodyPr anchor="t" anchorCtr="0">
            <a:noAutofit/>
          </a:bodyPr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3564000"/>
            <a:ext cx="8064500" cy="2160000"/>
          </a:xfrm>
        </p:spPr>
        <p:txBody>
          <a:bodyPr>
            <a:noAutofit/>
          </a:bodyPr>
          <a:lstStyle>
            <a:lvl1pPr marL="0" indent="0" algn="l">
              <a:buNone/>
              <a:defRPr sz="5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5089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432000"/>
            <a:ext cx="8064500" cy="396000"/>
          </a:xfrm>
        </p:spPr>
        <p:txBody>
          <a:bodyPr anchor="t" anchorCtr="0">
            <a:noAutofit/>
          </a:bodyPr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3564000"/>
            <a:ext cx="8064500" cy="2160000"/>
          </a:xfrm>
        </p:spPr>
        <p:txBody>
          <a:bodyPr>
            <a:noAutofit/>
          </a:bodyPr>
          <a:lstStyle>
            <a:lvl1pPr marL="0" indent="0" algn="l">
              <a:buNone/>
              <a:defRPr sz="5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4069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lide Titel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3" hasCustomPrompt="1"/>
          </p:nvPr>
        </p:nvSpPr>
        <p:spPr>
          <a:xfrm>
            <a:off x="539750" y="1665288"/>
            <a:ext cx="80645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539750" y="404814"/>
            <a:ext cx="8059790" cy="395286"/>
          </a:xfrm>
        </p:spPr>
        <p:txBody>
          <a:bodyPr/>
          <a:lstStyle/>
          <a:p>
            <a:r>
              <a:rPr lang="de-CH" dirty="0" err="1"/>
              <a:t>Klik</a:t>
            </a:r>
            <a:r>
              <a:rPr lang="de-CH" dirty="0"/>
              <a:t> </a:t>
            </a:r>
            <a:r>
              <a:rPr lang="de-CH" dirty="0" err="1"/>
              <a:t>om</a:t>
            </a:r>
            <a:r>
              <a:rPr lang="de-CH" dirty="0"/>
              <a:t> de </a:t>
            </a:r>
            <a:r>
              <a:rPr lang="de-CH" dirty="0" err="1"/>
              <a:t>stijl</a:t>
            </a:r>
            <a:r>
              <a:rPr lang="de-CH" dirty="0"/>
              <a:t> </a:t>
            </a:r>
            <a:r>
              <a:rPr lang="de-CH" dirty="0" err="1"/>
              <a:t>te</a:t>
            </a:r>
            <a:r>
              <a:rPr lang="de-CH" dirty="0"/>
              <a:t> </a:t>
            </a:r>
            <a:r>
              <a:rPr lang="de-CH" dirty="0" err="1"/>
              <a:t>bewerk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341305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666666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5F275F-C62E-41AE-B173-A7B2AB63187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30018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r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14043"/>
            <a:ext cx="8064500" cy="432000"/>
          </a:xfrm>
        </p:spPr>
        <p:txBody>
          <a:bodyPr anchor="t" anchorCtr="0"/>
          <a:lstStyle>
            <a:lvl1pPr>
              <a:defRPr baseline="0"/>
            </a:lvl1pPr>
          </a:lstStyle>
          <a:p>
            <a:endParaRPr lang="de-CH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de-CH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FFFFFF"/>
                </a:solidFill>
              </a:rPr>
              <a:pPr/>
              <a:t>‹#›</a:t>
            </a:fld>
            <a:endParaRPr lang="de-CH">
              <a:solidFill>
                <a:srgbClr val="FFFFFF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539750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539750" y="888393"/>
            <a:ext cx="8064000" cy="504000"/>
          </a:xfr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de-DE" dirty="0"/>
              <a:t>Textmasterformat </a:t>
            </a:r>
            <a:r>
              <a:rPr lang="de-CH" noProof="0" dirty="0"/>
              <a:t>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539750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7"/>
          </p:nvPr>
        </p:nvSpPr>
        <p:spPr>
          <a:xfrm>
            <a:off x="3294534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8"/>
          </p:nvPr>
        </p:nvSpPr>
        <p:spPr>
          <a:xfrm>
            <a:off x="6030784" y="1724134"/>
            <a:ext cx="2592000" cy="2016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endParaRPr lang="de-CH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3294390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6030784" y="4020712"/>
            <a:ext cx="2592000" cy="2257598"/>
          </a:xfrm>
        </p:spPr>
        <p:txBody>
          <a:bodyPr numCol="1" spcCol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906972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552" y="1952624"/>
            <a:ext cx="8064896" cy="4321175"/>
          </a:xfrm>
        </p:spPr>
        <p:txBody>
          <a:bodyPr/>
          <a:lstStyle>
            <a:lvl1pPr marL="342900" indent="-342900">
              <a:buFont typeface="+mj-lt"/>
              <a:buAutoNum type="arabicPeriod"/>
              <a:tabLst>
                <a:tab pos="4783138" algn="l"/>
                <a:tab pos="5470525" algn="l"/>
              </a:tabLst>
              <a:defRPr sz="18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467" y="513355"/>
            <a:ext cx="2160037" cy="20021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736725"/>
            <a:ext cx="8064698" cy="67056"/>
          </a:xfrm>
          <a:prstGeom prst="rect">
            <a:avLst/>
          </a:prstGeom>
        </p:spPr>
      </p:pic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3"/>
            <a:ext cx="5471863" cy="1170187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95871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Bilde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9" y="2816225"/>
            <a:ext cx="190785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‹#›</a:t>
            </a:fld>
            <a:endParaRPr lang="de-CH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15100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2800" b="0" cap="all" baseline="0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2"/>
                </a:solidFill>
              </a:defRPr>
            </a:lvl2pPr>
            <a:lvl3pPr>
              <a:defRPr b="1">
                <a:solidFill>
                  <a:schemeClr val="tx2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 b="1">
                <a:solidFill>
                  <a:schemeClr val="tx2"/>
                </a:solidFill>
              </a:defRPr>
            </a:lvl5pPr>
          </a:lstStyle>
          <a:p>
            <a:pPr lvl="0"/>
            <a:endParaRPr lang="de-CH" noProof="0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8727" y="1736725"/>
            <a:ext cx="1909198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16" name="Inhaltsplatzhalter 2"/>
          <p:cNvSpPr>
            <a:spLocks noGrp="1"/>
          </p:cNvSpPr>
          <p:nvPr>
            <p:ph idx="15" hasCustomPrompt="1"/>
          </p:nvPr>
        </p:nvSpPr>
        <p:spPr>
          <a:xfrm>
            <a:off x="2592387" y="2816225"/>
            <a:ext cx="190817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idx="17" hasCustomPrompt="1"/>
          </p:nvPr>
        </p:nvSpPr>
        <p:spPr>
          <a:xfrm>
            <a:off x="4643438" y="2816225"/>
            <a:ext cx="1908104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20" name="Inhaltsplatzhalter 2"/>
          <p:cNvSpPr>
            <a:spLocks noGrp="1"/>
          </p:cNvSpPr>
          <p:nvPr>
            <p:ph idx="19" hasCustomPrompt="1"/>
          </p:nvPr>
        </p:nvSpPr>
        <p:spPr>
          <a:xfrm>
            <a:off x="6696074" y="2816225"/>
            <a:ext cx="1908175" cy="360363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0" name="Bildplatzhalter 13"/>
          <p:cNvSpPr>
            <a:spLocks noGrp="1"/>
          </p:cNvSpPr>
          <p:nvPr>
            <p:ph type="pic" sz="quarter" idx="37"/>
          </p:nvPr>
        </p:nvSpPr>
        <p:spPr>
          <a:xfrm>
            <a:off x="2592388" y="1736725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1" name="Bildplatzhalter 13"/>
          <p:cNvSpPr>
            <a:spLocks noGrp="1"/>
          </p:cNvSpPr>
          <p:nvPr>
            <p:ph type="pic" sz="quarter" idx="38"/>
          </p:nvPr>
        </p:nvSpPr>
        <p:spPr>
          <a:xfrm>
            <a:off x="4643438" y="1736725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2" name="Bildplatzhalter 13"/>
          <p:cNvSpPr>
            <a:spLocks noGrp="1"/>
          </p:cNvSpPr>
          <p:nvPr>
            <p:ph type="pic" sz="quarter" idx="39"/>
          </p:nvPr>
        </p:nvSpPr>
        <p:spPr>
          <a:xfrm>
            <a:off x="6696074" y="1736725"/>
            <a:ext cx="1908176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3" name="Inhaltsplatzhalter 2"/>
          <p:cNvSpPr>
            <a:spLocks noGrp="1"/>
          </p:cNvSpPr>
          <p:nvPr>
            <p:ph idx="40" hasCustomPrompt="1"/>
          </p:nvPr>
        </p:nvSpPr>
        <p:spPr>
          <a:xfrm>
            <a:off x="538727" y="4329113"/>
            <a:ext cx="1909198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4" name="Bildplatzhalter 13"/>
          <p:cNvSpPr>
            <a:spLocks noGrp="1"/>
          </p:cNvSpPr>
          <p:nvPr>
            <p:ph type="pic" sz="quarter" idx="41"/>
          </p:nvPr>
        </p:nvSpPr>
        <p:spPr>
          <a:xfrm>
            <a:off x="538727" y="3249613"/>
            <a:ext cx="1909198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5" name="Inhaltsplatzhalter 2"/>
          <p:cNvSpPr>
            <a:spLocks noGrp="1"/>
          </p:cNvSpPr>
          <p:nvPr>
            <p:ph idx="42" hasCustomPrompt="1"/>
          </p:nvPr>
        </p:nvSpPr>
        <p:spPr>
          <a:xfrm>
            <a:off x="2592387" y="4329113"/>
            <a:ext cx="1908175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6" name="Inhaltsplatzhalter 2"/>
          <p:cNvSpPr>
            <a:spLocks noGrp="1"/>
          </p:cNvSpPr>
          <p:nvPr>
            <p:ph idx="43" hasCustomPrompt="1"/>
          </p:nvPr>
        </p:nvSpPr>
        <p:spPr>
          <a:xfrm>
            <a:off x="4643438" y="4329114"/>
            <a:ext cx="1908174" cy="360362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7" name="Inhaltsplatzhalter 2"/>
          <p:cNvSpPr>
            <a:spLocks noGrp="1"/>
          </p:cNvSpPr>
          <p:nvPr>
            <p:ph idx="44" hasCustomPrompt="1"/>
          </p:nvPr>
        </p:nvSpPr>
        <p:spPr>
          <a:xfrm>
            <a:off x="6696074" y="4329113"/>
            <a:ext cx="1908175" cy="360361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48" name="Bildplatzhalter 13"/>
          <p:cNvSpPr>
            <a:spLocks noGrp="1"/>
          </p:cNvSpPr>
          <p:nvPr>
            <p:ph type="pic" sz="quarter" idx="45"/>
          </p:nvPr>
        </p:nvSpPr>
        <p:spPr>
          <a:xfrm>
            <a:off x="2592387" y="3249613"/>
            <a:ext cx="1908176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9" name="Bildplatzhalter 13"/>
          <p:cNvSpPr>
            <a:spLocks noGrp="1"/>
          </p:cNvSpPr>
          <p:nvPr>
            <p:ph type="pic" sz="quarter" idx="46"/>
          </p:nvPr>
        </p:nvSpPr>
        <p:spPr>
          <a:xfrm>
            <a:off x="4643438" y="3249613"/>
            <a:ext cx="1908175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0" name="Bildplatzhalter 13"/>
          <p:cNvSpPr>
            <a:spLocks noGrp="1"/>
          </p:cNvSpPr>
          <p:nvPr>
            <p:ph type="pic" sz="quarter" idx="47"/>
          </p:nvPr>
        </p:nvSpPr>
        <p:spPr>
          <a:xfrm>
            <a:off x="6695950" y="3249613"/>
            <a:ext cx="1908299" cy="1079500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1" name="Inhaltsplatzhalter 2"/>
          <p:cNvSpPr>
            <a:spLocks noGrp="1"/>
          </p:cNvSpPr>
          <p:nvPr>
            <p:ph idx="48" hasCustomPrompt="1"/>
          </p:nvPr>
        </p:nvSpPr>
        <p:spPr>
          <a:xfrm>
            <a:off x="539749" y="5842000"/>
            <a:ext cx="1908175" cy="358775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2" name="Bildplatzhalter 13"/>
          <p:cNvSpPr>
            <a:spLocks noGrp="1"/>
          </p:cNvSpPr>
          <p:nvPr>
            <p:ph type="pic" sz="quarter" idx="49"/>
          </p:nvPr>
        </p:nvSpPr>
        <p:spPr>
          <a:xfrm>
            <a:off x="538727" y="4760913"/>
            <a:ext cx="1909198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3" name="Inhaltsplatzhalter 2"/>
          <p:cNvSpPr>
            <a:spLocks noGrp="1"/>
          </p:cNvSpPr>
          <p:nvPr>
            <p:ph idx="50" hasCustomPrompt="1"/>
          </p:nvPr>
        </p:nvSpPr>
        <p:spPr>
          <a:xfrm>
            <a:off x="2592388" y="5842001"/>
            <a:ext cx="1908174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4" name="Inhaltsplatzhalter 2"/>
          <p:cNvSpPr>
            <a:spLocks noGrp="1"/>
          </p:cNvSpPr>
          <p:nvPr>
            <p:ph idx="51" hasCustomPrompt="1"/>
          </p:nvPr>
        </p:nvSpPr>
        <p:spPr>
          <a:xfrm>
            <a:off x="4643437" y="5842001"/>
            <a:ext cx="1908175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5" name="Inhaltsplatzhalter 2"/>
          <p:cNvSpPr>
            <a:spLocks noGrp="1"/>
          </p:cNvSpPr>
          <p:nvPr>
            <p:ph idx="52" hasCustomPrompt="1"/>
          </p:nvPr>
        </p:nvSpPr>
        <p:spPr>
          <a:xfrm>
            <a:off x="6696074" y="5842000"/>
            <a:ext cx="1908175" cy="358774"/>
          </a:xfrm>
        </p:spPr>
        <p:txBody>
          <a:bodyPr tIns="43200"/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b="1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b="1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b="1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CH" noProof="0" dirty="0"/>
              <a:t>Textmasterformat bearbeiten</a:t>
            </a:r>
          </a:p>
        </p:txBody>
      </p:sp>
      <p:sp>
        <p:nvSpPr>
          <p:cNvPr id="56" name="Bildplatzhalter 13"/>
          <p:cNvSpPr>
            <a:spLocks noGrp="1"/>
          </p:cNvSpPr>
          <p:nvPr>
            <p:ph type="pic" sz="quarter" idx="53"/>
          </p:nvPr>
        </p:nvSpPr>
        <p:spPr>
          <a:xfrm>
            <a:off x="2592387" y="4760913"/>
            <a:ext cx="1908175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7" name="Bildplatzhalter 13"/>
          <p:cNvSpPr>
            <a:spLocks noGrp="1"/>
          </p:cNvSpPr>
          <p:nvPr>
            <p:ph type="pic" sz="quarter" idx="54"/>
          </p:nvPr>
        </p:nvSpPr>
        <p:spPr>
          <a:xfrm>
            <a:off x="4643438" y="4760913"/>
            <a:ext cx="1908175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58" name="Bildplatzhalter 13"/>
          <p:cNvSpPr>
            <a:spLocks noGrp="1"/>
          </p:cNvSpPr>
          <p:nvPr>
            <p:ph type="pic" sz="quarter" idx="55"/>
          </p:nvPr>
        </p:nvSpPr>
        <p:spPr>
          <a:xfrm>
            <a:off x="6696075" y="4760913"/>
            <a:ext cx="1908174" cy="1081087"/>
          </a:xfrm>
          <a:prstGeom prst="rect">
            <a:avLst/>
          </a:prstGeom>
        </p:spPr>
        <p:txBody>
          <a:bodyPr tIns="180000"/>
          <a:lstStyle>
            <a:lvl1pPr marL="0" indent="0" algn="ctr">
              <a:buNone/>
              <a:defRPr sz="700"/>
            </a:lvl1pPr>
          </a:lstStyle>
          <a:p>
            <a:endParaRPr lang="de-CH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40000" y="404814"/>
            <a:ext cx="8059540" cy="395286"/>
          </a:xfrm>
        </p:spPr>
        <p:txBody>
          <a:bodyPr/>
          <a:lstStyle>
            <a:lvl1pPr>
              <a:defRPr/>
            </a:lvl1pPr>
          </a:lstStyle>
          <a:p>
            <a:r>
              <a:rPr lang="de-CH" noProof="0" dirty="0"/>
              <a:t>Titel durch Klicken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74103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999" y="430214"/>
            <a:ext cx="8064251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665288"/>
            <a:ext cx="8064500" cy="4404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42925" y="6610821"/>
            <a:ext cx="6120000" cy="1439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E864D508-2976-42EB-80D4-95D99DF51E08}" type="slidenum">
              <a:rPr lang="de-CH" noProof="0" smtClean="0"/>
              <a:pPr/>
              <a:t>‹#›</a:t>
            </a:fld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647070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742" r:id="rId5"/>
    <p:sldLayoutId id="2147483744" r:id="rId6"/>
    <p:sldLayoutId id="2147483748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3363" indent="-2333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547EBF"/>
          </p15:clr>
        </p15:guide>
        <p15:guide id="2" pos="5420" userDrawn="1">
          <p15:clr>
            <a:srgbClr val="547EBF"/>
          </p15:clr>
        </p15:guide>
        <p15:guide id="3" orient="horz" pos="323" userDrawn="1">
          <p15:clr>
            <a:srgbClr val="547EBF"/>
          </p15:clr>
        </p15:guide>
        <p15:guide id="4" orient="horz" pos="1094" userDrawn="1">
          <p15:clr>
            <a:srgbClr val="547EBF"/>
          </p15:clr>
        </p15:guide>
        <p15:guide id="5" orient="horz" pos="3952" userDrawn="1">
          <p15:clr>
            <a:srgbClr val="547EB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404813"/>
            <a:ext cx="8059540" cy="117018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665288"/>
            <a:ext cx="8064698" cy="4608511"/>
          </a:xfrm>
          <a:prstGeom prst="rect">
            <a:avLst/>
          </a:prstGeom>
        </p:spPr>
        <p:txBody>
          <a:bodyPr vert="horz" lIns="0" tIns="1080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lvl1pPr algn="l">
              <a:defRPr sz="750" b="1">
                <a:solidFill>
                  <a:schemeClr val="tx2"/>
                </a:solidFill>
              </a:defRPr>
            </a:lvl1pPr>
          </a:lstStyle>
          <a:p>
            <a:r>
              <a:rPr lang="de-CH"/>
              <a:t>Title | Name | © Stadler | xx.xx.2023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19540" y="6607132"/>
            <a:ext cx="1084710" cy="1349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E864D508-2976-42EB-80D4-95D99DF51E08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01171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88" r:id="rId4"/>
    <p:sldLayoutId id="2147483662" r:id="rId5"/>
    <p:sldLayoutId id="2147483676" r:id="rId6"/>
    <p:sldLayoutId id="2147483666" r:id="rId7"/>
    <p:sldLayoutId id="2147483667" r:id="rId8"/>
    <p:sldLayoutId id="2147483668" r:id="rId9"/>
    <p:sldLayoutId id="2147483675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89" r:id="rId17"/>
    <p:sldLayoutId id="2147483750" r:id="rId18"/>
    <p:sldLayoutId id="2147483751" r:id="rId19"/>
    <p:sldLayoutId id="2147483752" r:id="rId20"/>
    <p:sldLayoutId id="2147483753" r:id="rId21"/>
    <p:sldLayoutId id="2147483754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547EBF"/>
          </p15:clr>
        </p15:guide>
        <p15:guide id="2" pos="5420" userDrawn="1">
          <p15:clr>
            <a:srgbClr val="547EBF"/>
          </p15:clr>
        </p15:guide>
        <p15:guide id="3" orient="horz" pos="1094" userDrawn="1">
          <p15:clr>
            <a:srgbClr val="547EBF"/>
          </p15:clr>
        </p15:guide>
        <p15:guide id="4" orient="horz" pos="3952" userDrawn="1">
          <p15:clr>
            <a:srgbClr val="547EBF"/>
          </p15:clr>
        </p15:guide>
        <p15:guide id="5" orient="horz" pos="1139" userDrawn="1">
          <p15:clr>
            <a:srgbClr val="FBAE40"/>
          </p15:clr>
        </p15:guide>
        <p15:guide id="6" orient="horz" pos="1185" userDrawn="1">
          <p15:clr>
            <a:srgbClr val="FBAE40"/>
          </p15:clr>
        </p15:guide>
        <p15:guide id="7" orient="horz" pos="1230" userDrawn="1">
          <p15:clr>
            <a:srgbClr val="FBAE40"/>
          </p15:clr>
        </p15:guide>
        <p15:guide id="8" orient="horz" pos="1275" userDrawn="1">
          <p15:clr>
            <a:srgbClr val="FBAE40"/>
          </p15:clr>
        </p15:guide>
        <p15:guide id="9" orient="horz" pos="1321" userDrawn="1">
          <p15:clr>
            <a:srgbClr val="FBAE40"/>
          </p15:clr>
        </p15:guide>
        <p15:guide id="10" orient="horz" pos="1366" userDrawn="1">
          <p15:clr>
            <a:srgbClr val="FBAE40"/>
          </p15:clr>
        </p15:guide>
        <p15:guide id="11" orient="horz" pos="1412" userDrawn="1">
          <p15:clr>
            <a:srgbClr val="FBAE40"/>
          </p15:clr>
        </p15:guide>
        <p15:guide id="12" orient="horz" pos="1457" userDrawn="1">
          <p15:clr>
            <a:srgbClr val="FBAE40"/>
          </p15:clr>
        </p15:guide>
        <p15:guide id="13" orient="horz" pos="1502" userDrawn="1">
          <p15:clr>
            <a:srgbClr val="FBAE40"/>
          </p15:clr>
        </p15:guide>
        <p15:guide id="14" orient="horz" pos="1548" userDrawn="1">
          <p15:clr>
            <a:srgbClr val="FBAE40"/>
          </p15:clr>
        </p15:guide>
        <p15:guide id="15" orient="horz" pos="1593" userDrawn="1">
          <p15:clr>
            <a:srgbClr val="FBAE40"/>
          </p15:clr>
        </p15:guide>
        <p15:guide id="16" orient="horz" pos="1638" userDrawn="1">
          <p15:clr>
            <a:srgbClr val="FBAE40"/>
          </p15:clr>
        </p15:guide>
        <p15:guide id="17" orient="horz" pos="1684" userDrawn="1">
          <p15:clr>
            <a:srgbClr val="FBAE40"/>
          </p15:clr>
        </p15:guide>
        <p15:guide id="18" orient="horz" pos="1729" userDrawn="1">
          <p15:clr>
            <a:srgbClr val="FBAE40"/>
          </p15:clr>
        </p15:guide>
        <p15:guide id="19" orient="horz" pos="1774" userDrawn="1">
          <p15:clr>
            <a:srgbClr val="FBAE40"/>
          </p15:clr>
        </p15:guide>
        <p15:guide id="20" orient="horz" pos="1820" userDrawn="1">
          <p15:clr>
            <a:srgbClr val="FBAE40"/>
          </p15:clr>
        </p15:guide>
        <p15:guide id="21" orient="horz" pos="1865" userDrawn="1">
          <p15:clr>
            <a:srgbClr val="FBAE40"/>
          </p15:clr>
        </p15:guide>
        <p15:guide id="22" orient="horz" pos="1911" userDrawn="1">
          <p15:clr>
            <a:srgbClr val="FBAE40"/>
          </p15:clr>
        </p15:guide>
        <p15:guide id="23" orient="horz" pos="1956" userDrawn="1">
          <p15:clr>
            <a:srgbClr val="FBAE40"/>
          </p15:clr>
        </p15:guide>
        <p15:guide id="24" orient="horz" pos="2001" userDrawn="1">
          <p15:clr>
            <a:srgbClr val="FBAE40"/>
          </p15:clr>
        </p15:guide>
        <p15:guide id="25" orient="horz" pos="2047" userDrawn="1">
          <p15:clr>
            <a:srgbClr val="FBAE40"/>
          </p15:clr>
        </p15:guide>
        <p15:guide id="26" orient="horz" pos="2092" userDrawn="1">
          <p15:clr>
            <a:srgbClr val="FBAE40"/>
          </p15:clr>
        </p15:guide>
        <p15:guide id="27" orient="horz" pos="2137" userDrawn="1">
          <p15:clr>
            <a:srgbClr val="FBAE40"/>
          </p15:clr>
        </p15:guide>
        <p15:guide id="28" orient="horz" pos="2183" userDrawn="1">
          <p15:clr>
            <a:srgbClr val="FBAE40"/>
          </p15:clr>
        </p15:guide>
        <p15:guide id="29" orient="horz" pos="2228" userDrawn="1">
          <p15:clr>
            <a:srgbClr val="FBAE40"/>
          </p15:clr>
        </p15:guide>
        <p15:guide id="30" orient="horz" pos="2273" userDrawn="1">
          <p15:clr>
            <a:srgbClr val="FBAE40"/>
          </p15:clr>
        </p15:guide>
        <p15:guide id="31" orient="horz" pos="2319" userDrawn="1">
          <p15:clr>
            <a:srgbClr val="FBAE40"/>
          </p15:clr>
        </p15:guide>
        <p15:guide id="32" orient="horz" pos="2364" userDrawn="1">
          <p15:clr>
            <a:srgbClr val="FBAE40"/>
          </p15:clr>
        </p15:guide>
        <p15:guide id="33" orient="horz" pos="2409" userDrawn="1">
          <p15:clr>
            <a:srgbClr val="FBAE40"/>
          </p15:clr>
        </p15:guide>
        <p15:guide id="34" orient="horz" pos="2455" userDrawn="1">
          <p15:clr>
            <a:srgbClr val="FBAE40"/>
          </p15:clr>
        </p15:guide>
        <p15:guide id="35" orient="horz" pos="2500" userDrawn="1">
          <p15:clr>
            <a:srgbClr val="FBAE40"/>
          </p15:clr>
        </p15:guide>
        <p15:guide id="36" orient="horz" pos="2546" userDrawn="1">
          <p15:clr>
            <a:srgbClr val="FBAE40"/>
          </p15:clr>
        </p15:guide>
        <p15:guide id="37" orient="horz" pos="2591" userDrawn="1">
          <p15:clr>
            <a:srgbClr val="FBAE40"/>
          </p15:clr>
        </p15:guide>
        <p15:guide id="38" orient="horz" pos="2636" userDrawn="1">
          <p15:clr>
            <a:srgbClr val="FBAE40"/>
          </p15:clr>
        </p15:guide>
        <p15:guide id="39" orient="horz" pos="2682" userDrawn="1">
          <p15:clr>
            <a:srgbClr val="FBAE40"/>
          </p15:clr>
        </p15:guide>
        <p15:guide id="40" orient="horz" pos="2727" userDrawn="1">
          <p15:clr>
            <a:srgbClr val="FBAE40"/>
          </p15:clr>
        </p15:guide>
        <p15:guide id="41" orient="horz" pos="2772" userDrawn="1">
          <p15:clr>
            <a:srgbClr val="FBAE40"/>
          </p15:clr>
        </p15:guide>
        <p15:guide id="42" orient="horz" pos="2818" userDrawn="1">
          <p15:clr>
            <a:srgbClr val="FBAE40"/>
          </p15:clr>
        </p15:guide>
        <p15:guide id="43" orient="horz" pos="2863" userDrawn="1">
          <p15:clr>
            <a:srgbClr val="FBAE40"/>
          </p15:clr>
        </p15:guide>
        <p15:guide id="44" orient="horz" pos="2908" userDrawn="1">
          <p15:clr>
            <a:srgbClr val="FBAE40"/>
          </p15:clr>
        </p15:guide>
        <p15:guide id="45" orient="horz" pos="2954" userDrawn="1">
          <p15:clr>
            <a:srgbClr val="FBAE40"/>
          </p15:clr>
        </p15:guide>
        <p15:guide id="46" orient="horz" pos="2999" userDrawn="1">
          <p15:clr>
            <a:srgbClr val="FBAE40"/>
          </p15:clr>
        </p15:guide>
        <p15:guide id="47" orient="horz" pos="3045" userDrawn="1">
          <p15:clr>
            <a:srgbClr val="FBAE40"/>
          </p15:clr>
        </p15:guide>
        <p15:guide id="48" orient="horz" pos="3090" userDrawn="1">
          <p15:clr>
            <a:srgbClr val="FBAE40"/>
          </p15:clr>
        </p15:guide>
        <p15:guide id="49" orient="horz" pos="3135" userDrawn="1">
          <p15:clr>
            <a:srgbClr val="FBAE40"/>
          </p15:clr>
        </p15:guide>
        <p15:guide id="50" orient="horz" pos="3181" userDrawn="1">
          <p15:clr>
            <a:srgbClr val="FBAE40"/>
          </p15:clr>
        </p15:guide>
        <p15:guide id="51" orient="horz" pos="3226" userDrawn="1">
          <p15:clr>
            <a:srgbClr val="FBAE40"/>
          </p15:clr>
        </p15:guide>
        <p15:guide id="52" orient="horz" pos="3271" userDrawn="1">
          <p15:clr>
            <a:srgbClr val="FBAE40"/>
          </p15:clr>
        </p15:guide>
        <p15:guide id="53" orient="horz" pos="3317" userDrawn="1">
          <p15:clr>
            <a:srgbClr val="FBAE40"/>
          </p15:clr>
        </p15:guide>
        <p15:guide id="54" orient="horz" pos="3362" userDrawn="1">
          <p15:clr>
            <a:srgbClr val="FBAE40"/>
          </p15:clr>
        </p15:guide>
        <p15:guide id="55" orient="horz" pos="3407" userDrawn="1">
          <p15:clr>
            <a:srgbClr val="FBAE40"/>
          </p15:clr>
        </p15:guide>
        <p15:guide id="56" orient="horz" pos="3453" userDrawn="1">
          <p15:clr>
            <a:srgbClr val="FBAE40"/>
          </p15:clr>
        </p15:guide>
        <p15:guide id="57" orient="horz" pos="3498" userDrawn="1">
          <p15:clr>
            <a:srgbClr val="FBAE40"/>
          </p15:clr>
        </p15:guide>
        <p15:guide id="58" orient="horz" pos="3543" userDrawn="1">
          <p15:clr>
            <a:srgbClr val="FBAE40"/>
          </p15:clr>
        </p15:guide>
        <p15:guide id="59" orient="horz" pos="3589" userDrawn="1">
          <p15:clr>
            <a:srgbClr val="FBAE40"/>
          </p15:clr>
        </p15:guide>
        <p15:guide id="60" orient="horz" pos="3634" userDrawn="1">
          <p15:clr>
            <a:srgbClr val="FBAE40"/>
          </p15:clr>
        </p15:guide>
        <p15:guide id="61" orient="horz" pos="3680" userDrawn="1">
          <p15:clr>
            <a:srgbClr val="FBAE40"/>
          </p15:clr>
        </p15:guide>
        <p15:guide id="62" orient="horz" pos="3725" userDrawn="1">
          <p15:clr>
            <a:srgbClr val="FBAE40"/>
          </p15:clr>
        </p15:guide>
        <p15:guide id="63" orient="horz" pos="3770" userDrawn="1">
          <p15:clr>
            <a:srgbClr val="FBAE40"/>
          </p15:clr>
        </p15:guide>
        <p15:guide id="64" orient="horz" pos="3816" userDrawn="1">
          <p15:clr>
            <a:srgbClr val="FBAE40"/>
          </p15:clr>
        </p15:guide>
        <p15:guide id="65" orient="horz" pos="3861" userDrawn="1">
          <p15:clr>
            <a:srgbClr val="FBAE40"/>
          </p15:clr>
        </p15:guide>
        <p15:guide id="66" orient="horz" pos="3906" userDrawn="1">
          <p15:clr>
            <a:srgbClr val="FBAE40"/>
          </p15:clr>
        </p15:guide>
        <p15:guide id="67" pos="680" userDrawn="1">
          <p15:clr>
            <a:srgbClr val="FBAE40"/>
          </p15:clr>
        </p15:guide>
        <p15:guide id="68" pos="771" userDrawn="1">
          <p15:clr>
            <a:srgbClr val="FBAE40"/>
          </p15:clr>
        </p15:guide>
        <p15:guide id="69" pos="1111" userDrawn="1">
          <p15:clr>
            <a:srgbClr val="FBAE40"/>
          </p15:clr>
        </p15:guide>
        <p15:guide id="70" pos="1202" userDrawn="1">
          <p15:clr>
            <a:srgbClr val="FBAE40"/>
          </p15:clr>
        </p15:guide>
        <p15:guide id="71" pos="1542" userDrawn="1">
          <p15:clr>
            <a:srgbClr val="FBAE40"/>
          </p15:clr>
        </p15:guide>
        <p15:guide id="72" pos="1633" userDrawn="1">
          <p15:clr>
            <a:srgbClr val="FBAE40"/>
          </p15:clr>
        </p15:guide>
        <p15:guide id="73" pos="1973" userDrawn="1">
          <p15:clr>
            <a:srgbClr val="FBAE40"/>
          </p15:clr>
        </p15:guide>
        <p15:guide id="74" pos="2064" userDrawn="1">
          <p15:clr>
            <a:srgbClr val="FBAE40"/>
          </p15:clr>
        </p15:guide>
        <p15:guide id="75" pos="2404" userDrawn="1">
          <p15:clr>
            <a:srgbClr val="FBAE40"/>
          </p15:clr>
        </p15:guide>
        <p15:guide id="76" pos="2494" userDrawn="1">
          <p15:clr>
            <a:srgbClr val="FBAE40"/>
          </p15:clr>
        </p15:guide>
        <p15:guide id="77" pos="2835" userDrawn="1">
          <p15:clr>
            <a:srgbClr val="FBAE40"/>
          </p15:clr>
        </p15:guide>
        <p15:guide id="78" pos="2925" userDrawn="1">
          <p15:clr>
            <a:srgbClr val="FBAE40"/>
          </p15:clr>
        </p15:guide>
        <p15:guide id="79" pos="3266" userDrawn="1">
          <p15:clr>
            <a:srgbClr val="FBAE40"/>
          </p15:clr>
        </p15:guide>
        <p15:guide id="80" pos="3356" userDrawn="1">
          <p15:clr>
            <a:srgbClr val="FBAE40"/>
          </p15:clr>
        </p15:guide>
        <p15:guide id="81" pos="3696" userDrawn="1">
          <p15:clr>
            <a:srgbClr val="FBAE40"/>
          </p15:clr>
        </p15:guide>
        <p15:guide id="82" pos="3787" userDrawn="1">
          <p15:clr>
            <a:srgbClr val="FBAE40"/>
          </p15:clr>
        </p15:guide>
        <p15:guide id="83" pos="4127" userDrawn="1">
          <p15:clr>
            <a:srgbClr val="FBAE40"/>
          </p15:clr>
        </p15:guide>
        <p15:guide id="84" pos="4218" userDrawn="1">
          <p15:clr>
            <a:srgbClr val="FBAE40"/>
          </p15:clr>
        </p15:guide>
        <p15:guide id="85" pos="4558" userDrawn="1">
          <p15:clr>
            <a:srgbClr val="FBAE40"/>
          </p15:clr>
        </p15:guide>
        <p15:guide id="86" pos="4649" userDrawn="1">
          <p15:clr>
            <a:srgbClr val="FBAE40"/>
          </p15:clr>
        </p15:guide>
        <p15:guide id="87" pos="4989" userDrawn="1">
          <p15:clr>
            <a:srgbClr val="FBAE40"/>
          </p15:clr>
        </p15:guide>
        <p15:guide id="88" pos="5080" userDrawn="1">
          <p15:clr>
            <a:srgbClr val="FBAE40"/>
          </p15:clr>
        </p15:guide>
        <p15:guide id="89" orient="horz" pos="323" userDrawn="1">
          <p15:clr>
            <a:srgbClr val="547EBF"/>
          </p15:clr>
        </p15:guide>
        <p15:guide id="90" orient="horz" pos="255" userDrawn="1">
          <p15:clr>
            <a:srgbClr val="9FCC3B"/>
          </p15:clr>
        </p15:guide>
        <p15:guide id="91" orient="horz" pos="1049" userDrawn="1">
          <p15:clr>
            <a:srgbClr val="9FCC3B"/>
          </p15:clr>
        </p15:guide>
        <p15:guide id="92" orient="horz" pos="504" userDrawn="1">
          <p15:clr>
            <a:srgbClr val="9FCC3B"/>
          </p15:clr>
        </p15:guide>
        <p15:guide id="94" orient="horz" pos="4247" userDrawn="1">
          <p15:clr>
            <a:srgbClr val="9FCC3B"/>
          </p15:clr>
        </p15:guide>
        <p15:guide id="95" orient="horz" pos="4224" userDrawn="1">
          <p15:clr>
            <a:srgbClr val="547EBF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750" y="274638"/>
            <a:ext cx="8064500" cy="1143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CH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640851"/>
            <a:ext cx="8064698" cy="44253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lvl1pPr algn="l">
              <a:defRPr sz="750" b="1">
                <a:solidFill>
                  <a:schemeClr val="tx2"/>
                </a:solidFill>
              </a:defRPr>
            </a:lvl1pPr>
          </a:lstStyle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19540" y="6607132"/>
            <a:ext cx="1084710" cy="1349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978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404813"/>
            <a:ext cx="8059540" cy="117018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r>
              <a:rPr lang="de-CH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665288"/>
            <a:ext cx="8064698" cy="4608511"/>
          </a:xfrm>
          <a:prstGeom prst="rect">
            <a:avLst/>
          </a:prstGeom>
        </p:spPr>
        <p:txBody>
          <a:bodyPr vert="horz" lIns="0" tIns="10800" rIns="0" bIns="0" rtlCol="0">
            <a:noAutofit/>
          </a:bodyPr>
          <a:lstStyle/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lvl1pPr algn="l">
              <a:defRPr sz="750" b="1">
                <a:solidFill>
                  <a:schemeClr val="tx2"/>
                </a:solidFill>
              </a:defRPr>
            </a:lvl1pPr>
          </a:lstStyle>
          <a:p>
            <a:r>
              <a:rPr lang="de-CH">
                <a:solidFill>
                  <a:srgbClr val="1E5A9A"/>
                </a:solidFill>
              </a:rPr>
              <a:t>Title | Name | © Stadler | xx.xx.2023</a:t>
            </a:r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19540" y="6607132"/>
            <a:ext cx="1084710" cy="1349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‹#›</a:t>
            </a:fld>
            <a:endParaRPr lang="de-CH" dirty="0">
              <a:solidFill>
                <a:srgbClr val="1E5A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65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950" indent="-2349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547EBF"/>
          </p15:clr>
        </p15:guide>
        <p15:guide id="2" pos="5420" userDrawn="1">
          <p15:clr>
            <a:srgbClr val="547EBF"/>
          </p15:clr>
        </p15:guide>
        <p15:guide id="3" orient="horz" pos="1094" userDrawn="1">
          <p15:clr>
            <a:srgbClr val="547EBF"/>
          </p15:clr>
        </p15:guide>
        <p15:guide id="4" orient="horz" pos="3952" userDrawn="1">
          <p15:clr>
            <a:srgbClr val="547EBF"/>
          </p15:clr>
        </p15:guide>
        <p15:guide id="5" orient="horz" pos="1139" userDrawn="1">
          <p15:clr>
            <a:srgbClr val="FBAE40"/>
          </p15:clr>
        </p15:guide>
        <p15:guide id="6" orient="horz" pos="1185" userDrawn="1">
          <p15:clr>
            <a:srgbClr val="FBAE40"/>
          </p15:clr>
        </p15:guide>
        <p15:guide id="7" orient="horz" pos="1230" userDrawn="1">
          <p15:clr>
            <a:srgbClr val="FBAE40"/>
          </p15:clr>
        </p15:guide>
        <p15:guide id="8" orient="horz" pos="1275" userDrawn="1">
          <p15:clr>
            <a:srgbClr val="FBAE40"/>
          </p15:clr>
        </p15:guide>
        <p15:guide id="9" orient="horz" pos="1321" userDrawn="1">
          <p15:clr>
            <a:srgbClr val="FBAE40"/>
          </p15:clr>
        </p15:guide>
        <p15:guide id="10" orient="horz" pos="1366" userDrawn="1">
          <p15:clr>
            <a:srgbClr val="FBAE40"/>
          </p15:clr>
        </p15:guide>
        <p15:guide id="11" orient="horz" pos="1412" userDrawn="1">
          <p15:clr>
            <a:srgbClr val="FBAE40"/>
          </p15:clr>
        </p15:guide>
        <p15:guide id="12" orient="horz" pos="1457" userDrawn="1">
          <p15:clr>
            <a:srgbClr val="FBAE40"/>
          </p15:clr>
        </p15:guide>
        <p15:guide id="13" orient="horz" pos="1502" userDrawn="1">
          <p15:clr>
            <a:srgbClr val="FBAE40"/>
          </p15:clr>
        </p15:guide>
        <p15:guide id="14" orient="horz" pos="1548" userDrawn="1">
          <p15:clr>
            <a:srgbClr val="FBAE40"/>
          </p15:clr>
        </p15:guide>
        <p15:guide id="15" orient="horz" pos="1593" userDrawn="1">
          <p15:clr>
            <a:srgbClr val="FBAE40"/>
          </p15:clr>
        </p15:guide>
        <p15:guide id="16" orient="horz" pos="1638" userDrawn="1">
          <p15:clr>
            <a:srgbClr val="FBAE40"/>
          </p15:clr>
        </p15:guide>
        <p15:guide id="17" orient="horz" pos="1684" userDrawn="1">
          <p15:clr>
            <a:srgbClr val="FBAE40"/>
          </p15:clr>
        </p15:guide>
        <p15:guide id="18" orient="horz" pos="1729" userDrawn="1">
          <p15:clr>
            <a:srgbClr val="FBAE40"/>
          </p15:clr>
        </p15:guide>
        <p15:guide id="19" orient="horz" pos="1774" userDrawn="1">
          <p15:clr>
            <a:srgbClr val="FBAE40"/>
          </p15:clr>
        </p15:guide>
        <p15:guide id="20" orient="horz" pos="1820" userDrawn="1">
          <p15:clr>
            <a:srgbClr val="FBAE40"/>
          </p15:clr>
        </p15:guide>
        <p15:guide id="21" orient="horz" pos="1865" userDrawn="1">
          <p15:clr>
            <a:srgbClr val="FBAE40"/>
          </p15:clr>
        </p15:guide>
        <p15:guide id="22" orient="horz" pos="1911" userDrawn="1">
          <p15:clr>
            <a:srgbClr val="FBAE40"/>
          </p15:clr>
        </p15:guide>
        <p15:guide id="23" orient="horz" pos="1956" userDrawn="1">
          <p15:clr>
            <a:srgbClr val="FBAE40"/>
          </p15:clr>
        </p15:guide>
        <p15:guide id="24" orient="horz" pos="2001" userDrawn="1">
          <p15:clr>
            <a:srgbClr val="FBAE40"/>
          </p15:clr>
        </p15:guide>
        <p15:guide id="25" orient="horz" pos="2047" userDrawn="1">
          <p15:clr>
            <a:srgbClr val="FBAE40"/>
          </p15:clr>
        </p15:guide>
        <p15:guide id="26" orient="horz" pos="2092" userDrawn="1">
          <p15:clr>
            <a:srgbClr val="FBAE40"/>
          </p15:clr>
        </p15:guide>
        <p15:guide id="27" orient="horz" pos="2137" userDrawn="1">
          <p15:clr>
            <a:srgbClr val="FBAE40"/>
          </p15:clr>
        </p15:guide>
        <p15:guide id="28" orient="horz" pos="2183" userDrawn="1">
          <p15:clr>
            <a:srgbClr val="FBAE40"/>
          </p15:clr>
        </p15:guide>
        <p15:guide id="29" orient="horz" pos="2228" userDrawn="1">
          <p15:clr>
            <a:srgbClr val="FBAE40"/>
          </p15:clr>
        </p15:guide>
        <p15:guide id="30" orient="horz" pos="2273" userDrawn="1">
          <p15:clr>
            <a:srgbClr val="FBAE40"/>
          </p15:clr>
        </p15:guide>
        <p15:guide id="31" orient="horz" pos="2319" userDrawn="1">
          <p15:clr>
            <a:srgbClr val="FBAE40"/>
          </p15:clr>
        </p15:guide>
        <p15:guide id="32" orient="horz" pos="2364" userDrawn="1">
          <p15:clr>
            <a:srgbClr val="FBAE40"/>
          </p15:clr>
        </p15:guide>
        <p15:guide id="33" orient="horz" pos="2409" userDrawn="1">
          <p15:clr>
            <a:srgbClr val="FBAE40"/>
          </p15:clr>
        </p15:guide>
        <p15:guide id="34" orient="horz" pos="2455" userDrawn="1">
          <p15:clr>
            <a:srgbClr val="FBAE40"/>
          </p15:clr>
        </p15:guide>
        <p15:guide id="35" orient="horz" pos="2500" userDrawn="1">
          <p15:clr>
            <a:srgbClr val="FBAE40"/>
          </p15:clr>
        </p15:guide>
        <p15:guide id="36" orient="horz" pos="2546" userDrawn="1">
          <p15:clr>
            <a:srgbClr val="FBAE40"/>
          </p15:clr>
        </p15:guide>
        <p15:guide id="37" orient="horz" pos="2591" userDrawn="1">
          <p15:clr>
            <a:srgbClr val="FBAE40"/>
          </p15:clr>
        </p15:guide>
        <p15:guide id="38" orient="horz" pos="2636" userDrawn="1">
          <p15:clr>
            <a:srgbClr val="FBAE40"/>
          </p15:clr>
        </p15:guide>
        <p15:guide id="39" orient="horz" pos="2682" userDrawn="1">
          <p15:clr>
            <a:srgbClr val="FBAE40"/>
          </p15:clr>
        </p15:guide>
        <p15:guide id="40" orient="horz" pos="2727" userDrawn="1">
          <p15:clr>
            <a:srgbClr val="FBAE40"/>
          </p15:clr>
        </p15:guide>
        <p15:guide id="41" orient="horz" pos="2772" userDrawn="1">
          <p15:clr>
            <a:srgbClr val="FBAE40"/>
          </p15:clr>
        </p15:guide>
        <p15:guide id="42" orient="horz" pos="2818" userDrawn="1">
          <p15:clr>
            <a:srgbClr val="FBAE40"/>
          </p15:clr>
        </p15:guide>
        <p15:guide id="43" orient="horz" pos="2863" userDrawn="1">
          <p15:clr>
            <a:srgbClr val="FBAE40"/>
          </p15:clr>
        </p15:guide>
        <p15:guide id="44" orient="horz" pos="2908" userDrawn="1">
          <p15:clr>
            <a:srgbClr val="FBAE40"/>
          </p15:clr>
        </p15:guide>
        <p15:guide id="45" orient="horz" pos="2954" userDrawn="1">
          <p15:clr>
            <a:srgbClr val="FBAE40"/>
          </p15:clr>
        </p15:guide>
        <p15:guide id="46" orient="horz" pos="2999" userDrawn="1">
          <p15:clr>
            <a:srgbClr val="FBAE40"/>
          </p15:clr>
        </p15:guide>
        <p15:guide id="47" orient="horz" pos="3045" userDrawn="1">
          <p15:clr>
            <a:srgbClr val="FBAE40"/>
          </p15:clr>
        </p15:guide>
        <p15:guide id="48" orient="horz" pos="3090" userDrawn="1">
          <p15:clr>
            <a:srgbClr val="FBAE40"/>
          </p15:clr>
        </p15:guide>
        <p15:guide id="49" orient="horz" pos="3135" userDrawn="1">
          <p15:clr>
            <a:srgbClr val="FBAE40"/>
          </p15:clr>
        </p15:guide>
        <p15:guide id="50" orient="horz" pos="3181" userDrawn="1">
          <p15:clr>
            <a:srgbClr val="FBAE40"/>
          </p15:clr>
        </p15:guide>
        <p15:guide id="51" orient="horz" pos="3226" userDrawn="1">
          <p15:clr>
            <a:srgbClr val="FBAE40"/>
          </p15:clr>
        </p15:guide>
        <p15:guide id="52" orient="horz" pos="3271" userDrawn="1">
          <p15:clr>
            <a:srgbClr val="FBAE40"/>
          </p15:clr>
        </p15:guide>
        <p15:guide id="53" orient="horz" pos="3317" userDrawn="1">
          <p15:clr>
            <a:srgbClr val="FBAE40"/>
          </p15:clr>
        </p15:guide>
        <p15:guide id="54" orient="horz" pos="3362" userDrawn="1">
          <p15:clr>
            <a:srgbClr val="FBAE40"/>
          </p15:clr>
        </p15:guide>
        <p15:guide id="55" orient="horz" pos="3407" userDrawn="1">
          <p15:clr>
            <a:srgbClr val="FBAE40"/>
          </p15:clr>
        </p15:guide>
        <p15:guide id="56" orient="horz" pos="3453" userDrawn="1">
          <p15:clr>
            <a:srgbClr val="FBAE40"/>
          </p15:clr>
        </p15:guide>
        <p15:guide id="57" orient="horz" pos="3498" userDrawn="1">
          <p15:clr>
            <a:srgbClr val="FBAE40"/>
          </p15:clr>
        </p15:guide>
        <p15:guide id="58" orient="horz" pos="3543" userDrawn="1">
          <p15:clr>
            <a:srgbClr val="FBAE40"/>
          </p15:clr>
        </p15:guide>
        <p15:guide id="59" orient="horz" pos="3589" userDrawn="1">
          <p15:clr>
            <a:srgbClr val="FBAE40"/>
          </p15:clr>
        </p15:guide>
        <p15:guide id="60" orient="horz" pos="3634" userDrawn="1">
          <p15:clr>
            <a:srgbClr val="FBAE40"/>
          </p15:clr>
        </p15:guide>
        <p15:guide id="61" orient="horz" pos="3680" userDrawn="1">
          <p15:clr>
            <a:srgbClr val="FBAE40"/>
          </p15:clr>
        </p15:guide>
        <p15:guide id="62" orient="horz" pos="3725" userDrawn="1">
          <p15:clr>
            <a:srgbClr val="FBAE40"/>
          </p15:clr>
        </p15:guide>
        <p15:guide id="63" orient="horz" pos="3770" userDrawn="1">
          <p15:clr>
            <a:srgbClr val="FBAE40"/>
          </p15:clr>
        </p15:guide>
        <p15:guide id="64" orient="horz" pos="3816" userDrawn="1">
          <p15:clr>
            <a:srgbClr val="FBAE40"/>
          </p15:clr>
        </p15:guide>
        <p15:guide id="65" orient="horz" pos="3861" userDrawn="1">
          <p15:clr>
            <a:srgbClr val="FBAE40"/>
          </p15:clr>
        </p15:guide>
        <p15:guide id="66" orient="horz" pos="3906" userDrawn="1">
          <p15:clr>
            <a:srgbClr val="FBAE40"/>
          </p15:clr>
        </p15:guide>
        <p15:guide id="67" pos="680" userDrawn="1">
          <p15:clr>
            <a:srgbClr val="FBAE40"/>
          </p15:clr>
        </p15:guide>
        <p15:guide id="68" pos="771" userDrawn="1">
          <p15:clr>
            <a:srgbClr val="FBAE40"/>
          </p15:clr>
        </p15:guide>
        <p15:guide id="69" pos="1111" userDrawn="1">
          <p15:clr>
            <a:srgbClr val="FBAE40"/>
          </p15:clr>
        </p15:guide>
        <p15:guide id="70" pos="1202" userDrawn="1">
          <p15:clr>
            <a:srgbClr val="FBAE40"/>
          </p15:clr>
        </p15:guide>
        <p15:guide id="71" pos="1542" userDrawn="1">
          <p15:clr>
            <a:srgbClr val="FBAE40"/>
          </p15:clr>
        </p15:guide>
        <p15:guide id="72" pos="1633" userDrawn="1">
          <p15:clr>
            <a:srgbClr val="FBAE40"/>
          </p15:clr>
        </p15:guide>
        <p15:guide id="73" pos="1973" userDrawn="1">
          <p15:clr>
            <a:srgbClr val="FBAE40"/>
          </p15:clr>
        </p15:guide>
        <p15:guide id="74" pos="2064" userDrawn="1">
          <p15:clr>
            <a:srgbClr val="FBAE40"/>
          </p15:clr>
        </p15:guide>
        <p15:guide id="75" pos="2404" userDrawn="1">
          <p15:clr>
            <a:srgbClr val="FBAE40"/>
          </p15:clr>
        </p15:guide>
        <p15:guide id="76" pos="2494" userDrawn="1">
          <p15:clr>
            <a:srgbClr val="FBAE40"/>
          </p15:clr>
        </p15:guide>
        <p15:guide id="77" pos="2835" userDrawn="1">
          <p15:clr>
            <a:srgbClr val="FBAE40"/>
          </p15:clr>
        </p15:guide>
        <p15:guide id="78" pos="2925" userDrawn="1">
          <p15:clr>
            <a:srgbClr val="FBAE40"/>
          </p15:clr>
        </p15:guide>
        <p15:guide id="79" pos="3266" userDrawn="1">
          <p15:clr>
            <a:srgbClr val="FBAE40"/>
          </p15:clr>
        </p15:guide>
        <p15:guide id="80" pos="3356" userDrawn="1">
          <p15:clr>
            <a:srgbClr val="FBAE40"/>
          </p15:clr>
        </p15:guide>
        <p15:guide id="81" pos="3696" userDrawn="1">
          <p15:clr>
            <a:srgbClr val="FBAE40"/>
          </p15:clr>
        </p15:guide>
        <p15:guide id="82" pos="3787" userDrawn="1">
          <p15:clr>
            <a:srgbClr val="FBAE40"/>
          </p15:clr>
        </p15:guide>
        <p15:guide id="83" pos="4127" userDrawn="1">
          <p15:clr>
            <a:srgbClr val="FBAE40"/>
          </p15:clr>
        </p15:guide>
        <p15:guide id="84" pos="4218" userDrawn="1">
          <p15:clr>
            <a:srgbClr val="FBAE40"/>
          </p15:clr>
        </p15:guide>
        <p15:guide id="85" pos="4558" userDrawn="1">
          <p15:clr>
            <a:srgbClr val="FBAE40"/>
          </p15:clr>
        </p15:guide>
        <p15:guide id="86" pos="4649" userDrawn="1">
          <p15:clr>
            <a:srgbClr val="FBAE40"/>
          </p15:clr>
        </p15:guide>
        <p15:guide id="87" pos="4989" userDrawn="1">
          <p15:clr>
            <a:srgbClr val="FBAE40"/>
          </p15:clr>
        </p15:guide>
        <p15:guide id="88" pos="5080" userDrawn="1">
          <p15:clr>
            <a:srgbClr val="FBAE40"/>
          </p15:clr>
        </p15:guide>
        <p15:guide id="89" orient="horz" pos="323" userDrawn="1">
          <p15:clr>
            <a:srgbClr val="547EBF"/>
          </p15:clr>
        </p15:guide>
        <p15:guide id="90" orient="horz" pos="255" userDrawn="1">
          <p15:clr>
            <a:srgbClr val="9FCC3B"/>
          </p15:clr>
        </p15:guide>
        <p15:guide id="91" orient="horz" pos="1049" userDrawn="1">
          <p15:clr>
            <a:srgbClr val="9FCC3B"/>
          </p15:clr>
        </p15:guide>
        <p15:guide id="92" orient="horz" pos="504" userDrawn="1">
          <p15:clr>
            <a:srgbClr val="9FCC3B"/>
          </p15:clr>
        </p15:guide>
        <p15:guide id="94" orient="horz" pos="4247" userDrawn="1">
          <p15:clr>
            <a:srgbClr val="9FCC3B"/>
          </p15:clr>
        </p15:guide>
        <p15:guide id="95" orient="horz" pos="4224" userDrawn="1">
          <p15:clr>
            <a:srgbClr val="547EB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999" y="430214"/>
            <a:ext cx="8064251" cy="11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50" y="1665288"/>
            <a:ext cx="8064500" cy="4404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42925" y="6610821"/>
            <a:ext cx="6120000" cy="1439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de-CH">
                <a:solidFill>
                  <a:srgbClr val="FFFFFF"/>
                </a:solidFill>
              </a:rPr>
              <a:t>Title | Name | © Stadler | xx.xx.2023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19540" y="6607132"/>
            <a:ext cx="10800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E864D508-2976-42EB-80D4-95D99DF51E0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85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3363" indent="-2333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547EBF"/>
          </p15:clr>
        </p15:guide>
        <p15:guide id="2" pos="5420">
          <p15:clr>
            <a:srgbClr val="547EBF"/>
          </p15:clr>
        </p15:guide>
        <p15:guide id="3" orient="horz" pos="323">
          <p15:clr>
            <a:srgbClr val="547EBF"/>
          </p15:clr>
        </p15:guide>
        <p15:guide id="4" orient="horz" pos="1094">
          <p15:clr>
            <a:srgbClr val="547EBF"/>
          </p15:clr>
        </p15:guide>
        <p15:guide id="5" orient="horz" pos="3952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82.jpeg"/><Relationship Id="rId7" Type="http://schemas.openxmlformats.org/officeDocument/2006/relationships/image" Target="../media/image86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5.jpeg"/><Relationship Id="rId11" Type="http://schemas.openxmlformats.org/officeDocument/2006/relationships/image" Target="../media/image90.jpg"/><Relationship Id="rId5" Type="http://schemas.openxmlformats.org/officeDocument/2006/relationships/image" Target="../media/image84.jpeg"/><Relationship Id="rId10" Type="http://schemas.openxmlformats.org/officeDocument/2006/relationships/image" Target="../media/image89.jpeg"/><Relationship Id="rId4" Type="http://schemas.openxmlformats.org/officeDocument/2006/relationships/image" Target="../media/image83.jpeg"/><Relationship Id="rId9" Type="http://schemas.openxmlformats.org/officeDocument/2006/relationships/image" Target="../media/image8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emf"/><Relationship Id="rId3" Type="http://schemas.openxmlformats.org/officeDocument/2006/relationships/image" Target="../media/image93.jpe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96.jpeg"/><Relationship Id="rId5" Type="http://schemas.openxmlformats.org/officeDocument/2006/relationships/image" Target="../media/image95.jpeg"/><Relationship Id="rId10" Type="http://schemas.openxmlformats.org/officeDocument/2006/relationships/image" Target="../media/image100.emf"/><Relationship Id="rId4" Type="http://schemas.openxmlformats.org/officeDocument/2006/relationships/image" Target="../media/image94.jpeg"/><Relationship Id="rId9" Type="http://schemas.openxmlformats.org/officeDocument/2006/relationships/image" Target="../media/image9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1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8.png"/><Relationship Id="rId3" Type="http://schemas.openxmlformats.org/officeDocument/2006/relationships/image" Target="../media/image118.jpg"/><Relationship Id="rId7" Type="http://schemas.openxmlformats.org/officeDocument/2006/relationships/image" Target="../media/image122.jpg"/><Relationship Id="rId12" Type="http://schemas.openxmlformats.org/officeDocument/2006/relationships/image" Target="../media/image127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1.jpg"/><Relationship Id="rId11" Type="http://schemas.openxmlformats.org/officeDocument/2006/relationships/image" Target="../media/image126.jpg"/><Relationship Id="rId5" Type="http://schemas.openxmlformats.org/officeDocument/2006/relationships/image" Target="../media/image120.jpg"/><Relationship Id="rId10" Type="http://schemas.openxmlformats.org/officeDocument/2006/relationships/image" Target="../media/image125.jpg"/><Relationship Id="rId4" Type="http://schemas.openxmlformats.org/officeDocument/2006/relationships/image" Target="../media/image119.jpg"/><Relationship Id="rId9" Type="http://schemas.openxmlformats.org/officeDocument/2006/relationships/image" Target="../media/image124.jp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4.png"/><Relationship Id="rId5" Type="http://schemas.openxmlformats.org/officeDocument/2006/relationships/image" Target="../media/image133.jpg"/><Relationship Id="rId4" Type="http://schemas.openxmlformats.org/officeDocument/2006/relationships/image" Target="../media/image132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7" Type="http://schemas.openxmlformats.org/officeDocument/2006/relationships/image" Target="../media/image145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4.png"/><Relationship Id="rId5" Type="http://schemas.openxmlformats.org/officeDocument/2006/relationships/image" Target="../media/image143.png"/><Relationship Id="rId4" Type="http://schemas.openxmlformats.org/officeDocument/2006/relationships/image" Target="../media/image14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svg"/><Relationship Id="rId13" Type="http://schemas.openxmlformats.org/officeDocument/2006/relationships/image" Target="../media/image15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6.png"/><Relationship Id="rId12" Type="http://schemas.openxmlformats.org/officeDocument/2006/relationships/image" Target="../media/image151.svg"/><Relationship Id="rId17" Type="http://schemas.openxmlformats.org/officeDocument/2006/relationships/image" Target="../media/image156.jpeg"/><Relationship Id="rId2" Type="http://schemas.openxmlformats.org/officeDocument/2006/relationships/tags" Target="../tags/tag7.xml"/><Relationship Id="rId16" Type="http://schemas.openxmlformats.org/officeDocument/2006/relationships/image" Target="../media/image155.svg"/><Relationship Id="rId1" Type="http://schemas.openxmlformats.org/officeDocument/2006/relationships/vmlDrawing" Target="../drawings/vmlDrawing6.vml"/><Relationship Id="rId6" Type="http://schemas.openxmlformats.org/officeDocument/2006/relationships/image" Target="../media/image44.emf"/><Relationship Id="rId11" Type="http://schemas.openxmlformats.org/officeDocument/2006/relationships/image" Target="../media/image150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54.png"/><Relationship Id="rId10" Type="http://schemas.openxmlformats.org/officeDocument/2006/relationships/image" Target="../media/image149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48.png"/><Relationship Id="rId14" Type="http://schemas.openxmlformats.org/officeDocument/2006/relationships/image" Target="../media/image153.sv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58.jp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jpeg"/><Relationship Id="rId11" Type="http://schemas.openxmlformats.org/officeDocument/2006/relationships/image" Target="../media/image34.jpeg"/><Relationship Id="rId5" Type="http://schemas.openxmlformats.org/officeDocument/2006/relationships/image" Target="../media/image28.png"/><Relationship Id="rId10" Type="http://schemas.openxmlformats.org/officeDocument/2006/relationships/image" Target="../media/image33.jpeg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13" Type="http://schemas.openxmlformats.org/officeDocument/2006/relationships/image" Target="../media/image40.jp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5.jpg"/><Relationship Id="rId12" Type="http://schemas.openxmlformats.org/officeDocument/2006/relationships/image" Target="../media/image39.jpg"/><Relationship Id="rId2" Type="http://schemas.openxmlformats.org/officeDocument/2006/relationships/tags" Target="../tags/tag4.xml"/><Relationship Id="rId16" Type="http://schemas.openxmlformats.org/officeDocument/2006/relationships/image" Target="../media/image43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4.jp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42.jpeg"/><Relationship Id="rId10" Type="http://schemas.openxmlformats.org/officeDocument/2006/relationships/image" Target="../media/image38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7.jpg"/><Relationship Id="rId14" Type="http://schemas.openxmlformats.org/officeDocument/2006/relationships/image" Target="../media/image41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jpg"/><Relationship Id="rId18" Type="http://schemas.openxmlformats.org/officeDocument/2006/relationships/image" Target="../media/image55.jpg"/><Relationship Id="rId26" Type="http://schemas.openxmlformats.org/officeDocument/2006/relationships/image" Target="../media/image63.jpg"/><Relationship Id="rId39" Type="http://schemas.openxmlformats.org/officeDocument/2006/relationships/image" Target="../media/image76.jpeg"/><Relationship Id="rId3" Type="http://schemas.openxmlformats.org/officeDocument/2006/relationships/tags" Target="../tags/tag6.xml"/><Relationship Id="rId21" Type="http://schemas.openxmlformats.org/officeDocument/2006/relationships/image" Target="../media/image58.jpg"/><Relationship Id="rId34" Type="http://schemas.openxmlformats.org/officeDocument/2006/relationships/image" Target="../media/image71.jpg"/><Relationship Id="rId7" Type="http://schemas.openxmlformats.org/officeDocument/2006/relationships/image" Target="../media/image44.emf"/><Relationship Id="rId12" Type="http://schemas.openxmlformats.org/officeDocument/2006/relationships/image" Target="../media/image49.jpeg"/><Relationship Id="rId17" Type="http://schemas.openxmlformats.org/officeDocument/2006/relationships/image" Target="../media/image54.jpg"/><Relationship Id="rId25" Type="http://schemas.openxmlformats.org/officeDocument/2006/relationships/image" Target="../media/image62.jpg"/><Relationship Id="rId33" Type="http://schemas.openxmlformats.org/officeDocument/2006/relationships/image" Target="../media/image70.jpeg"/><Relationship Id="rId38" Type="http://schemas.openxmlformats.org/officeDocument/2006/relationships/image" Target="../media/image75.png"/><Relationship Id="rId2" Type="http://schemas.openxmlformats.org/officeDocument/2006/relationships/tags" Target="../tags/tag5.xml"/><Relationship Id="rId16" Type="http://schemas.openxmlformats.org/officeDocument/2006/relationships/image" Target="../media/image53.jpg"/><Relationship Id="rId20" Type="http://schemas.openxmlformats.org/officeDocument/2006/relationships/image" Target="../media/image57.jpeg"/><Relationship Id="rId29" Type="http://schemas.openxmlformats.org/officeDocument/2006/relationships/image" Target="../media/image66.jpg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8.jpg"/><Relationship Id="rId24" Type="http://schemas.openxmlformats.org/officeDocument/2006/relationships/image" Target="../media/image61.jpg"/><Relationship Id="rId32" Type="http://schemas.openxmlformats.org/officeDocument/2006/relationships/image" Target="../media/image69.jpg"/><Relationship Id="rId37" Type="http://schemas.openxmlformats.org/officeDocument/2006/relationships/image" Target="../media/image74.jpg"/><Relationship Id="rId40" Type="http://schemas.openxmlformats.org/officeDocument/2006/relationships/image" Target="../media/image77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2.jpg"/><Relationship Id="rId23" Type="http://schemas.openxmlformats.org/officeDocument/2006/relationships/image" Target="../media/image60.jpg"/><Relationship Id="rId28" Type="http://schemas.openxmlformats.org/officeDocument/2006/relationships/image" Target="../media/image65.jpg"/><Relationship Id="rId36" Type="http://schemas.openxmlformats.org/officeDocument/2006/relationships/image" Target="../media/image73.jpg"/><Relationship Id="rId10" Type="http://schemas.openxmlformats.org/officeDocument/2006/relationships/image" Target="../media/image47.jpg"/><Relationship Id="rId19" Type="http://schemas.openxmlformats.org/officeDocument/2006/relationships/image" Target="../media/image56.jpg"/><Relationship Id="rId31" Type="http://schemas.openxmlformats.org/officeDocument/2006/relationships/image" Target="../media/image68.jp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6.jpg"/><Relationship Id="rId14" Type="http://schemas.openxmlformats.org/officeDocument/2006/relationships/image" Target="../media/image51.jpg"/><Relationship Id="rId22" Type="http://schemas.openxmlformats.org/officeDocument/2006/relationships/image" Target="../media/image59.jpg"/><Relationship Id="rId27" Type="http://schemas.openxmlformats.org/officeDocument/2006/relationships/image" Target="../media/image64.jpg"/><Relationship Id="rId30" Type="http://schemas.openxmlformats.org/officeDocument/2006/relationships/image" Target="../media/image67.jpg"/><Relationship Id="rId35" Type="http://schemas.openxmlformats.org/officeDocument/2006/relationships/image" Target="../media/image72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dirty="0"/>
              <a:t>Individuality in Rail Transport</a:t>
            </a:r>
            <a:endParaRPr lang="de-CH" dirty="0"/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539750" y="5382000"/>
            <a:ext cx="8064500" cy="396000"/>
          </a:xfrm>
        </p:spPr>
        <p:txBody>
          <a:bodyPr/>
          <a:lstStyle/>
          <a:p>
            <a:r>
              <a:rPr lang="en-GB" dirty="0"/>
              <a:t>Friends of the Far North Line</a:t>
            </a:r>
            <a:endParaRPr dirty="0"/>
          </a:p>
          <a:p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ames McCaffery</a:t>
            </a:r>
            <a:r>
              <a:rPr dirty="0"/>
              <a:t>, </a:t>
            </a:r>
            <a:r>
              <a:rPr lang="en-GB" dirty="0"/>
              <a:t>Helmsdale</a:t>
            </a:r>
            <a:r>
              <a:rPr dirty="0"/>
              <a:t>, </a:t>
            </a:r>
            <a:r>
              <a:rPr lang="en-GB" dirty="0"/>
              <a:t>23</a:t>
            </a:r>
            <a:r>
              <a:rPr dirty="0"/>
              <a:t>.</a:t>
            </a:r>
            <a:r>
              <a:rPr lang="en-GB" dirty="0"/>
              <a:t>06</a:t>
            </a:r>
            <a:r>
              <a:rPr dirty="0"/>
              <a:t>.202</a:t>
            </a:r>
            <a:r>
              <a:rPr lang="de-CH" dirty="0"/>
              <a:t>3</a:t>
            </a:r>
          </a:p>
        </p:txBody>
      </p:sp>
      <p:pic>
        <p:nvPicPr>
          <p:cNvPr id="7" name="Bildplatzhalter 5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5" t="6548" r="15954" b="10298"/>
          <a:stretch/>
        </p:blipFill>
        <p:spPr>
          <a:xfrm>
            <a:off x="-508" y="-27384"/>
            <a:ext cx="9145016" cy="4572508"/>
          </a:xfr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0533A0D-6BC6-4223-8D32-4933DE7B17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12260" y="-405384"/>
            <a:ext cx="2231186" cy="223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313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3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1" b="7571"/>
          <a:stretch>
            <a:fillRect/>
          </a:stretch>
        </p:blipFill>
        <p:spPr>
          <a:xfrm>
            <a:off x="4644044" y="4761148"/>
            <a:ext cx="1908176" cy="1079500"/>
          </a:xfrm>
        </p:spPr>
      </p:pic>
      <p:pic>
        <p:nvPicPr>
          <p:cNvPr id="36" name="Bildplatzhalter 35"/>
          <p:cNvPicPr>
            <a:picLocks noGrp="1" noChangeAspect="1"/>
          </p:cNvPicPr>
          <p:nvPr>
            <p:ph type="pic" sz="quarter" idx="4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5" b="7745"/>
          <a:stretch>
            <a:fillRect/>
          </a:stretch>
        </p:blipFill>
        <p:spPr>
          <a:xfrm>
            <a:off x="6696388" y="3248980"/>
            <a:ext cx="1908175" cy="1079500"/>
          </a:xfrm>
        </p:spPr>
      </p:pic>
      <p:pic>
        <p:nvPicPr>
          <p:cNvPr id="58" name="Bildplatzhalter 57"/>
          <p:cNvPicPr>
            <a:picLocks noGrp="1" noChangeAspect="1"/>
          </p:cNvPicPr>
          <p:nvPr>
            <p:ph type="pic" sz="quarter" idx="49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" r="394"/>
          <a:stretch>
            <a:fillRect/>
          </a:stretch>
        </p:blipFill>
        <p:spPr>
          <a:xfrm>
            <a:off x="4635813" y="3264855"/>
            <a:ext cx="1908175" cy="1081088"/>
          </a:xfrm>
        </p:spPr>
      </p:pic>
      <p:pic>
        <p:nvPicPr>
          <p:cNvPr id="56" name="Bildplatzhalter 55"/>
          <p:cNvPicPr>
            <a:picLocks noGrp="1" noChangeAspect="1"/>
          </p:cNvPicPr>
          <p:nvPr>
            <p:ph type="pic" sz="quarter" idx="3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96" b="12296"/>
          <a:stretch>
            <a:fillRect/>
          </a:stretch>
        </p:blipFill>
        <p:spPr/>
      </p:pic>
      <p:pic>
        <p:nvPicPr>
          <p:cNvPr id="20" name="Bildplatzhalter 19"/>
          <p:cNvPicPr>
            <a:picLocks noGrp="1" noChangeAspect="1"/>
          </p:cNvPicPr>
          <p:nvPr>
            <p:ph type="pic" sz="quarter" idx="3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85" b="12285"/>
          <a:stretch>
            <a:fillRect/>
          </a:stretch>
        </p:blipFill>
        <p:spPr>
          <a:xfrm>
            <a:off x="504156" y="3254375"/>
            <a:ext cx="1908175" cy="1079500"/>
          </a:xfrm>
        </p:spPr>
      </p:pic>
      <p:pic>
        <p:nvPicPr>
          <p:cNvPr id="54" name="Bildplatzhalter 53"/>
          <p:cNvPicPr>
            <a:picLocks noGrp="1" noChangeAspect="1"/>
          </p:cNvPicPr>
          <p:nvPr>
            <p:ph type="pic" sz="quarter" idx="14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8" b="8998"/>
          <a:stretch>
            <a:fillRect/>
          </a:stretch>
        </p:blipFill>
        <p:spPr/>
      </p:pic>
      <p:pic>
        <p:nvPicPr>
          <p:cNvPr id="25" name="Bildplatzhalter 24"/>
          <p:cNvPicPr>
            <a:picLocks noGrp="1" noChangeAspect="1"/>
          </p:cNvPicPr>
          <p:nvPr>
            <p:ph type="pic" sz="quarter" idx="47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86" b="4986"/>
          <a:stretch>
            <a:fillRect/>
          </a:stretch>
        </p:blipFill>
        <p:spPr>
          <a:xfrm>
            <a:off x="6696075" y="1736812"/>
            <a:ext cx="1885950" cy="1079500"/>
          </a:xfrm>
        </p:spPr>
      </p:pic>
      <p:pic>
        <p:nvPicPr>
          <p:cNvPr id="10" name="Bildplatzhalter 9"/>
          <p:cNvPicPr>
            <a:picLocks noGrp="1" noChangeAspect="1"/>
          </p:cNvPicPr>
          <p:nvPr>
            <p:ph type="pic" sz="quarter" idx="38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1" b="7571"/>
          <a:stretch>
            <a:fillRect/>
          </a:stretch>
        </p:blipFill>
        <p:spPr/>
      </p:pic>
      <p:pic>
        <p:nvPicPr>
          <p:cNvPr id="12" name="Bildplatzhalter 11"/>
          <p:cNvPicPr>
            <a:picLocks noGrp="1" noChangeAspect="1"/>
          </p:cNvPicPr>
          <p:nvPr>
            <p:ph type="pic" sz="quarter" idx="46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55" b="7655"/>
          <a:stretch>
            <a:fillRect/>
          </a:stretch>
        </p:blipFill>
        <p:spPr>
          <a:xfrm>
            <a:off x="2580665" y="3273298"/>
            <a:ext cx="1908175" cy="1079500"/>
          </a:xfrm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9749" y="2889250"/>
            <a:ext cx="1907855" cy="287338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SMILE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10</a:t>
            </a:fld>
            <a:endParaRPr lang="de-CH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32000"/>
          </a:xfrm>
        </p:spPr>
        <p:txBody>
          <a:bodyPr/>
          <a:lstStyle/>
          <a:p>
            <a:r>
              <a:rPr dirty="0"/>
              <a:t>In 4</a:t>
            </a:r>
            <a:r>
              <a:rPr lang="de-CH" dirty="0"/>
              <a:t>3</a:t>
            </a:r>
            <a:r>
              <a:rPr dirty="0"/>
              <a:t> countries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5"/>
          </p:nvPr>
        </p:nvSpPr>
        <p:spPr>
          <a:xfrm>
            <a:off x="2592387" y="2889250"/>
            <a:ext cx="1908175" cy="287338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FLIRT / WINK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7"/>
          </p:nvPr>
        </p:nvSpPr>
        <p:spPr>
          <a:xfrm>
            <a:off x="4643438" y="2889250"/>
            <a:ext cx="1908104" cy="287338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KIS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9"/>
          </p:nvPr>
        </p:nvSpPr>
        <p:spPr>
          <a:xfrm>
            <a:off x="4644044" y="5913673"/>
            <a:ext cx="1908175" cy="287338"/>
          </a:xfrm>
          <a:solidFill>
            <a:schemeClr val="tx1"/>
          </a:solidFill>
        </p:spPr>
        <p:txBody>
          <a:bodyPr tIns="0" anchor="ctr" anchorCtr="0"/>
          <a:lstStyle/>
          <a:p>
            <a:pPr algn="ctr"/>
            <a:r>
              <a:rPr lang="de-CH" dirty="0">
                <a:solidFill>
                  <a:schemeClr val="bg1"/>
                </a:solidFill>
              </a:rPr>
              <a:t>         </a:t>
            </a:r>
            <a:r>
              <a:rPr dirty="0">
                <a:solidFill>
                  <a:schemeClr val="bg1"/>
                </a:solidFill>
              </a:rPr>
              <a:t>GTW (articulated multiple units)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idx="40"/>
          </p:nvPr>
        </p:nvSpPr>
        <p:spPr>
          <a:xfrm>
            <a:off x="2590794" y="5948388"/>
            <a:ext cx="1909198" cy="288924"/>
          </a:xfrm>
          <a:solidFill>
            <a:schemeClr val="tx1"/>
          </a:solidFill>
          <a:ln>
            <a:noFill/>
          </a:ln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Regional rail shuttl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42"/>
          </p:nvPr>
        </p:nvSpPr>
        <p:spPr>
          <a:xfrm>
            <a:off x="4654862" y="4414440"/>
            <a:ext cx="1908175" cy="288924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METRO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43"/>
          </p:nvPr>
        </p:nvSpPr>
        <p:spPr>
          <a:xfrm>
            <a:off x="6705913" y="4405548"/>
            <a:ext cx="1908174" cy="288926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LRV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idx="44"/>
          </p:nvPr>
        </p:nvSpPr>
        <p:spPr>
          <a:xfrm>
            <a:off x="495515" y="4400550"/>
            <a:ext cx="1908175" cy="288924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Locomotives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idx="48"/>
          </p:nvPr>
        </p:nvSpPr>
        <p:spPr>
          <a:xfrm>
            <a:off x="6696273" y="2876004"/>
            <a:ext cx="1908175" cy="287337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 lang="de-CH" dirty="0">
                <a:solidFill>
                  <a:schemeClr val="bg1"/>
                </a:solidFill>
              </a:rPr>
              <a:t>      </a:t>
            </a:r>
            <a:r>
              <a:rPr dirty="0">
                <a:solidFill>
                  <a:schemeClr val="bg1"/>
                </a:solidFill>
              </a:rPr>
              <a:t>Tailor-made (multiple units / locomotives / carriages)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23" name="Content Placeholder 22"/>
          <p:cNvSpPr>
            <a:spLocks noGrp="1"/>
          </p:cNvSpPr>
          <p:nvPr>
            <p:ph idx="50"/>
          </p:nvPr>
        </p:nvSpPr>
        <p:spPr>
          <a:xfrm>
            <a:off x="2569416" y="4413403"/>
            <a:ext cx="1908174" cy="287337"/>
          </a:xfrm>
          <a:solidFill>
            <a:schemeClr val="tx2"/>
          </a:solidFill>
        </p:spPr>
        <p:txBody>
          <a:bodyPr tIns="0" anchor="ctr" anchorCtr="0"/>
          <a:lstStyle/>
          <a:p>
            <a:pPr algn="ctr"/>
            <a:r>
              <a:rPr>
                <a:solidFill>
                  <a:schemeClr val="bg1"/>
                </a:solidFill>
              </a:rPr>
              <a:t>Carriage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More than </a:t>
            </a:r>
            <a:r>
              <a:rPr lang="de-CH" dirty="0"/>
              <a:t>10883 </a:t>
            </a:r>
            <a:r>
              <a:rPr lang="de-CH" dirty="0" err="1"/>
              <a:t>vehicles</a:t>
            </a:r>
            <a:r>
              <a:rPr lang="de-CH" dirty="0"/>
              <a:t> </a:t>
            </a:r>
            <a:r>
              <a:rPr dirty="0"/>
              <a:t>sold</a:t>
            </a:r>
          </a:p>
        </p:txBody>
      </p:sp>
      <p:pic>
        <p:nvPicPr>
          <p:cNvPr id="34" name="Bildplatzhalter 39"/>
          <p:cNvPicPr>
            <a:picLocks noGrp="1" noChangeAspect="1"/>
          </p:cNvPicPr>
          <p:nvPr>
            <p:ph type="pic" sz="quarter" idx="41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" b="21"/>
          <a:stretch>
            <a:fillRect/>
          </a:stretch>
        </p:blipFill>
        <p:spPr>
          <a:xfrm flipH="1">
            <a:off x="2590794" y="4797451"/>
            <a:ext cx="1909198" cy="1079500"/>
          </a:xfrm>
        </p:spPr>
      </p:pic>
      <p:sp>
        <p:nvSpPr>
          <p:cNvPr id="40" name="Ellipse 29"/>
          <p:cNvSpPr/>
          <p:nvPr/>
        </p:nvSpPr>
        <p:spPr>
          <a:xfrm>
            <a:off x="357652" y="2600104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36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41" name="Ellipse 30"/>
          <p:cNvSpPr/>
          <p:nvPr/>
        </p:nvSpPr>
        <p:spPr>
          <a:xfrm>
            <a:off x="2483644" y="2528900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2465</a:t>
            </a:r>
          </a:p>
        </p:txBody>
      </p:sp>
      <p:sp>
        <p:nvSpPr>
          <p:cNvPr id="42" name="Ellipse 31"/>
          <p:cNvSpPr/>
          <p:nvPr/>
        </p:nvSpPr>
        <p:spPr>
          <a:xfrm>
            <a:off x="4545552" y="2600104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585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43" name="Ellipse 32"/>
          <p:cNvSpPr/>
          <p:nvPr/>
        </p:nvSpPr>
        <p:spPr>
          <a:xfrm>
            <a:off x="4544065" y="5624527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532</a:t>
            </a:r>
          </a:p>
        </p:txBody>
      </p:sp>
      <p:sp>
        <p:nvSpPr>
          <p:cNvPr id="44" name="Ellipse 33"/>
          <p:cNvSpPr/>
          <p:nvPr/>
        </p:nvSpPr>
        <p:spPr>
          <a:xfrm>
            <a:off x="4546120" y="4120791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824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45" name="Ellipse 34"/>
          <p:cNvSpPr/>
          <p:nvPr/>
        </p:nvSpPr>
        <p:spPr>
          <a:xfrm>
            <a:off x="2460673" y="4129690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155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46" name="Ellipse 35"/>
          <p:cNvSpPr/>
          <p:nvPr/>
        </p:nvSpPr>
        <p:spPr>
          <a:xfrm>
            <a:off x="395536" y="4106901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2488</a:t>
            </a:r>
          </a:p>
        </p:txBody>
      </p:sp>
      <p:sp>
        <p:nvSpPr>
          <p:cNvPr id="47" name="Ellipse 36"/>
          <p:cNvSpPr/>
          <p:nvPr/>
        </p:nvSpPr>
        <p:spPr>
          <a:xfrm>
            <a:off x="6514176" y="2592290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1049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48" name="Ellipse 37"/>
          <p:cNvSpPr/>
          <p:nvPr/>
        </p:nvSpPr>
        <p:spPr>
          <a:xfrm>
            <a:off x="2409719" y="5654739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sz="1100" b="1" dirty="0">
                <a:solidFill>
                  <a:schemeClr val="tx2"/>
                </a:solidFill>
              </a:rPr>
              <a:t>497</a:t>
            </a:r>
            <a:endParaRPr lang="de-CH" sz="1100" b="1" dirty="0">
              <a:solidFill>
                <a:schemeClr val="tx2"/>
              </a:solidFill>
            </a:endParaRPr>
          </a:p>
        </p:txBody>
      </p:sp>
      <p:sp>
        <p:nvSpPr>
          <p:cNvPr id="49" name="Ellipse 38"/>
          <p:cNvSpPr/>
          <p:nvPr/>
        </p:nvSpPr>
        <p:spPr>
          <a:xfrm>
            <a:off x="6608027" y="4111899"/>
            <a:ext cx="468000" cy="468000"/>
          </a:xfrm>
          <a:prstGeom prst="ellipse">
            <a:avLst/>
          </a:prstGeom>
          <a:solidFill>
            <a:srgbClr val="FF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100" b="1" dirty="0">
                <a:solidFill>
                  <a:schemeClr val="tx2"/>
                </a:solidFill>
              </a:rPr>
              <a:t>1941</a:t>
            </a:r>
            <a:endParaRPr lang="de-CH" sz="1100" dirty="0">
              <a:solidFill>
                <a:schemeClr val="tx2"/>
              </a:solidFill>
            </a:endParaRPr>
          </a:p>
        </p:txBody>
      </p:sp>
      <p:sp>
        <p:nvSpPr>
          <p:cNvPr id="37" name="Fußzeilenplatzhalter 7">
            <a:extLst>
              <a:ext uri="{FF2B5EF4-FFF2-40B4-BE49-F238E27FC236}">
                <a16:creationId xmlns:a16="http://schemas.microsoft.com/office/drawing/2014/main" id="{14A1EC08-F677-4895-9661-378E7D041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  <p:extLst>
      <p:ext uri="{BB962C8B-B14F-4D97-AF65-F5344CB8AC3E}">
        <p14:creationId xmlns:p14="http://schemas.microsoft.com/office/powerpoint/2010/main" val="25639675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Grafik 28">
            <a:extLst>
              <a:ext uri="{FF2B5EF4-FFF2-40B4-BE49-F238E27FC236}">
                <a16:creationId xmlns:a16="http://schemas.microsoft.com/office/drawing/2014/main" id="{D2327C94-5790-49EA-9DF6-D80E9DCDEC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38" y="793750"/>
            <a:ext cx="8075612" cy="484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3" name="Textplatzhalter 21">
            <a:extLst>
              <a:ext uri="{FF2B5EF4-FFF2-40B4-BE49-F238E27FC236}">
                <a16:creationId xmlns:a16="http://schemas.microsoft.com/office/drawing/2014/main" id="{C7752320-E4EE-4F8E-AFF5-ED1025E3235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54038" y="5638800"/>
            <a:ext cx="8075612" cy="625475"/>
          </a:xfrm>
        </p:spPr>
        <p:txBody>
          <a:bodyPr/>
          <a:lstStyle/>
          <a:p>
            <a:r>
              <a:rPr lang="en-GB" altLang="de-DE"/>
              <a:t>Currently 400+ employees in the country, numbers to increase</a:t>
            </a:r>
          </a:p>
        </p:txBody>
      </p:sp>
      <p:sp>
        <p:nvSpPr>
          <p:cNvPr id="23" name="Titel 22">
            <a:extLst>
              <a:ext uri="{FF2B5EF4-FFF2-40B4-BE49-F238E27FC236}">
                <a16:creationId xmlns:a16="http://schemas.microsoft.com/office/drawing/2014/main" id="{74EC6394-B9A1-400C-98D5-9B71E0F95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215900"/>
            <a:ext cx="8064500" cy="395288"/>
          </a:xfrm>
        </p:spPr>
        <p:txBody>
          <a:bodyPr/>
          <a:lstStyle/>
          <a:p>
            <a:pPr>
              <a:defRPr/>
            </a:pPr>
            <a:r>
              <a:rPr lang="en-GB" dirty="0"/>
              <a:t>Stadler’s presence in the UK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76F2F95-BE5D-4595-B687-9D4504EEBFAF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595368BD-A080-47C3-977D-9E4B0E28FE28}" type="slidenum">
              <a:rPr lang="de-CH" altLang="de-DE" sz="750" smtClean="0"/>
              <a:pPr>
                <a:defRPr/>
              </a:pPr>
              <a:t>11</a:t>
            </a:fld>
            <a:endParaRPr lang="de-CH" altLang="de-DE" sz="750" dirty="0"/>
          </a:p>
        </p:txBody>
      </p:sp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9B89CCCA-5BA0-42C3-BB2D-D2355ADA68A1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Inhaltsplatzhalter 2">
            <a:extLst>
              <a:ext uri="{FF2B5EF4-FFF2-40B4-BE49-F238E27FC236}">
                <a16:creationId xmlns:a16="http://schemas.microsoft.com/office/drawing/2014/main" id="{7800099B-9756-46FF-873B-215E753AF5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2338388"/>
            <a:ext cx="2592388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Greater Anglia, Abellio: 20 EMU / 35 BMU FLIRT</a:t>
            </a:r>
            <a:endParaRPr lang="de-DE" altLang="de-DE"/>
          </a:p>
        </p:txBody>
      </p:sp>
      <p:sp>
        <p:nvSpPr>
          <p:cNvPr id="58371" name="Inhaltsplatzhalter 7">
            <a:extLst>
              <a:ext uri="{FF2B5EF4-FFF2-40B4-BE49-F238E27FC236}">
                <a16:creationId xmlns:a16="http://schemas.microsoft.com/office/drawing/2014/main" id="{966A36C9-D78B-4D2C-A417-C0006C62F03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6600" y="2338388"/>
            <a:ext cx="2590800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Wales, Keolis/Amey, 36 Citylink / 35 FLIRT</a:t>
            </a:r>
            <a:endParaRPr lang="de-DE" altLang="de-DE"/>
          </a:p>
        </p:txBody>
      </p:sp>
      <p:sp>
        <p:nvSpPr>
          <p:cNvPr id="58372" name="Inhaltsplatzhalter 9">
            <a:extLst>
              <a:ext uri="{FF2B5EF4-FFF2-40B4-BE49-F238E27FC236}">
                <a16:creationId xmlns:a16="http://schemas.microsoft.com/office/drawing/2014/main" id="{BE198F07-FD3B-4E86-ABAA-A2B2829A000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010275" y="2338388"/>
            <a:ext cx="2592388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DRS/Beacon Rail: 34 / 10 UK Light Class 68 / 88</a:t>
            </a:r>
          </a:p>
          <a:p>
            <a:pPr>
              <a:spcBef>
                <a:spcPct val="0"/>
              </a:spcBef>
            </a:pPr>
            <a:endParaRPr lang="de-DE" altLang="de-DE"/>
          </a:p>
        </p:txBody>
      </p:sp>
      <p:sp>
        <p:nvSpPr>
          <p:cNvPr id="58373" name="Inhaltsplatzhalter 11">
            <a:extLst>
              <a:ext uri="{FF2B5EF4-FFF2-40B4-BE49-F238E27FC236}">
                <a16:creationId xmlns:a16="http://schemas.microsoft.com/office/drawing/2014/main" id="{1E0CA10A-0292-410F-88D3-34EEE4E08DA9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539750" y="3708400"/>
            <a:ext cx="2592388" cy="17938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ROG: 10 UK Light Class 93</a:t>
            </a:r>
          </a:p>
        </p:txBody>
      </p:sp>
      <p:sp>
        <p:nvSpPr>
          <p:cNvPr id="58374" name="Inhaltsplatzhalter 15">
            <a:extLst>
              <a:ext uri="{FF2B5EF4-FFF2-40B4-BE49-F238E27FC236}">
                <a16:creationId xmlns:a16="http://schemas.microsoft.com/office/drawing/2014/main" id="{82F2E8C4-BB7D-40A7-999D-39393928CA9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6011863" y="3708400"/>
            <a:ext cx="2592387" cy="17938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 dirty="0"/>
              <a:t>Merseytravel: 53 Metro units (7 IPEMU)</a:t>
            </a:r>
          </a:p>
          <a:p>
            <a:pPr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58375" name="Inhaltsplatzhalter 19">
            <a:extLst>
              <a:ext uri="{FF2B5EF4-FFF2-40B4-BE49-F238E27FC236}">
                <a16:creationId xmlns:a16="http://schemas.microsoft.com/office/drawing/2014/main" id="{FA35B770-955F-41C5-8969-FDE6B576E31C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275013" y="5075238"/>
            <a:ext cx="2590800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Sheffield Supertram: 7 Citylink Class 399</a:t>
            </a:r>
            <a:endParaRPr lang="de-DE" altLang="de-DE"/>
          </a:p>
        </p:txBody>
      </p:sp>
      <p:sp>
        <p:nvSpPr>
          <p:cNvPr id="58376" name="Inhaltsplatzhalter 21">
            <a:extLst>
              <a:ext uri="{FF2B5EF4-FFF2-40B4-BE49-F238E27FC236}">
                <a16:creationId xmlns:a16="http://schemas.microsoft.com/office/drawing/2014/main" id="{E7393CBF-F735-4FEB-B1B7-A12E2F1F1681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011863" y="5075238"/>
            <a:ext cx="2592387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	</a:t>
            </a:r>
          </a:p>
          <a:p>
            <a:pPr>
              <a:spcBef>
                <a:spcPct val="0"/>
              </a:spcBef>
            </a:pPr>
            <a:endParaRPr lang="de-DE" alt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B1ECE5-5971-47A2-8E1F-04916FE1E4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395288"/>
          </a:xfrm>
        </p:spPr>
        <p:txBody>
          <a:bodyPr/>
          <a:lstStyle/>
          <a:p>
            <a:pPr>
              <a:defRPr/>
            </a:pPr>
            <a:r>
              <a:rPr lang="es-ES" altLang="de-DE" dirty="0"/>
              <a:t>Stadler’s Current UK Portfolio</a:t>
            </a:r>
          </a:p>
        </p:txBody>
      </p:sp>
      <p:pic>
        <p:nvPicPr>
          <p:cNvPr id="58378" name="Picture 3">
            <a:extLst>
              <a:ext uri="{FF2B5EF4-FFF2-40B4-BE49-F238E27FC236}">
                <a16:creationId xmlns:a16="http://schemas.microsoft.com/office/drawing/2014/main" id="{11AC5722-A7E5-45CE-868F-5302C8798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275" y="1228725"/>
            <a:ext cx="2597150" cy="1089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379" name="Bildplatzhalter 8">
            <a:extLst>
              <a:ext uri="{FF2B5EF4-FFF2-40B4-BE49-F238E27FC236}">
                <a16:creationId xmlns:a16="http://schemas.microsoft.com/office/drawing/2014/main" id="{8FCD8491-BDE0-49A7-9636-86BB2A2AB2E7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07" b="12907"/>
          <a:stretch>
            <a:fillRect/>
          </a:stretch>
        </p:blipFill>
        <p:spPr>
          <a:xfrm>
            <a:off x="546100" y="3967163"/>
            <a:ext cx="2592388" cy="1081087"/>
          </a:xfrm>
        </p:spPr>
      </p:pic>
      <p:pic>
        <p:nvPicPr>
          <p:cNvPr id="58380" name="Bildplatzhalter 12">
            <a:extLst>
              <a:ext uri="{FF2B5EF4-FFF2-40B4-BE49-F238E27FC236}">
                <a16:creationId xmlns:a16="http://schemas.microsoft.com/office/drawing/2014/main" id="{BD2E8F96-62B6-45A1-B41A-8574CBC0F05F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" t="7169" r="-172" b="18623"/>
          <a:stretch>
            <a:fillRect/>
          </a:stretch>
        </p:blipFill>
        <p:spPr>
          <a:xfrm>
            <a:off x="6010275" y="2587625"/>
            <a:ext cx="2592388" cy="1081088"/>
          </a:xfrm>
        </p:spPr>
      </p:pic>
      <p:pic>
        <p:nvPicPr>
          <p:cNvPr id="58381" name="Bildplatzhalter 18">
            <a:extLst>
              <a:ext uri="{FF2B5EF4-FFF2-40B4-BE49-F238E27FC236}">
                <a16:creationId xmlns:a16="http://schemas.microsoft.com/office/drawing/2014/main" id="{6D052CE9-0E98-4585-8FDE-78E882FB038E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0" t="25359" r="60" b="12126"/>
          <a:stretch>
            <a:fillRect/>
          </a:stretch>
        </p:blipFill>
        <p:spPr>
          <a:xfrm>
            <a:off x="3275013" y="3956050"/>
            <a:ext cx="2590800" cy="1079500"/>
          </a:xfrm>
        </p:spPr>
      </p:pic>
      <p:pic>
        <p:nvPicPr>
          <p:cNvPr id="58382" name="Bildplatzhalter 16">
            <a:extLst>
              <a:ext uri="{FF2B5EF4-FFF2-40B4-BE49-F238E27FC236}">
                <a16:creationId xmlns:a16="http://schemas.microsoft.com/office/drawing/2014/main" id="{58CEC7F2-C742-4A38-8293-A662B48CC03C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4" b="17914"/>
          <a:stretch>
            <a:fillRect/>
          </a:stretch>
        </p:blipFill>
        <p:spPr>
          <a:xfrm>
            <a:off x="539750" y="1219200"/>
            <a:ext cx="2592388" cy="1081088"/>
          </a:xfrm>
        </p:spPr>
      </p:pic>
      <p:sp>
        <p:nvSpPr>
          <p:cNvPr id="58383" name="Textplatzhalter 19">
            <a:extLst>
              <a:ext uri="{FF2B5EF4-FFF2-40B4-BE49-F238E27FC236}">
                <a16:creationId xmlns:a16="http://schemas.microsoft.com/office/drawing/2014/main" id="{BAC0BA80-9509-4881-BE56-73875ECD1BDD}"/>
              </a:ext>
            </a:extLst>
          </p:cNvPr>
          <p:cNvSpPr txBox="1">
            <a:spLocks/>
          </p:cNvSpPr>
          <p:nvPr/>
        </p:nvSpPr>
        <p:spPr bwMode="auto">
          <a:xfrm>
            <a:off x="493713" y="5768975"/>
            <a:ext cx="8059737" cy="5048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Font typeface="Symbol" panose="05050102010706020507" pitchFamily="18" charset="2"/>
              <a:buNone/>
            </a:pPr>
            <a:r>
              <a:rPr lang="en-US" altLang="de-DE" sz="1200" b="1">
                <a:solidFill>
                  <a:schemeClr val="bg1"/>
                </a:solidFill>
              </a:rPr>
              <a:t>A wide range of products and services in the UK</a:t>
            </a:r>
          </a:p>
        </p:txBody>
      </p:sp>
      <p:sp>
        <p:nvSpPr>
          <p:cNvPr id="27" name="Inhaltsplatzhalter 17">
            <a:extLst>
              <a:ext uri="{FF2B5EF4-FFF2-40B4-BE49-F238E27FC236}">
                <a16:creationId xmlns:a16="http://schemas.microsoft.com/office/drawing/2014/main" id="{86C43C0B-1409-42A9-8E71-02E2DC8055AC}"/>
              </a:ext>
            </a:extLst>
          </p:cNvPr>
          <p:cNvSpPr txBox="1">
            <a:spLocks/>
          </p:cNvSpPr>
          <p:nvPr/>
        </p:nvSpPr>
        <p:spPr>
          <a:xfrm>
            <a:off x="6005513" y="5084763"/>
            <a:ext cx="2592387" cy="18097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ts val="0"/>
              </a:spcBef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Tx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Tx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Tx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Tx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AU" kern="0" dirty="0"/>
              <a:t>London </a:t>
            </a:r>
            <a:r>
              <a:rPr lang="en-AU" kern="0" dirty="0" err="1"/>
              <a:t>Tramlink</a:t>
            </a:r>
            <a:r>
              <a:rPr lang="en-AU" kern="0" dirty="0"/>
              <a:t> Croydon: 12 </a:t>
            </a:r>
            <a:r>
              <a:rPr lang="en-AU" kern="0" dirty="0" err="1"/>
              <a:t>Variobahn</a:t>
            </a:r>
            <a:r>
              <a:rPr lang="en-AU" kern="0" dirty="0"/>
              <a:t> trams</a:t>
            </a:r>
            <a:endParaRPr lang="de-DE" dirty="0"/>
          </a:p>
        </p:txBody>
      </p:sp>
      <p:pic>
        <p:nvPicPr>
          <p:cNvPr id="58385" name="Bildplatzhalter 23">
            <a:extLst>
              <a:ext uri="{FF2B5EF4-FFF2-40B4-BE49-F238E27FC236}">
                <a16:creationId xmlns:a16="http://schemas.microsoft.com/office/drawing/2014/main" id="{4D18C257-47A5-4174-A476-3157FC37E3EE}"/>
              </a:ext>
            </a:extLst>
          </p:cNvPr>
          <p:cNvPicPr>
            <a:picLocks noGrp="1" noChangeAspect="1" noChangeArrowheads="1"/>
          </p:cNvPicPr>
          <p:nvPr>
            <p:ph type="pic" sz="quarter" idx="2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19" b="12019"/>
          <a:stretch>
            <a:fillRect/>
          </a:stretch>
        </p:blipFill>
        <p:spPr>
          <a:xfrm>
            <a:off x="6005513" y="3965575"/>
            <a:ext cx="2592387" cy="1079500"/>
          </a:xfrm>
        </p:spPr>
      </p:pic>
      <p:sp>
        <p:nvSpPr>
          <p:cNvPr id="58386" name="Inhaltsplatzhalter 6">
            <a:extLst>
              <a:ext uri="{FF2B5EF4-FFF2-40B4-BE49-F238E27FC236}">
                <a16:creationId xmlns:a16="http://schemas.microsoft.com/office/drawing/2014/main" id="{6A715BC2-3B7C-4B6D-B261-7DCDF0ABE2BD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539750" y="5075238"/>
            <a:ext cx="2592388" cy="180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AU" altLang="de-DE"/>
              <a:t>Glasgow: 17  ATO Metro units</a:t>
            </a:r>
            <a:endParaRPr lang="de-CH" altLang="de-DE"/>
          </a:p>
        </p:txBody>
      </p:sp>
      <p:sp>
        <p:nvSpPr>
          <p:cNvPr id="58387" name="Inhaltsplatzhalter 10">
            <a:extLst>
              <a:ext uri="{FF2B5EF4-FFF2-40B4-BE49-F238E27FC236}">
                <a16:creationId xmlns:a16="http://schemas.microsoft.com/office/drawing/2014/main" id="{E14E18ED-18F4-4B5F-87CB-B7E65966E161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3275013" y="3708400"/>
            <a:ext cx="2590800" cy="179388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de-CH" altLang="de-DE"/>
              <a:t>Newcastle, NEXUS, 42 Metro units</a:t>
            </a:r>
          </a:p>
        </p:txBody>
      </p:sp>
      <p:sp>
        <p:nvSpPr>
          <p:cNvPr id="58388" name="Foliennummernplatzhalter 4">
            <a:extLst>
              <a:ext uri="{FF2B5EF4-FFF2-40B4-BE49-F238E27FC236}">
                <a16:creationId xmlns:a16="http://schemas.microsoft.com/office/drawing/2014/main" id="{A065A995-9630-4F4C-B81D-0B183D5FC8F7}"/>
              </a:ext>
            </a:extLst>
          </p:cNvPr>
          <p:cNvSpPr txBox="1">
            <a:spLocks/>
          </p:cNvSpPr>
          <p:nvPr/>
        </p:nvSpPr>
        <p:spPr bwMode="auto">
          <a:xfrm>
            <a:off x="7519988" y="6607175"/>
            <a:ext cx="1084262" cy="13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AD1EE4D4-6168-4C43-A691-38B3F7827D0F}" type="slidenum">
              <a:rPr lang="en-US" altLang="de-DE" sz="750" b="1">
                <a:solidFill>
                  <a:schemeClr val="accent1"/>
                </a:solidFill>
              </a:rPr>
              <a:pPr algn="r">
                <a:spcBef>
                  <a:spcPct val="0"/>
                </a:spcBef>
                <a:buFontTx/>
                <a:buNone/>
              </a:pPr>
              <a:t>12</a:t>
            </a:fld>
            <a:endParaRPr lang="en-US" altLang="de-DE" sz="750" b="1" dirty="0">
              <a:solidFill>
                <a:schemeClr val="accent1"/>
              </a:solidFill>
            </a:endParaRPr>
          </a:p>
        </p:txBody>
      </p:sp>
      <p:pic>
        <p:nvPicPr>
          <p:cNvPr id="58389" name="Grafik 4">
            <a:extLst>
              <a:ext uri="{FF2B5EF4-FFF2-40B4-BE49-F238E27FC236}">
                <a16:creationId xmlns:a16="http://schemas.microsoft.com/office/drawing/2014/main" id="{DC1C7AF5-20E0-47CA-8222-8260C131D27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900" y="1228725"/>
            <a:ext cx="2608263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3E176F0E-467D-4788-B9BC-851E2162256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50863" y="800100"/>
            <a:ext cx="8604250" cy="414338"/>
          </a:xfrm>
        </p:spPr>
        <p:txBody>
          <a:bodyPr/>
          <a:lstStyle/>
          <a:p>
            <a:pPr marL="0" indent="0">
              <a:buFont typeface="Symbol" panose="05050102010706020507" pitchFamily="18" charset="2"/>
              <a:buNone/>
              <a:defRPr/>
            </a:pPr>
            <a:r>
              <a:rPr lang="en-US" sz="2600" cap="all" dirty="0"/>
              <a:t>Most contracts with service agreement</a:t>
            </a:r>
          </a:p>
        </p:txBody>
      </p:sp>
      <p:pic>
        <p:nvPicPr>
          <p:cNvPr id="58391" name="Bildplatzhalter 12">
            <a:extLst>
              <a:ext uri="{FF2B5EF4-FFF2-40B4-BE49-F238E27FC236}">
                <a16:creationId xmlns:a16="http://schemas.microsoft.com/office/drawing/2014/main" id="{74683016-4CE7-4DD8-83F7-414E62CDF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9" t="28610" r="6360" b="18073"/>
          <a:stretch>
            <a:fillRect/>
          </a:stretch>
        </p:blipFill>
        <p:spPr bwMode="auto">
          <a:xfrm>
            <a:off x="3273425" y="2576513"/>
            <a:ext cx="2584450" cy="107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92" name="Grafik 31">
            <a:extLst>
              <a:ext uri="{FF2B5EF4-FFF2-40B4-BE49-F238E27FC236}">
                <a16:creationId xmlns:a16="http://schemas.microsoft.com/office/drawing/2014/main" id="{6D6364D1-6BFC-470A-8C83-C79E6028C9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64"/>
          <a:stretch>
            <a:fillRect/>
          </a:stretch>
        </p:blipFill>
        <p:spPr bwMode="auto">
          <a:xfrm>
            <a:off x="550863" y="2578100"/>
            <a:ext cx="2570162" cy="1071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Fußzeilenplatzhalter 7">
            <a:extLst>
              <a:ext uri="{FF2B5EF4-FFF2-40B4-BE49-F238E27FC236}">
                <a16:creationId xmlns:a16="http://schemas.microsoft.com/office/drawing/2014/main" id="{29F46A56-8E8F-4428-B3BD-BCF94402C1F5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6F59A0A-D678-467D-BA87-E578058811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 algn="ctr">
              <a:defRPr/>
            </a:pPr>
            <a:r>
              <a:rPr lang="en-GB" dirty="0"/>
              <a:t>Inside bigger than outside</a:t>
            </a:r>
            <a:endParaRPr lang="de-CH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11F234D4-9F70-463E-9922-A84FCE638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 algn="ctr">
              <a:defRPr/>
            </a:pPr>
            <a:r>
              <a:rPr lang="de-CH" dirty="0">
                <a:cs typeface="Arial"/>
              </a:rPr>
              <a:t>Glasgow Subway</a:t>
            </a:r>
            <a:endParaRPr lang="de-CH" dirty="0"/>
          </a:p>
        </p:txBody>
      </p:sp>
      <p:pic>
        <p:nvPicPr>
          <p:cNvPr id="59397" name="68090777-9854-41C3-B4CF-B5AA7EF4CECE" descr="68090777-9854-41C3-B4CF-B5AA7EF4CECE">
            <a:extLst>
              <a:ext uri="{FF2B5EF4-FFF2-40B4-BE49-F238E27FC236}">
                <a16:creationId xmlns:a16="http://schemas.microsoft.com/office/drawing/2014/main" id="{D0E56A45-0402-40CB-9043-49733AEF55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95" y="1236468"/>
            <a:ext cx="7092789" cy="5274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72B8E82-8AEF-4B81-B097-05486A961D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9781" y="3291828"/>
            <a:ext cx="1164437" cy="274344"/>
          </a:xfrm>
          <a:prstGeom prst="rect">
            <a:avLst/>
          </a:prstGeom>
        </p:spPr>
      </p:pic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19DE74B-0E5F-4DEB-9A3F-20BA0B87B3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smtClean="0"/>
              <a:pPr/>
              <a:t>13</a:t>
            </a:fld>
            <a:endParaRPr lang="de-CH" sz="75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25DD5D-A318-4A1C-B9A5-A2D92C9E67BB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CH" sz="750" dirty="0"/>
              <a:t>Programme Lead | James McCaffery | © Stadler | 23.06.2023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5C3783C-51AC-4D60-B0A6-0EADD589C1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GB" dirty="0"/>
              <a:t>Inside bigger than outside</a:t>
            </a:r>
            <a:endParaRPr lang="de-CH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B853B34F-5A0A-42F6-8697-7BFD03F4F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de-CH" dirty="0">
                <a:cs typeface="Arial"/>
              </a:rPr>
              <a:t>Glasgow Subway</a:t>
            </a:r>
            <a:endParaRPr lang="de-CH" dirty="0"/>
          </a:p>
        </p:txBody>
      </p:sp>
      <p:pic>
        <p:nvPicPr>
          <p:cNvPr id="60421" name="Grafik 2">
            <a:extLst>
              <a:ext uri="{FF2B5EF4-FFF2-40B4-BE49-F238E27FC236}">
                <a16:creationId xmlns:a16="http://schemas.microsoft.com/office/drawing/2014/main" id="{5E99113B-C086-4A2B-8EFB-85FC6CBC9D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75" y="1643063"/>
            <a:ext cx="3101975" cy="415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2" name="Grafik 4">
            <a:extLst>
              <a:ext uri="{FF2B5EF4-FFF2-40B4-BE49-F238E27FC236}">
                <a16:creationId xmlns:a16="http://schemas.microsoft.com/office/drawing/2014/main" id="{04FEFB73-5DDC-4640-A56F-9D79560F38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9" r="17085"/>
          <a:stretch>
            <a:fillRect/>
          </a:stretch>
        </p:blipFill>
        <p:spPr bwMode="auto">
          <a:xfrm>
            <a:off x="4500563" y="1643063"/>
            <a:ext cx="3887787" cy="415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CCD3314-AB69-4A6B-A18C-BF0DC6CF3DA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smtClean="0"/>
              <a:pPr/>
              <a:t>14</a:t>
            </a:fld>
            <a:endParaRPr lang="de-CH" sz="75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B482FE4-83F6-40B5-A562-5A25AD6CBD0E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CH" sz="750"/>
              <a:t>Programme Lead | James McCaffery | © Stadler | 23.06.2023</a:t>
            </a:r>
            <a:endParaRPr lang="de-CH" sz="75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29">
            <a:extLst>
              <a:ext uri="{FF2B5EF4-FFF2-40B4-BE49-F238E27FC236}">
                <a16:creationId xmlns:a16="http://schemas.microsoft.com/office/drawing/2014/main" id="{840DB8E4-77CD-4F15-ACAA-DFFEBE047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de-CH" dirty="0"/>
              <a:t>MERSEYTRAVEL ROLLING STOCK Solution</a:t>
            </a:r>
          </a:p>
        </p:txBody>
      </p:sp>
      <p:sp>
        <p:nvSpPr>
          <p:cNvPr id="61443" name="Textplatzhalter 1">
            <a:extLst>
              <a:ext uri="{FF2B5EF4-FFF2-40B4-BE49-F238E27FC236}">
                <a16:creationId xmlns:a16="http://schemas.microsoft.com/office/drawing/2014/main" id="{64F9A792-3A48-4C0D-AF0A-AEB14817DF8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7850" y="6042025"/>
            <a:ext cx="8062913" cy="395288"/>
          </a:xfrm>
        </p:spPr>
        <p:txBody>
          <a:bodyPr/>
          <a:lstStyle/>
          <a:p>
            <a:r>
              <a:rPr lang="de-CH" altLang="de-DE" dirty="0"/>
              <a:t>Liverpool Central Sta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E9E390D-43D2-432F-96A2-0A06681824B6}"/>
              </a:ext>
            </a:extLst>
          </p:cNvPr>
          <p:cNvSpPr>
            <a:spLocks noGrp="1"/>
          </p:cNvSpPr>
          <p:nvPr>
            <p:ph type="sldNum" sz="quarter" idx="49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4B2E77DF-8734-44DF-AB05-417FFEA7C08B}" type="slidenum">
              <a:rPr lang="en-US" sz="750" smtClean="0"/>
              <a:pPr>
                <a:defRPr/>
              </a:pPr>
              <a:t>15</a:t>
            </a:fld>
            <a:endParaRPr lang="en-US" sz="75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218ABB-79C8-4207-9EC1-6B18445C33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840" y="1003257"/>
            <a:ext cx="7452320" cy="4655216"/>
          </a:xfrm>
          <a:prstGeom prst="rect">
            <a:avLst/>
          </a:prstGeom>
        </p:spPr>
      </p:pic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7F109AF6-AD47-499C-A7CB-9E6B10A57F0F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Inhaltsplatzhalter 3">
            <a:extLst>
              <a:ext uri="{FF2B5EF4-FFF2-40B4-BE49-F238E27FC236}">
                <a16:creationId xmlns:a16="http://schemas.microsoft.com/office/drawing/2014/main" id="{59E9F7AE-2FFC-4423-AC42-D4016A5D82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641475"/>
            <a:ext cx="8064500" cy="3600450"/>
          </a:xfrm>
        </p:spPr>
        <p:txBody>
          <a:bodyPr/>
          <a:lstStyle/>
          <a:p>
            <a:pPr marL="0" indent="0">
              <a:buFont typeface="Symbol" panose="05050102010706020507" pitchFamily="18" charset="2"/>
              <a:buNone/>
            </a:pPr>
            <a:r>
              <a:rPr lang="en-GB" altLang="de-DE"/>
              <a:t>Lightweight Vehicle: Articulated Layou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34D372-07C8-4295-99BA-D0B05A595B6F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39750" y="798513"/>
            <a:ext cx="8220075" cy="395287"/>
          </a:xfrm>
        </p:spPr>
        <p:txBody>
          <a:bodyPr/>
          <a:lstStyle/>
          <a:p>
            <a:pPr>
              <a:defRPr/>
            </a:pPr>
            <a:r>
              <a:rPr lang="en-US" dirty="0"/>
              <a:t>Articulated concept vs legacy flee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DA5A015-3C21-41FD-9B7F-2D86B4BBA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de-CH" dirty="0"/>
              <a:t>MERSEYTRAVEL ROLLING STOCK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06E20EBC-66C9-43F6-A013-ED1E40F9F582}"/>
              </a:ext>
            </a:extLst>
          </p:cNvPr>
          <p:cNvSpPr txBox="1">
            <a:spLocks/>
          </p:cNvSpPr>
          <p:nvPr/>
        </p:nvSpPr>
        <p:spPr>
          <a:xfrm>
            <a:off x="2143125" y="2133600"/>
            <a:ext cx="4689475" cy="11128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lIns="108000" tIns="36000" rIns="36000" bIns="36000" anchor="ctr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sz="1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3048000" algn="r"/>
                <a:tab pos="3227388" algn="l"/>
              </a:tabLst>
              <a:defRPr/>
            </a:pPr>
            <a:r>
              <a:rPr lang="en-GB" b="0" dirty="0">
                <a:solidFill>
                  <a:schemeClr val="tx2"/>
                </a:solidFill>
              </a:rPr>
              <a:t>Unit Length:	60.7 m	-&gt;   64.98 m</a:t>
            </a:r>
          </a:p>
          <a:p>
            <a:pPr algn="l">
              <a:tabLst>
                <a:tab pos="3048000" algn="r"/>
                <a:tab pos="3227388" algn="l"/>
              </a:tabLst>
              <a:defRPr/>
            </a:pPr>
            <a:r>
              <a:rPr lang="en-GB" b="0" dirty="0">
                <a:solidFill>
                  <a:schemeClr val="tx2"/>
                </a:solidFill>
              </a:rPr>
              <a:t>Number of Bogies:	6	-&gt;   5</a:t>
            </a:r>
          </a:p>
          <a:p>
            <a:pPr algn="l">
              <a:tabLst>
                <a:tab pos="3048000" algn="r"/>
                <a:tab pos="3227388" algn="l"/>
              </a:tabLst>
              <a:defRPr/>
            </a:pPr>
            <a:r>
              <a:rPr lang="en-GB" b="0" dirty="0">
                <a:solidFill>
                  <a:schemeClr val="tx2"/>
                </a:solidFill>
              </a:rPr>
              <a:t>Tare Weight:	104.5 t	-&gt;   98.4 t</a:t>
            </a:r>
          </a:p>
        </p:txBody>
      </p:sp>
      <p:pic>
        <p:nvPicPr>
          <p:cNvPr id="62470" name="Picture 3">
            <a:extLst>
              <a:ext uri="{FF2B5EF4-FFF2-40B4-BE49-F238E27FC236}">
                <a16:creationId xmlns:a16="http://schemas.microsoft.com/office/drawing/2014/main" id="{F3F5FC9F-1A79-4608-9FE7-10D5244AB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5" y="3617913"/>
            <a:ext cx="7292975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71" name="Picture 4">
            <a:extLst>
              <a:ext uri="{FF2B5EF4-FFF2-40B4-BE49-F238E27FC236}">
                <a16:creationId xmlns:a16="http://schemas.microsoft.com/office/drawing/2014/main" id="{4718DC1A-9C42-406D-949F-835B19852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4438650"/>
            <a:ext cx="8078787" cy="62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C9FF2B8C-3239-46BB-BD16-39C35E461F36}"/>
              </a:ext>
            </a:extLst>
          </p:cNvPr>
          <p:cNvCxnSpPr/>
          <p:nvPr/>
        </p:nvCxnSpPr>
        <p:spPr>
          <a:xfrm flipH="1">
            <a:off x="1071563" y="4168775"/>
            <a:ext cx="2686050" cy="739775"/>
          </a:xfrm>
          <a:prstGeom prst="straightConnector1">
            <a:avLst/>
          </a:prstGeom>
          <a:ln w="31750">
            <a:solidFill>
              <a:srgbClr val="00B0F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8A8FA0C2-2428-43D5-BFA2-CA6250B0ACA1}"/>
              </a:ext>
            </a:extLst>
          </p:cNvPr>
          <p:cNvCxnSpPr/>
          <p:nvPr/>
        </p:nvCxnSpPr>
        <p:spPr>
          <a:xfrm>
            <a:off x="5203825" y="4168775"/>
            <a:ext cx="2827338" cy="739775"/>
          </a:xfrm>
          <a:prstGeom prst="straightConnector1">
            <a:avLst/>
          </a:prstGeom>
          <a:ln w="31750">
            <a:solidFill>
              <a:srgbClr val="00B0F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2E025570-8511-452F-9800-4F588E8D1663}"/>
              </a:ext>
            </a:extLst>
          </p:cNvPr>
          <p:cNvCxnSpPr/>
          <p:nvPr/>
        </p:nvCxnSpPr>
        <p:spPr>
          <a:xfrm>
            <a:off x="1235075" y="4168775"/>
            <a:ext cx="1544638" cy="739775"/>
          </a:xfrm>
          <a:prstGeom prst="straightConnector1">
            <a:avLst/>
          </a:prstGeom>
          <a:ln w="31750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C6488EDC-B376-47AB-B691-5702EC9C10AF}"/>
              </a:ext>
            </a:extLst>
          </p:cNvPr>
          <p:cNvCxnSpPr/>
          <p:nvPr/>
        </p:nvCxnSpPr>
        <p:spPr>
          <a:xfrm>
            <a:off x="2932113" y="4168775"/>
            <a:ext cx="1555750" cy="739775"/>
          </a:xfrm>
          <a:prstGeom prst="straightConnector1">
            <a:avLst/>
          </a:prstGeom>
          <a:ln w="3175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CBA0A155-134F-41BB-8FD8-FC6172BC17EA}"/>
              </a:ext>
            </a:extLst>
          </p:cNvPr>
          <p:cNvCxnSpPr/>
          <p:nvPr/>
        </p:nvCxnSpPr>
        <p:spPr>
          <a:xfrm flipH="1">
            <a:off x="4660900" y="4168775"/>
            <a:ext cx="1435100" cy="739775"/>
          </a:xfrm>
          <a:prstGeom prst="straightConnector1">
            <a:avLst/>
          </a:prstGeom>
          <a:ln w="31750">
            <a:solidFill>
              <a:srgbClr val="FF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C4686AD5-3DFD-4F1A-B531-19233FE739B1}"/>
              </a:ext>
            </a:extLst>
          </p:cNvPr>
          <p:cNvCxnSpPr/>
          <p:nvPr/>
        </p:nvCxnSpPr>
        <p:spPr>
          <a:xfrm flipH="1">
            <a:off x="6367463" y="4168775"/>
            <a:ext cx="1395412" cy="739775"/>
          </a:xfrm>
          <a:prstGeom prst="straightConnector1">
            <a:avLst/>
          </a:prstGeom>
          <a:ln w="31750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478" name="Textplatzhalter 26">
            <a:extLst>
              <a:ext uri="{FF2B5EF4-FFF2-40B4-BE49-F238E27FC236}">
                <a16:creationId xmlns:a16="http://schemas.microsoft.com/office/drawing/2014/main" id="{6A4D30E5-9177-41C7-8056-238691ED59F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9750" y="5611813"/>
            <a:ext cx="8064500" cy="649287"/>
          </a:xfrm>
        </p:spPr>
        <p:txBody>
          <a:bodyPr/>
          <a:lstStyle/>
          <a:p>
            <a:pPr marL="28575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de-DE"/>
              <a:t>Reduced Unit Weight</a:t>
            </a:r>
          </a:p>
          <a:p>
            <a:pPr marL="285750" indent="-285750">
              <a:spcBef>
                <a:spcPct val="0"/>
              </a:spcBef>
              <a:buFont typeface="Wingdings" panose="05000000000000000000" pitchFamily="2" charset="2"/>
              <a:buChar char="Ø"/>
            </a:pPr>
            <a:r>
              <a:rPr lang="en-GB" altLang="de-DE"/>
              <a:t>Reduced Maintenance Cost</a:t>
            </a:r>
          </a:p>
        </p:txBody>
      </p:sp>
      <p:sp>
        <p:nvSpPr>
          <p:cNvPr id="62479" name="Textfeld 1041">
            <a:extLst>
              <a:ext uri="{FF2B5EF4-FFF2-40B4-BE49-F238E27FC236}">
                <a16:creationId xmlns:a16="http://schemas.microsoft.com/office/drawing/2014/main" id="{A22BDC72-2ED8-4313-B4E2-D97ACF8BFA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825" y="5100638"/>
            <a:ext cx="3492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 b="1">
                <a:solidFill>
                  <a:srgbClr val="00B0F0"/>
                </a:solidFill>
              </a:rPr>
              <a:t>TB</a:t>
            </a:r>
          </a:p>
        </p:txBody>
      </p:sp>
      <p:sp>
        <p:nvSpPr>
          <p:cNvPr id="62480" name="Rechteck 1042">
            <a:extLst>
              <a:ext uri="{FF2B5EF4-FFF2-40B4-BE49-F238E27FC236}">
                <a16:creationId xmlns:a16="http://schemas.microsoft.com/office/drawing/2014/main" id="{37226E37-5B9E-4C1F-B478-5BE1F4A5EB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3838" y="5062538"/>
            <a:ext cx="4921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 b="1">
                <a:solidFill>
                  <a:srgbClr val="00B0F0"/>
                </a:solidFill>
              </a:rPr>
              <a:t>TB</a:t>
            </a:r>
          </a:p>
        </p:txBody>
      </p:sp>
      <p:sp>
        <p:nvSpPr>
          <p:cNvPr id="62481" name="Rechteck 1043">
            <a:extLst>
              <a:ext uri="{FF2B5EF4-FFF2-40B4-BE49-F238E27FC236}">
                <a16:creationId xmlns:a16="http://schemas.microsoft.com/office/drawing/2014/main" id="{E9070EEB-9553-41D9-B517-FA2FE6BD73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000" y="5054600"/>
            <a:ext cx="5429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 b="1">
                <a:solidFill>
                  <a:srgbClr val="FF0000"/>
                </a:solidFill>
              </a:rPr>
              <a:t>MB</a:t>
            </a:r>
          </a:p>
        </p:txBody>
      </p:sp>
      <p:sp>
        <p:nvSpPr>
          <p:cNvPr id="62482" name="Rechteck 52">
            <a:extLst>
              <a:ext uri="{FF2B5EF4-FFF2-40B4-BE49-F238E27FC236}">
                <a16:creationId xmlns:a16="http://schemas.microsoft.com/office/drawing/2014/main" id="{45821B6B-6DDF-4655-935C-4BDDADE75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6413" y="5062538"/>
            <a:ext cx="542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 b="1">
                <a:solidFill>
                  <a:srgbClr val="FF0000"/>
                </a:solidFill>
              </a:rPr>
              <a:t>MB</a:t>
            </a:r>
          </a:p>
        </p:txBody>
      </p:sp>
      <p:sp>
        <p:nvSpPr>
          <p:cNvPr id="62483" name="Rechteck 53">
            <a:extLst>
              <a:ext uri="{FF2B5EF4-FFF2-40B4-BE49-F238E27FC236}">
                <a16:creationId xmlns:a16="http://schemas.microsoft.com/office/drawing/2014/main" id="{F3E539B3-915D-4BC5-95A3-9D41C1CBF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6475" y="5062538"/>
            <a:ext cx="5445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 b="1">
                <a:solidFill>
                  <a:srgbClr val="FF0000"/>
                </a:solidFill>
              </a:rPr>
              <a:t>MB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DBFA7E7-8CCB-4168-8BEA-0CBE1435DC88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10A0819C-9DF5-4191-ADFA-68C8F4F7EB77}" type="slidenum">
              <a:rPr lang="de-CH" altLang="de-DE" sz="750" smtClean="0"/>
              <a:pPr>
                <a:defRPr/>
              </a:pPr>
              <a:t>16</a:t>
            </a:fld>
            <a:endParaRPr lang="de-CH" altLang="de-DE" sz="750" dirty="0"/>
          </a:p>
        </p:txBody>
      </p:sp>
      <p:sp>
        <p:nvSpPr>
          <p:cNvPr id="22" name="Fußzeilenplatzhalter 7">
            <a:extLst>
              <a:ext uri="{FF2B5EF4-FFF2-40B4-BE49-F238E27FC236}">
                <a16:creationId xmlns:a16="http://schemas.microsoft.com/office/drawing/2014/main" id="{44940616-CE44-4D6B-9B71-71D00122DE40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Grafik 20">
            <a:extLst>
              <a:ext uri="{FF2B5EF4-FFF2-40B4-BE49-F238E27FC236}">
                <a16:creationId xmlns:a16="http://schemas.microsoft.com/office/drawing/2014/main" id="{2A2679DC-90C6-49B6-A3F2-424FCBD09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2675" y="2387600"/>
            <a:ext cx="4999038" cy="333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4" name="Inhaltsplatzhalter 3">
            <a:extLst>
              <a:ext uri="{FF2B5EF4-FFF2-40B4-BE49-F238E27FC236}">
                <a16:creationId xmlns:a16="http://schemas.microsoft.com/office/drawing/2014/main" id="{DDB3B75D-B775-4BB0-BFAE-B66FE64F7CC1}"/>
              </a:ext>
            </a:extLst>
          </p:cNvPr>
          <p:cNvSpPr txBox="1">
            <a:spLocks/>
          </p:cNvSpPr>
          <p:nvPr/>
        </p:nvSpPr>
        <p:spPr>
          <a:xfrm>
            <a:off x="546100" y="1506538"/>
            <a:ext cx="8064500" cy="4679950"/>
          </a:xfrm>
          <a:prstGeom prst="rect">
            <a:avLst/>
          </a:prstGeom>
        </p:spPr>
        <p:txBody>
          <a:bodyPr/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600" indent="0">
              <a:buFont typeface="Symbol" panose="05050102010706020507" pitchFamily="18" charset="2"/>
              <a:buNone/>
              <a:tabLst>
                <a:tab pos="1080000" algn="l"/>
              </a:tabLst>
              <a:defRPr/>
            </a:pPr>
            <a:r>
              <a:rPr lang="en-US" dirty="0">
                <a:solidFill>
                  <a:srgbClr val="666666"/>
                </a:solidFill>
              </a:rPr>
              <a:t>Platform train interface and Safe dispatch of the train</a:t>
            </a:r>
          </a:p>
          <a:p>
            <a:pPr marL="101600" indent="0">
              <a:buFont typeface="Symbol" panose="05050102010706020507" pitchFamily="18" charset="2"/>
              <a:buNone/>
              <a:tabLst>
                <a:tab pos="1080000" algn="l"/>
              </a:tabLst>
              <a:defRPr/>
            </a:pPr>
            <a:endParaRPr lang="en-US" dirty="0">
              <a:solidFill>
                <a:srgbClr val="666666"/>
              </a:solidFill>
            </a:endParaRPr>
          </a:p>
          <a:p>
            <a:pPr marL="387350" indent="-285750">
              <a:buFont typeface="Wingdings" panose="05000000000000000000" pitchFamily="2" charset="2"/>
              <a:buChar char="Ø"/>
              <a:tabLst>
                <a:tab pos="1080000" algn="l"/>
              </a:tabLst>
              <a:defRPr/>
            </a:pPr>
            <a:r>
              <a:rPr lang="en-US" dirty="0">
                <a:solidFill>
                  <a:srgbClr val="666666"/>
                </a:solidFill>
              </a:rPr>
              <a:t>at the platform</a:t>
            </a:r>
            <a:endParaRPr lang="en-GB" dirty="0">
              <a:solidFill>
                <a:srgbClr val="666666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531CC09-F954-4DE3-9214-CA1549C29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de-CH" dirty="0"/>
              <a:t>MERSEYTRAVEL ROLLING STOCK</a:t>
            </a:r>
          </a:p>
        </p:txBody>
      </p:sp>
      <p:sp>
        <p:nvSpPr>
          <p:cNvPr id="63493" name="Textplatzhalter 32">
            <a:extLst>
              <a:ext uri="{FF2B5EF4-FFF2-40B4-BE49-F238E27FC236}">
                <a16:creationId xmlns:a16="http://schemas.microsoft.com/office/drawing/2014/main" id="{BC123EB4-6D18-4E6D-B888-655749A8F84F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9750" y="5967413"/>
            <a:ext cx="8099425" cy="504825"/>
          </a:xfrm>
        </p:spPr>
        <p:txBody>
          <a:bodyPr/>
          <a:lstStyle/>
          <a:p>
            <a:r>
              <a:rPr lang="en-US" altLang="de-DE" sz="1600" dirty="0"/>
              <a:t>Addressing the safety issues for the passengers</a:t>
            </a:r>
          </a:p>
        </p:txBody>
      </p:sp>
      <p:sp>
        <p:nvSpPr>
          <p:cNvPr id="138" name="Textplatzhalter 50">
            <a:extLst>
              <a:ext uri="{FF2B5EF4-FFF2-40B4-BE49-F238E27FC236}">
                <a16:creationId xmlns:a16="http://schemas.microsoft.com/office/drawing/2014/main" id="{CC79AB4C-960E-4129-81AF-DBFC6CFDB60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39750" y="793750"/>
            <a:ext cx="8064500" cy="847725"/>
          </a:xfrm>
        </p:spPr>
        <p:txBody>
          <a:bodyPr tIns="0" rtlCol="0">
            <a:noAutofit/>
          </a:bodyPr>
          <a:lstStyle/>
          <a:p>
            <a:pPr marL="0" indent="0">
              <a:buFont typeface="Symbol" panose="05050102010706020507" pitchFamily="18" charset="2"/>
              <a:buNone/>
              <a:defRPr/>
            </a:pPr>
            <a:r>
              <a:rPr lang="en-US" sz="2800" cap="all" dirty="0"/>
              <a:t>door safety features </a:t>
            </a:r>
            <a:endParaRPr lang="en-GB" sz="2800" cap="all" dirty="0"/>
          </a:p>
        </p:txBody>
      </p:sp>
      <p:sp>
        <p:nvSpPr>
          <p:cNvPr id="25" name="Legende mit Linie 2 (Markierungsleiste) 24">
            <a:extLst>
              <a:ext uri="{FF2B5EF4-FFF2-40B4-BE49-F238E27FC236}">
                <a16:creationId xmlns:a16="http://schemas.microsoft.com/office/drawing/2014/main" id="{F21C5D29-79D0-4B27-BF5C-8B3CB021416F}"/>
              </a:ext>
            </a:extLst>
          </p:cNvPr>
          <p:cNvSpPr/>
          <p:nvPr/>
        </p:nvSpPr>
        <p:spPr>
          <a:xfrm>
            <a:off x="538163" y="3694113"/>
            <a:ext cx="2562225" cy="306387"/>
          </a:xfrm>
          <a:prstGeom prst="accentCallout2">
            <a:avLst>
              <a:gd name="adj1" fmla="val 24330"/>
              <a:gd name="adj2" fmla="val 104121"/>
              <a:gd name="adj3" fmla="val 24329"/>
              <a:gd name="adj4" fmla="val 120649"/>
              <a:gd name="adj5" fmla="val -4671"/>
              <a:gd name="adj6" fmla="val 156561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B3F75"/>
            </a:solidFill>
          </a:ln>
        </p:spPr>
        <p:txBody>
          <a:bodyPr lIns="0" tIns="0" rIns="0" bIns="0" anchor="ctr"/>
          <a:lstStyle/>
          <a:p>
            <a:pPr marL="180000">
              <a:defRPr/>
            </a:pPr>
            <a:r>
              <a:rPr lang="en-GB" sz="1200" b="1" dirty="0">
                <a:solidFill>
                  <a:schemeClr val="tx2"/>
                </a:solidFill>
              </a:rPr>
              <a:t>2. CCTV cameras</a:t>
            </a:r>
          </a:p>
        </p:txBody>
      </p:sp>
      <p:sp>
        <p:nvSpPr>
          <p:cNvPr id="14" name="Legende mit Linie 2 (Markierungsleiste) 13">
            <a:extLst>
              <a:ext uri="{FF2B5EF4-FFF2-40B4-BE49-F238E27FC236}">
                <a16:creationId xmlns:a16="http://schemas.microsoft.com/office/drawing/2014/main" id="{5146D9CE-6B75-48C0-A213-ACF56F4F64AD}"/>
              </a:ext>
            </a:extLst>
          </p:cNvPr>
          <p:cNvSpPr/>
          <p:nvPr/>
        </p:nvSpPr>
        <p:spPr>
          <a:xfrm>
            <a:off x="538163" y="4725988"/>
            <a:ext cx="2562225" cy="306387"/>
          </a:xfrm>
          <a:prstGeom prst="accentCallout2">
            <a:avLst>
              <a:gd name="adj1" fmla="val 24330"/>
              <a:gd name="adj2" fmla="val 104121"/>
              <a:gd name="adj3" fmla="val 24329"/>
              <a:gd name="adj4" fmla="val 120649"/>
              <a:gd name="adj5" fmla="val -54887"/>
              <a:gd name="adj6" fmla="val 17290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B3F75"/>
            </a:solidFill>
          </a:ln>
        </p:spPr>
        <p:txBody>
          <a:bodyPr lIns="0" tIns="0" rIns="0" bIns="0" anchor="ctr"/>
          <a:lstStyle/>
          <a:p>
            <a:pPr marL="180000">
              <a:defRPr/>
            </a:pPr>
            <a:r>
              <a:rPr lang="en-GB" sz="1200" b="1" dirty="0">
                <a:solidFill>
                  <a:schemeClr val="tx2"/>
                </a:solidFill>
              </a:rPr>
              <a:t>4. Gap closers</a:t>
            </a:r>
          </a:p>
        </p:txBody>
      </p:sp>
      <p:sp>
        <p:nvSpPr>
          <p:cNvPr id="15" name="Legende mit Linie 2 (Markierungsleiste) 14">
            <a:extLst>
              <a:ext uri="{FF2B5EF4-FFF2-40B4-BE49-F238E27FC236}">
                <a16:creationId xmlns:a16="http://schemas.microsoft.com/office/drawing/2014/main" id="{F5672E31-EDCD-4988-8D00-D82DB094BE69}"/>
              </a:ext>
            </a:extLst>
          </p:cNvPr>
          <p:cNvSpPr/>
          <p:nvPr/>
        </p:nvSpPr>
        <p:spPr>
          <a:xfrm>
            <a:off x="546100" y="4229100"/>
            <a:ext cx="2562225" cy="377825"/>
          </a:xfrm>
          <a:prstGeom prst="accentCallout2">
            <a:avLst>
              <a:gd name="adj1" fmla="val 24330"/>
              <a:gd name="adj2" fmla="val 104121"/>
              <a:gd name="adj3" fmla="val 24329"/>
              <a:gd name="adj4" fmla="val 120649"/>
              <a:gd name="adj5" fmla="val -336141"/>
              <a:gd name="adj6" fmla="val 231973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B3F75"/>
            </a:solidFill>
          </a:ln>
        </p:spPr>
        <p:txBody>
          <a:bodyPr lIns="0" tIns="0" rIns="0" bIns="0" anchor="ctr"/>
          <a:lstStyle/>
          <a:p>
            <a:pPr marL="180000">
              <a:defRPr/>
            </a:pPr>
            <a:r>
              <a:rPr lang="en-GB" sz="1200" b="1" dirty="0">
                <a:solidFill>
                  <a:schemeClr val="tx2"/>
                </a:solidFill>
              </a:rPr>
              <a:t>3. Visible assistance system (colour will be defined)</a:t>
            </a:r>
          </a:p>
        </p:txBody>
      </p:sp>
      <p:sp>
        <p:nvSpPr>
          <p:cNvPr id="19" name="Legende mit Linie 2 (Markierungsleiste) 18">
            <a:extLst>
              <a:ext uri="{FF2B5EF4-FFF2-40B4-BE49-F238E27FC236}">
                <a16:creationId xmlns:a16="http://schemas.microsoft.com/office/drawing/2014/main" id="{A80E96E2-DF5B-490B-913A-A35FB6557E2C}"/>
              </a:ext>
            </a:extLst>
          </p:cNvPr>
          <p:cNvSpPr/>
          <p:nvPr/>
        </p:nvSpPr>
        <p:spPr>
          <a:xfrm>
            <a:off x="546100" y="3162300"/>
            <a:ext cx="2562225" cy="306388"/>
          </a:xfrm>
          <a:prstGeom prst="accentCallout2">
            <a:avLst>
              <a:gd name="adj1" fmla="val 24330"/>
              <a:gd name="adj2" fmla="val 104121"/>
              <a:gd name="adj3" fmla="val 24329"/>
              <a:gd name="adj4" fmla="val 120649"/>
              <a:gd name="adj5" fmla="val -91154"/>
              <a:gd name="adj6" fmla="val 225931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B3F75"/>
            </a:solidFill>
          </a:ln>
        </p:spPr>
        <p:txBody>
          <a:bodyPr lIns="0" tIns="0" rIns="0" bIns="0" anchor="ctr"/>
          <a:lstStyle/>
          <a:p>
            <a:pPr marL="180000">
              <a:defRPr/>
            </a:pPr>
            <a:r>
              <a:rPr lang="en-GB" sz="1200" b="1" dirty="0">
                <a:solidFill>
                  <a:schemeClr val="tx2"/>
                </a:solidFill>
              </a:rPr>
              <a:t>1. </a:t>
            </a:r>
            <a:r>
              <a:rPr lang="en-US" sz="1200" b="1" dirty="0">
                <a:solidFill>
                  <a:schemeClr val="tx2"/>
                </a:solidFill>
              </a:rPr>
              <a:t>Automated and live warning</a:t>
            </a:r>
            <a:endParaRPr lang="en-GB" sz="1200" b="1" dirty="0">
              <a:solidFill>
                <a:schemeClr val="tx2"/>
              </a:solidFill>
            </a:endParaRPr>
          </a:p>
        </p:txBody>
      </p:sp>
      <p:sp>
        <p:nvSpPr>
          <p:cNvPr id="20" name="Legende mit Linie 2 (Markierungsleiste) 19">
            <a:extLst>
              <a:ext uri="{FF2B5EF4-FFF2-40B4-BE49-F238E27FC236}">
                <a16:creationId xmlns:a16="http://schemas.microsoft.com/office/drawing/2014/main" id="{2E412D34-8184-4B86-8A3E-CEE779A4E76D}"/>
              </a:ext>
            </a:extLst>
          </p:cNvPr>
          <p:cNvSpPr/>
          <p:nvPr/>
        </p:nvSpPr>
        <p:spPr>
          <a:xfrm>
            <a:off x="546100" y="5237163"/>
            <a:ext cx="2562225" cy="306387"/>
          </a:xfrm>
          <a:prstGeom prst="accentCallout2">
            <a:avLst>
              <a:gd name="adj1" fmla="val 24330"/>
              <a:gd name="adj2" fmla="val 104121"/>
              <a:gd name="adj3" fmla="val 24329"/>
              <a:gd name="adj4" fmla="val 120649"/>
              <a:gd name="adj5" fmla="val 53914"/>
              <a:gd name="adj6" fmla="val 228266"/>
            </a:avLst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B3F75"/>
            </a:solidFill>
          </a:ln>
        </p:spPr>
        <p:txBody>
          <a:bodyPr lIns="0" tIns="0" rIns="0" bIns="0" anchor="ctr"/>
          <a:lstStyle/>
          <a:p>
            <a:pPr marL="180000">
              <a:defRPr/>
            </a:pPr>
            <a:r>
              <a:rPr lang="en-GB" sz="1200" b="1" dirty="0">
                <a:solidFill>
                  <a:schemeClr val="tx2"/>
                </a:solidFill>
              </a:rPr>
              <a:t>5. Intelligent sliding step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2F7D4A-6A25-4385-9C50-80F5BF7141CC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10A0819C-9DF5-4191-ADFA-68C8F4F7EB77}" type="slidenum">
              <a:rPr lang="de-CH" altLang="de-DE" sz="750" smtClean="0"/>
              <a:pPr>
                <a:defRPr/>
              </a:pPr>
              <a:t>17</a:t>
            </a:fld>
            <a:endParaRPr lang="de-CH" altLang="de-DE" sz="750"/>
          </a:p>
        </p:txBody>
      </p:sp>
      <p:sp>
        <p:nvSpPr>
          <p:cNvPr id="16" name="Fußzeilenplatzhalter 7">
            <a:extLst>
              <a:ext uri="{FF2B5EF4-FFF2-40B4-BE49-F238E27FC236}">
                <a16:creationId xmlns:a16="http://schemas.microsoft.com/office/drawing/2014/main" id="{282E639F-0D4D-46B1-BD7F-AA277231EC13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789B1C21-D51E-4381-82B1-FA16785BC76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en-GB" sz="1600" dirty="0"/>
              <a:t>Scotland’s Unique Position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A8A1C444-9281-40D9-979B-F55EB1710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INEERING SOLUTIONS FOR YOUR TRANSPORT PROBLEMS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A2015DF5-5CA3-4B48-9CE9-F10502C727E8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pPr>
              <a:defRPr/>
            </a:pPr>
            <a:fld id="{595368BD-A080-47C3-977D-9E4B0E28FE28}" type="slidenum">
              <a:rPr lang="de-CH" altLang="de-DE" smtClean="0"/>
              <a:pPr>
                <a:defRPr/>
              </a:pPr>
              <a:t>18</a:t>
            </a:fld>
            <a:endParaRPr lang="de-CH" altLang="de-DE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4B0CF522-E7B5-4048-AAA4-EB34534A97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6076" y="1858305"/>
            <a:ext cx="3343275" cy="3190875"/>
          </a:xfrm>
          <a:prstGeom prst="rect">
            <a:avLst/>
          </a:prstGeom>
        </p:spPr>
      </p:pic>
      <p:sp>
        <p:nvSpPr>
          <p:cNvPr id="26" name="Title 20">
            <a:extLst>
              <a:ext uri="{FF2B5EF4-FFF2-40B4-BE49-F238E27FC236}">
                <a16:creationId xmlns:a16="http://schemas.microsoft.com/office/drawing/2014/main" id="{8211BBBD-A1BA-4D55-92A3-5A977919E7CC}"/>
              </a:ext>
            </a:extLst>
          </p:cNvPr>
          <p:cNvSpPr txBox="1">
            <a:spLocks/>
          </p:cNvSpPr>
          <p:nvPr/>
        </p:nvSpPr>
        <p:spPr>
          <a:xfrm>
            <a:off x="700166" y="2229606"/>
            <a:ext cx="3879850" cy="3359634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/>
              <a:t>2035 Decarbonis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/>
              <a:t>Mixed  Infrastructur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/>
              <a:t>Bridging the gap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/>
              <a:t>Novel solutions required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0B8E63A-CBE7-4EA7-827B-5D455C9EBF42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1922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3EC6CAA-B729-49DF-B6BF-8F22376E41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US" dirty="0"/>
              <a:t>The Regional Train concept for the UK</a:t>
            </a:r>
            <a:endParaRPr lang="de-CH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225C9493-1B6F-4DB8-8340-8BCBBC4FE9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en-GB" dirty="0" err="1"/>
              <a:t>Flirt</a:t>
            </a:r>
            <a:r>
              <a:rPr lang="en-GB" baseline="30000" dirty="0" err="1"/>
              <a:t>UK</a:t>
            </a:r>
            <a:endParaRPr lang="de-CH" baseline="30000" dirty="0"/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FD26B644-C56E-4F86-8735-856E5143A7DB}"/>
              </a:ext>
            </a:extLst>
          </p:cNvPr>
          <p:cNvSpPr txBox="1">
            <a:spLocks/>
          </p:cNvSpPr>
          <p:nvPr/>
        </p:nvSpPr>
        <p:spPr>
          <a:xfrm>
            <a:off x="539750" y="5842000"/>
            <a:ext cx="8064500" cy="431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chemeClr val="bg1"/>
                </a:solidFill>
              </a:rPr>
              <a:t>Stadler’s Multi Talent</a:t>
            </a:r>
          </a:p>
        </p:txBody>
      </p:sp>
      <p:pic>
        <p:nvPicPr>
          <p:cNvPr id="65541" name="Picture 2">
            <a:extLst>
              <a:ext uri="{FF2B5EF4-FFF2-40B4-BE49-F238E27FC236}">
                <a16:creationId xmlns:a16="http://schemas.microsoft.com/office/drawing/2014/main" id="{91E4B431-6C76-4D57-A8E5-968A8E4D3B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895"/>
          <a:stretch>
            <a:fillRect/>
          </a:stretch>
        </p:blipFill>
        <p:spPr bwMode="auto">
          <a:xfrm>
            <a:off x="539750" y="1500188"/>
            <a:ext cx="8059738" cy="402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BDEEAE-145F-4B15-B3D9-76C73BFC51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smtClean="0"/>
              <a:pPr/>
              <a:t>19</a:t>
            </a:fld>
            <a:endParaRPr lang="de-CH" sz="75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9241802-5FED-4187-BC3D-41CEF4C4C36A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CH" sz="750"/>
              <a:t>Programme Lead | James McCaffery | © Stadler | 23.06.2023</a:t>
            </a:r>
            <a:endParaRPr lang="de-CH" sz="750" dirty="0"/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Bildplatzhalter 37">
            <a:extLst>
              <a:ext uri="{FF2B5EF4-FFF2-40B4-BE49-F238E27FC236}">
                <a16:creationId xmlns:a16="http://schemas.microsoft.com/office/drawing/2014/main" id="{66A00CD1-FAD3-46D7-B3BF-13AD539A652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8"/>
          <a:stretch/>
        </p:blipFill>
        <p:spPr>
          <a:xfrm>
            <a:off x="538352" y="1599697"/>
            <a:ext cx="1705729" cy="799837"/>
          </a:xfrm>
          <a:prstGeom prst="rect">
            <a:avLst/>
          </a:prstGeom>
          <a:noFill/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9B7936-7E06-4857-8FFC-205C2DB29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Title | Name | © Stadler | xx.xx.2023</a:t>
            </a:r>
            <a:endParaRPr lang="de-CH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268CF2-722D-40D5-8F58-CE74E097A6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2</a:t>
            </a:fld>
            <a:endParaRPr lang="de-CH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23AA7E9-FA5D-4C5F-AE10-6EE88709C0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dirty="0"/>
              <a:t>STADLER RAIL GROUP</a:t>
            </a:r>
          </a:p>
        </p:txBody>
      </p:sp>
      <p:sp>
        <p:nvSpPr>
          <p:cNvPr id="30" name="Titel 29">
            <a:extLst>
              <a:ext uri="{FF2B5EF4-FFF2-40B4-BE49-F238E27FC236}">
                <a16:creationId xmlns:a16="http://schemas.microsoft.com/office/drawing/2014/main" id="{CF01D953-7EFA-483F-BA53-9C3A195FD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Divisions</a:t>
            </a:r>
            <a:r>
              <a:rPr lang="de-CH"/>
              <a:t> 2023</a:t>
            </a:r>
            <a:endParaRPr lang="de-CH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4BED86BC-4DC1-429E-99A1-A6BAF9FD7DD5}"/>
              </a:ext>
            </a:extLst>
          </p:cNvPr>
          <p:cNvSpPr/>
          <p:nvPr/>
        </p:nvSpPr>
        <p:spPr>
          <a:xfrm>
            <a:off x="542014" y="2472466"/>
            <a:ext cx="1702518" cy="227598"/>
          </a:xfrm>
          <a:custGeom>
            <a:avLst/>
            <a:gdLst>
              <a:gd name="connsiteX0" fmla="*/ 0 w 1202980"/>
              <a:gd name="connsiteY0" fmla="*/ 0 h 403204"/>
              <a:gd name="connsiteX1" fmla="*/ 1202980 w 1202980"/>
              <a:gd name="connsiteY1" fmla="*/ 0 h 403204"/>
              <a:gd name="connsiteX2" fmla="*/ 1202980 w 1202980"/>
              <a:gd name="connsiteY2" fmla="*/ 403204 h 403204"/>
              <a:gd name="connsiteX3" fmla="*/ 0 w 1202980"/>
              <a:gd name="connsiteY3" fmla="*/ 403204 h 403204"/>
              <a:gd name="connsiteX4" fmla="*/ 0 w 1202980"/>
              <a:gd name="connsiteY4" fmla="*/ 0 h 403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4">
                <a:moveTo>
                  <a:pt x="0" y="0"/>
                </a:moveTo>
                <a:lnTo>
                  <a:pt x="1202980" y="0"/>
                </a:lnTo>
                <a:lnTo>
                  <a:pt x="1202980" y="403204"/>
                </a:lnTo>
                <a:lnTo>
                  <a:pt x="0" y="40320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chemeClr val="accent1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1">
            <a:scrgbClr r="0" g="0" b="0"/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100" b="1" kern="1200" dirty="0"/>
              <a:t>Switzerland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C5FCFC4F-A5ED-4709-8DD9-9FE9D3D235A5}"/>
              </a:ext>
            </a:extLst>
          </p:cNvPr>
          <p:cNvSpPr/>
          <p:nvPr/>
        </p:nvSpPr>
        <p:spPr>
          <a:xfrm>
            <a:off x="541281" y="2708170"/>
            <a:ext cx="1702800" cy="828780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Bussnang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St. Margrethen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Altenrhein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Salt Lake City, USA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E38A5D1C-A69A-497D-B718-CE662F18CBE5}"/>
              </a:ext>
            </a:extLst>
          </p:cNvPr>
          <p:cNvSpPr/>
          <p:nvPr/>
        </p:nvSpPr>
        <p:spPr>
          <a:xfrm>
            <a:off x="2392627" y="2472467"/>
            <a:ext cx="1702518" cy="22759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Germany</a:t>
            </a: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9E7D1329-CBE5-4027-9516-3DF58EE5BA67}"/>
              </a:ext>
            </a:extLst>
          </p:cNvPr>
          <p:cNvSpPr/>
          <p:nvPr/>
        </p:nvSpPr>
        <p:spPr>
          <a:xfrm>
            <a:off x="2396705" y="2700062"/>
            <a:ext cx="1698438" cy="828780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Berlin, DE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Mannheim, DE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Chemnitz, DE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AE7EF85-B747-4089-A69C-D74B9CFD8EEB}"/>
              </a:ext>
            </a:extLst>
          </p:cNvPr>
          <p:cNvSpPr/>
          <p:nvPr/>
        </p:nvSpPr>
        <p:spPr>
          <a:xfrm>
            <a:off x="4251396" y="2472467"/>
            <a:ext cx="1702518" cy="22759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omponents</a:t>
            </a: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651218EF-0B92-45CE-98A9-6FA8823056ED}"/>
              </a:ext>
            </a:extLst>
          </p:cNvPr>
          <p:cNvSpPr/>
          <p:nvPr/>
        </p:nvSpPr>
        <p:spPr>
          <a:xfrm>
            <a:off x="4255474" y="2700062"/>
            <a:ext cx="1698438" cy="828780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Winterthur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Biel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 err="1"/>
              <a:t>Szolnok</a:t>
            </a:r>
            <a:r>
              <a:rPr lang="de-CH" sz="1100" dirty="0"/>
              <a:t>, HUN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 err="1"/>
              <a:t>Środa</a:t>
            </a:r>
            <a:r>
              <a:rPr lang="de-CH" sz="1100" dirty="0"/>
              <a:t>, PL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07FEBE6F-26B8-4827-987D-7CE0C11580DA}"/>
              </a:ext>
            </a:extLst>
          </p:cNvPr>
          <p:cNvSpPr/>
          <p:nvPr/>
        </p:nvSpPr>
        <p:spPr>
          <a:xfrm>
            <a:off x="539750" y="4526441"/>
            <a:ext cx="1705730" cy="25035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Central Europe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554264C-094F-4498-B1BE-033AB876B261}"/>
              </a:ext>
            </a:extLst>
          </p:cNvPr>
          <p:cNvSpPr/>
          <p:nvPr/>
        </p:nvSpPr>
        <p:spPr>
          <a:xfrm>
            <a:off x="543828" y="4776796"/>
            <a:ext cx="1700253" cy="880029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 err="1"/>
              <a:t>Siedlce</a:t>
            </a:r>
            <a:r>
              <a:rPr lang="de-CH" sz="1100" dirty="0"/>
              <a:t>, PL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Prag, CZE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Minsk, BLR</a:t>
            </a:r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D2DBB050-1015-483C-BFFD-1D36281BBDE8}"/>
              </a:ext>
            </a:extLst>
          </p:cNvPr>
          <p:cNvSpPr/>
          <p:nvPr/>
        </p:nvSpPr>
        <p:spPr>
          <a:xfrm>
            <a:off x="2396006" y="4526441"/>
            <a:ext cx="1705730" cy="25035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Signalling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F64B0DD4-F7AD-4D76-A460-B21FEFC26AF8}"/>
              </a:ext>
            </a:extLst>
          </p:cNvPr>
          <p:cNvSpPr/>
          <p:nvPr/>
        </p:nvSpPr>
        <p:spPr>
          <a:xfrm>
            <a:off x="2400084" y="4776796"/>
            <a:ext cx="1701652" cy="880029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Wallisellen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Fehraltorf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 err="1"/>
              <a:t>Vufflens</a:t>
            </a:r>
            <a:r>
              <a:rPr lang="de-CH" sz="1100" dirty="0"/>
              <a:t>-la-</a:t>
            </a:r>
            <a:r>
              <a:rPr lang="de-CH" sz="1100" dirty="0" err="1"/>
              <a:t>Ville</a:t>
            </a:r>
            <a:r>
              <a:rPr lang="de-CH" sz="1100" dirty="0"/>
              <a:t>, CH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Braunschweig, DE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C9930E47-4C66-45CD-9F82-27B7063CCDF6}"/>
              </a:ext>
            </a:extLst>
          </p:cNvPr>
          <p:cNvSpPr/>
          <p:nvPr/>
        </p:nvSpPr>
        <p:spPr>
          <a:xfrm>
            <a:off x="4251396" y="4526441"/>
            <a:ext cx="1705730" cy="25035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Spain</a:t>
            </a:r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CC3402DD-085D-434D-926F-457FB7C942CF}"/>
              </a:ext>
            </a:extLst>
          </p:cNvPr>
          <p:cNvSpPr/>
          <p:nvPr/>
        </p:nvSpPr>
        <p:spPr>
          <a:xfrm>
            <a:off x="4253661" y="4776796"/>
            <a:ext cx="1702518" cy="880029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1" spcCol="1270" anchor="t" anchorCtr="0">
            <a:noAutofit/>
          </a:bodyPr>
          <a:lstStyle/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Valencia, ES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ERION, ES</a:t>
            </a:r>
          </a:p>
          <a:p>
            <a:pPr marL="171450" lvl="1" indent="-171450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Symbol" panose="05050102010706020507" pitchFamily="18" charset="2"/>
              <a:buChar char="-"/>
            </a:pPr>
            <a:r>
              <a:rPr lang="de-CH" sz="1100" dirty="0"/>
              <a:t>ERION, F</a:t>
            </a:r>
          </a:p>
        </p:txBody>
      </p:sp>
      <p:sp>
        <p:nvSpPr>
          <p:cNvPr id="72" name="Freihandform: Form 71">
            <a:extLst>
              <a:ext uri="{FF2B5EF4-FFF2-40B4-BE49-F238E27FC236}">
                <a16:creationId xmlns:a16="http://schemas.microsoft.com/office/drawing/2014/main" id="{64773688-87D5-4E46-8AB2-66FDD767312A}"/>
              </a:ext>
            </a:extLst>
          </p:cNvPr>
          <p:cNvSpPr/>
          <p:nvPr/>
        </p:nvSpPr>
        <p:spPr>
          <a:xfrm>
            <a:off x="6105921" y="2472470"/>
            <a:ext cx="2498330" cy="227595"/>
          </a:xfrm>
          <a:custGeom>
            <a:avLst/>
            <a:gdLst>
              <a:gd name="connsiteX0" fmla="*/ 0 w 1202980"/>
              <a:gd name="connsiteY0" fmla="*/ 0 h 403200"/>
              <a:gd name="connsiteX1" fmla="*/ 1202980 w 1202980"/>
              <a:gd name="connsiteY1" fmla="*/ 0 h 403200"/>
              <a:gd name="connsiteX2" fmla="*/ 1202980 w 1202980"/>
              <a:gd name="connsiteY2" fmla="*/ 403200 h 403200"/>
              <a:gd name="connsiteX3" fmla="*/ 0 w 1202980"/>
              <a:gd name="connsiteY3" fmla="*/ 403200 h 403200"/>
              <a:gd name="connsiteX4" fmla="*/ 0 w 1202980"/>
              <a:gd name="connsiteY4" fmla="*/ 0 h 40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403200">
                <a:moveTo>
                  <a:pt x="0" y="0"/>
                </a:moveTo>
                <a:lnTo>
                  <a:pt x="1202980" y="0"/>
                </a:lnTo>
                <a:lnTo>
                  <a:pt x="1202980" y="403200"/>
                </a:lnTo>
                <a:lnTo>
                  <a:pt x="0" y="4032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rgbClr val="1E5A9A"/>
              </a:gs>
              <a:gs pos="100000">
                <a:srgbClr val="007BC0"/>
              </a:gs>
            </a:gsLst>
            <a:lin ang="13500000" scaled="1"/>
            <a:tileRect/>
          </a:gradFill>
          <a:ln w="9525" cap="flat" cmpd="sng" algn="ctr">
            <a:noFill/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e-CH" sz="1200" b="1" kern="1200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Service</a:t>
            </a:r>
          </a:p>
        </p:txBody>
      </p:sp>
      <p:sp>
        <p:nvSpPr>
          <p:cNvPr id="73" name="Freihandform: Form 72">
            <a:extLst>
              <a:ext uri="{FF2B5EF4-FFF2-40B4-BE49-F238E27FC236}">
                <a16:creationId xmlns:a16="http://schemas.microsoft.com/office/drawing/2014/main" id="{E8ED1AE6-DA07-4DF2-8768-3E5CF5B980BE}"/>
              </a:ext>
            </a:extLst>
          </p:cNvPr>
          <p:cNvSpPr/>
          <p:nvPr/>
        </p:nvSpPr>
        <p:spPr>
          <a:xfrm>
            <a:off x="6105920" y="2700066"/>
            <a:ext cx="2498331" cy="1989074"/>
          </a:xfrm>
          <a:custGeom>
            <a:avLst/>
            <a:gdLst>
              <a:gd name="connsiteX0" fmla="*/ 0 w 1202980"/>
              <a:gd name="connsiteY0" fmla="*/ 0 h 880029"/>
              <a:gd name="connsiteX1" fmla="*/ 1202980 w 1202980"/>
              <a:gd name="connsiteY1" fmla="*/ 0 h 880029"/>
              <a:gd name="connsiteX2" fmla="*/ 1202980 w 1202980"/>
              <a:gd name="connsiteY2" fmla="*/ 880029 h 880029"/>
              <a:gd name="connsiteX3" fmla="*/ 0 w 1202980"/>
              <a:gd name="connsiteY3" fmla="*/ 880029 h 880029"/>
              <a:gd name="connsiteX4" fmla="*/ 0 w 1202980"/>
              <a:gd name="connsiteY4" fmla="*/ 0 h 88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02980" h="880029">
                <a:moveTo>
                  <a:pt x="0" y="0"/>
                </a:moveTo>
                <a:lnTo>
                  <a:pt x="1202980" y="0"/>
                </a:lnTo>
                <a:lnTo>
                  <a:pt x="1202980" y="880029"/>
                </a:lnTo>
                <a:lnTo>
                  <a:pt x="0" y="8800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58674" rIns="78232" bIns="88011" numCol="2" spcCol="1270" anchor="t" anchorCtr="0">
            <a:noAutofit/>
          </a:bodyPr>
          <a:lstStyle/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Algeria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Denmark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Germany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Finland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France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Georgia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Italy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Netherlands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Norway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Austria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Poland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Portugal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Russia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Serbia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Sweden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Switzerland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Spain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Turkey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UK</a:t>
            </a:r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 err="1"/>
              <a:t>Hungary</a:t>
            </a:r>
            <a:endParaRPr lang="de-CH" sz="1100" dirty="0"/>
          </a:p>
          <a:p>
            <a:pPr marL="171450" indent="-171450">
              <a:lnSpc>
                <a:spcPts val="1300"/>
              </a:lnSpc>
              <a:buFont typeface="Symbol" panose="05050102010706020507" pitchFamily="18" charset="2"/>
              <a:buChar char="-"/>
            </a:pPr>
            <a:r>
              <a:rPr lang="de-CH" sz="1100" dirty="0"/>
              <a:t>USA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sz="1100" dirty="0"/>
              <a:t>Belarus</a:t>
            </a:r>
            <a:endParaRPr lang="de-CH" sz="1100" dirty="0"/>
          </a:p>
        </p:txBody>
      </p:sp>
      <p:pic>
        <p:nvPicPr>
          <p:cNvPr id="77" name="Bildplatzhalter 14">
            <a:extLst>
              <a:ext uri="{FF2B5EF4-FFF2-40B4-BE49-F238E27FC236}">
                <a16:creationId xmlns:a16="http://schemas.microsoft.com/office/drawing/2014/main" id="{F9F01066-6600-4BC9-A52C-4CBB694112F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" t="20327" r="237" b="8210"/>
          <a:stretch/>
        </p:blipFill>
        <p:spPr>
          <a:xfrm>
            <a:off x="4251395" y="1615338"/>
            <a:ext cx="1702517" cy="794703"/>
          </a:xfrm>
          <a:prstGeom prst="rect">
            <a:avLst/>
          </a:prstGeom>
          <a:noFill/>
        </p:spPr>
      </p:pic>
      <p:pic>
        <p:nvPicPr>
          <p:cNvPr id="78" name="Grafik 2">
            <a:extLst>
              <a:ext uri="{FF2B5EF4-FFF2-40B4-BE49-F238E27FC236}">
                <a16:creationId xmlns:a16="http://schemas.microsoft.com/office/drawing/2014/main" id="{8AF0AB69-16D4-4666-ABFC-295998A2B0F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72" b="6029"/>
          <a:stretch/>
        </p:blipFill>
        <p:spPr>
          <a:xfrm>
            <a:off x="2392627" y="3680748"/>
            <a:ext cx="1702518" cy="789473"/>
          </a:xfrm>
          <a:prstGeom prst="rect">
            <a:avLst/>
          </a:prstGeom>
          <a:noFill/>
        </p:spPr>
      </p:pic>
      <p:pic>
        <p:nvPicPr>
          <p:cNvPr id="79" name="Bildplatzhalter 8" descr="4.png">
            <a:extLst>
              <a:ext uri="{FF2B5EF4-FFF2-40B4-BE49-F238E27FC236}">
                <a16:creationId xmlns:a16="http://schemas.microsoft.com/office/drawing/2014/main" id="{8E99A561-2E17-401C-A1AC-089D06FD8E3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1" b="8798"/>
          <a:stretch/>
        </p:blipFill>
        <p:spPr>
          <a:xfrm>
            <a:off x="4243938" y="3680748"/>
            <a:ext cx="1702517" cy="789473"/>
          </a:xfrm>
          <a:prstGeom prst="rect">
            <a:avLst/>
          </a:prstGeom>
          <a:noFill/>
        </p:spPr>
      </p:pic>
      <p:pic>
        <p:nvPicPr>
          <p:cNvPr id="80" name="Bildplatzhalter 13" descr="9.png">
            <a:extLst>
              <a:ext uri="{FF2B5EF4-FFF2-40B4-BE49-F238E27FC236}">
                <a16:creationId xmlns:a16="http://schemas.microsoft.com/office/drawing/2014/main" id="{D5BE33B6-52DA-40DB-87BA-F8762AA699B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" t="2463" r="938" b="20777"/>
          <a:stretch/>
        </p:blipFill>
        <p:spPr>
          <a:xfrm>
            <a:off x="539551" y="3671822"/>
            <a:ext cx="1693609" cy="791739"/>
          </a:xfrm>
          <a:prstGeom prst="rect">
            <a:avLst/>
          </a:prstGeom>
          <a:noFill/>
        </p:spPr>
      </p:pic>
      <p:pic>
        <p:nvPicPr>
          <p:cNvPr id="81" name="Bildplatzhalter 10">
            <a:extLst>
              <a:ext uri="{FF2B5EF4-FFF2-40B4-BE49-F238E27FC236}">
                <a16:creationId xmlns:a16="http://schemas.microsoft.com/office/drawing/2014/main" id="{1C5FE2E6-EEFE-4D86-BACB-EF9517DBCE8D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43" b="11430"/>
          <a:stretch/>
        </p:blipFill>
        <p:spPr>
          <a:xfrm>
            <a:off x="6114243" y="1610486"/>
            <a:ext cx="2483665" cy="799200"/>
          </a:xfrm>
          <a:prstGeom prst="rect">
            <a:avLst/>
          </a:prstGeom>
          <a:noFill/>
        </p:spPr>
      </p:pic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69D777B-B423-4F1F-97BA-5B418B4EA583}"/>
              </a:ext>
            </a:extLst>
          </p:cNvPr>
          <p:cNvSpPr txBox="1">
            <a:spLocks/>
          </p:cNvSpPr>
          <p:nvPr/>
        </p:nvSpPr>
        <p:spPr>
          <a:xfrm>
            <a:off x="540000" y="6021336"/>
            <a:ext cx="8064500" cy="4320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anchor="ctr" anchorCtr="0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dirty="0"/>
              <a:t>Consolidated </a:t>
            </a:r>
            <a:r>
              <a:rPr lang="de-CH" dirty="0" err="1">
                <a:solidFill>
                  <a:schemeClr val="bg1"/>
                </a:solidFill>
              </a:rPr>
              <a:t>turnover</a:t>
            </a:r>
            <a:r>
              <a:rPr lang="de-CH" dirty="0">
                <a:solidFill>
                  <a:schemeClr val="bg1"/>
                </a:solidFill>
              </a:rPr>
              <a:t> in 2021: CHF 3.6 </a:t>
            </a:r>
            <a:r>
              <a:rPr lang="de-CH" dirty="0" err="1">
                <a:solidFill>
                  <a:schemeClr val="bg1"/>
                </a:solidFill>
              </a:rPr>
              <a:t>billion</a:t>
            </a:r>
            <a:r>
              <a:rPr lang="de-CH" dirty="0">
                <a:solidFill>
                  <a:schemeClr val="bg1"/>
                </a:solidFill>
              </a:rPr>
              <a:t> | </a:t>
            </a:r>
            <a:r>
              <a:rPr lang="de-CH" dirty="0" err="1"/>
              <a:t>Number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employees</a:t>
            </a:r>
            <a:r>
              <a:rPr lang="de-CH" dirty="0"/>
              <a:t> (</a:t>
            </a:r>
            <a:r>
              <a:rPr lang="de-CH" dirty="0" err="1">
                <a:solidFill>
                  <a:schemeClr val="bg1"/>
                </a:solidFill>
              </a:rPr>
              <a:t>average</a:t>
            </a:r>
            <a:r>
              <a:rPr lang="de-CH" dirty="0">
                <a:solidFill>
                  <a:schemeClr val="bg1"/>
                </a:solidFill>
              </a:rPr>
              <a:t> FTE 2021): 13 067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E26B84B5-2027-4C92-9201-0C69069978A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627" y="1606577"/>
            <a:ext cx="1688412" cy="78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182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CEC3B00-F56A-40F1-BE72-7CEF0A66D51E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39750" y="798513"/>
            <a:ext cx="8064500" cy="395287"/>
          </a:xfrm>
        </p:spPr>
        <p:txBody>
          <a:bodyPr/>
          <a:lstStyle/>
          <a:p>
            <a:pPr>
              <a:defRPr/>
            </a:pPr>
            <a:r>
              <a:rPr lang="en-GB" dirty="0"/>
              <a:t>Modular Concep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42A530B-5E7C-47EF-86BC-276E2499F1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GB" dirty="0" err="1"/>
              <a:t>Flirt</a:t>
            </a:r>
            <a:r>
              <a:rPr lang="en-GB" baseline="30000" dirty="0" err="1"/>
              <a:t>UK</a:t>
            </a:r>
            <a:endParaRPr lang="en-GB" baseline="30000" dirty="0"/>
          </a:p>
        </p:txBody>
      </p:sp>
      <p:sp>
        <p:nvSpPr>
          <p:cNvPr id="68612" name="Inhaltsplatzhalter 2">
            <a:extLst>
              <a:ext uri="{FF2B5EF4-FFF2-40B4-BE49-F238E27FC236}">
                <a16:creationId xmlns:a16="http://schemas.microsoft.com/office/drawing/2014/main" id="{248718D6-FA6F-43D9-9F6A-7351E9D4D205}"/>
              </a:ext>
            </a:extLst>
          </p:cNvPr>
          <p:cNvSpPr txBox="1">
            <a:spLocks/>
          </p:cNvSpPr>
          <p:nvPr/>
        </p:nvSpPr>
        <p:spPr bwMode="auto">
          <a:xfrm>
            <a:off x="647700" y="1296988"/>
            <a:ext cx="6791325" cy="353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tabLst>
                <a:tab pos="4783138" algn="l"/>
                <a:tab pos="54705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AutoNum type="arabicPeriod"/>
            </a:pPr>
            <a:r>
              <a:rPr lang="de-CH" altLang="de-DE" b="1" dirty="0">
                <a:solidFill>
                  <a:schemeClr val="tx2"/>
                </a:solidFill>
              </a:rPr>
              <a:t>EMU 12-car</a:t>
            </a: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r>
              <a:rPr lang="de-CH" altLang="de-DE" b="1" dirty="0">
                <a:solidFill>
                  <a:schemeClr val="tx2"/>
                </a:solidFill>
              </a:rPr>
              <a:t>BMU 4-car (3rd Rail, 25kVAC </a:t>
            </a:r>
            <a:r>
              <a:rPr lang="de-CH" altLang="de-DE" b="1" dirty="0" err="1">
                <a:solidFill>
                  <a:schemeClr val="tx2"/>
                </a:solidFill>
              </a:rPr>
              <a:t>or</a:t>
            </a:r>
            <a:r>
              <a:rPr lang="de-CH" altLang="de-DE" b="1" dirty="0">
                <a:solidFill>
                  <a:schemeClr val="tx2"/>
                </a:solidFill>
              </a:rPr>
              <a:t> pure DMU)</a:t>
            </a: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endParaRPr lang="de-CH" altLang="de-DE" b="1" dirty="0">
              <a:solidFill>
                <a:schemeClr val="tx2"/>
              </a:solidFill>
            </a:endParaRPr>
          </a:p>
          <a:p>
            <a:pPr eaLnBrk="1" hangingPunct="1">
              <a:buFont typeface="Arial" panose="020B0604020202020204" pitchFamily="34" charset="0"/>
              <a:buAutoNum type="arabicPeriod"/>
            </a:pPr>
            <a:r>
              <a:rPr lang="de-CH" altLang="de-DE" b="1" dirty="0">
                <a:solidFill>
                  <a:schemeClr val="tx2"/>
                </a:solidFill>
              </a:rPr>
              <a:t>BMU 3-car (3rd Rail, 25kVAC </a:t>
            </a:r>
            <a:r>
              <a:rPr lang="en-GB" altLang="de-DE" b="1" dirty="0">
                <a:solidFill>
                  <a:schemeClr val="tx2"/>
                </a:solidFill>
              </a:rPr>
              <a:t>or</a:t>
            </a:r>
            <a:r>
              <a:rPr lang="de-CH" altLang="de-DE" b="1" dirty="0">
                <a:solidFill>
                  <a:schemeClr val="tx2"/>
                </a:solidFill>
              </a:rPr>
              <a:t> pure DMU)</a:t>
            </a:r>
          </a:p>
        </p:txBody>
      </p:sp>
      <p:sp>
        <p:nvSpPr>
          <p:cNvPr id="68613" name="Textplatzhalter 4">
            <a:extLst>
              <a:ext uri="{FF2B5EF4-FFF2-40B4-BE49-F238E27FC236}">
                <a16:creationId xmlns:a16="http://schemas.microsoft.com/office/drawing/2014/main" id="{AEE8BB75-D0B3-4352-9BB1-4897A2318241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87338" y="5553075"/>
            <a:ext cx="8424862" cy="936625"/>
          </a:xfrm>
          <a:ln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/>
              <a:t>Two different car length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/>
              <a:t>One Power Pack for all DMU and BMU (number of Diesel engines may vary)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/>
              <a:t>Same Trailer-, Motor-, and Jacobs bogie for all units.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/>
              <a:t>Same entrance level for all units</a:t>
            </a:r>
          </a:p>
        </p:txBody>
      </p:sp>
      <p:pic>
        <p:nvPicPr>
          <p:cNvPr id="68614" name="Picture 2">
            <a:extLst>
              <a:ext uri="{FF2B5EF4-FFF2-40B4-BE49-F238E27FC236}">
                <a16:creationId xmlns:a16="http://schemas.microsoft.com/office/drawing/2014/main" id="{C4240EC3-A9C2-430A-8881-E57F427886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1638300"/>
            <a:ext cx="806291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5" name="Picture 3">
            <a:extLst>
              <a:ext uri="{FF2B5EF4-FFF2-40B4-BE49-F238E27FC236}">
                <a16:creationId xmlns:a16="http://schemas.microsoft.com/office/drawing/2014/main" id="{4E305A6F-BD48-420F-BC27-EA18D3F68C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2046288"/>
            <a:ext cx="806291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Ellipse 26">
            <a:extLst>
              <a:ext uri="{FF2B5EF4-FFF2-40B4-BE49-F238E27FC236}">
                <a16:creationId xmlns:a16="http://schemas.microsoft.com/office/drawing/2014/main" id="{FA997167-5EE1-4D29-A889-006D24EB7EDD}"/>
              </a:ext>
            </a:extLst>
          </p:cNvPr>
          <p:cNvSpPr/>
          <p:nvPr/>
        </p:nvSpPr>
        <p:spPr>
          <a:xfrm>
            <a:off x="3348038" y="1700213"/>
            <a:ext cx="2649537" cy="266700"/>
          </a:xfrm>
          <a:prstGeom prst="ellipse">
            <a:avLst/>
          </a:prstGeom>
          <a:noFill/>
          <a:ln>
            <a:solidFill>
              <a:srgbClr val="FF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04499F8E-EDCC-47CB-9113-5D146C81C15B}"/>
              </a:ext>
            </a:extLst>
          </p:cNvPr>
          <p:cNvSpPr/>
          <p:nvPr/>
        </p:nvSpPr>
        <p:spPr>
          <a:xfrm>
            <a:off x="728663" y="1814513"/>
            <a:ext cx="436562" cy="18256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9A14B4E6-94D0-4E89-B418-46BE852828EA}"/>
              </a:ext>
            </a:extLst>
          </p:cNvPr>
          <p:cNvSpPr/>
          <p:nvPr/>
        </p:nvSpPr>
        <p:spPr>
          <a:xfrm>
            <a:off x="585788" y="2271713"/>
            <a:ext cx="436562" cy="18256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0EA95C88-E88C-469B-89EE-5130B9A2F461}"/>
              </a:ext>
            </a:extLst>
          </p:cNvPr>
          <p:cNvSpPr/>
          <p:nvPr/>
        </p:nvSpPr>
        <p:spPr>
          <a:xfrm>
            <a:off x="7993063" y="2312988"/>
            <a:ext cx="434975" cy="182562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7A42A3EE-6469-4164-9EB6-7D3F83FAF33E}"/>
              </a:ext>
            </a:extLst>
          </p:cNvPr>
          <p:cNvSpPr/>
          <p:nvPr/>
        </p:nvSpPr>
        <p:spPr>
          <a:xfrm>
            <a:off x="8167688" y="1803400"/>
            <a:ext cx="436562" cy="18256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pic>
        <p:nvPicPr>
          <p:cNvPr id="68621" name="Picture 4">
            <a:extLst>
              <a:ext uri="{FF2B5EF4-FFF2-40B4-BE49-F238E27FC236}">
                <a16:creationId xmlns:a16="http://schemas.microsoft.com/office/drawing/2014/main" id="{F9233CA9-B83C-4149-B387-90AF7541E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" y="3105150"/>
            <a:ext cx="8045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Ellipse 34">
            <a:extLst>
              <a:ext uri="{FF2B5EF4-FFF2-40B4-BE49-F238E27FC236}">
                <a16:creationId xmlns:a16="http://schemas.microsoft.com/office/drawing/2014/main" id="{8CED01D4-C92E-4CAD-A3B5-7D77BABAAD33}"/>
              </a:ext>
            </a:extLst>
          </p:cNvPr>
          <p:cNvSpPr/>
          <p:nvPr/>
        </p:nvSpPr>
        <p:spPr>
          <a:xfrm>
            <a:off x="981075" y="3506788"/>
            <a:ext cx="433388" cy="19843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1B771159-40AE-4584-81A8-0E30CD3DAB46}"/>
              </a:ext>
            </a:extLst>
          </p:cNvPr>
          <p:cNvSpPr/>
          <p:nvPr/>
        </p:nvSpPr>
        <p:spPr>
          <a:xfrm>
            <a:off x="7812088" y="3519488"/>
            <a:ext cx="433387" cy="198437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AA915BAA-BE66-4202-8D09-EBA407590801}"/>
              </a:ext>
            </a:extLst>
          </p:cNvPr>
          <p:cNvSpPr/>
          <p:nvPr/>
        </p:nvSpPr>
        <p:spPr>
          <a:xfrm>
            <a:off x="4211638" y="3268663"/>
            <a:ext cx="833437" cy="3762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pic>
        <p:nvPicPr>
          <p:cNvPr id="68625" name="Picture 3">
            <a:extLst>
              <a:ext uri="{FF2B5EF4-FFF2-40B4-BE49-F238E27FC236}">
                <a16:creationId xmlns:a16="http://schemas.microsoft.com/office/drawing/2014/main" id="{8744C85F-1EDD-48CD-9C67-46637B5C1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38" y="4214813"/>
            <a:ext cx="661035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Ellipse 38">
            <a:extLst>
              <a:ext uri="{FF2B5EF4-FFF2-40B4-BE49-F238E27FC236}">
                <a16:creationId xmlns:a16="http://schemas.microsoft.com/office/drawing/2014/main" id="{2F09563B-890E-4BBD-97AF-5CAACD69673D}"/>
              </a:ext>
            </a:extLst>
          </p:cNvPr>
          <p:cNvSpPr/>
          <p:nvPr/>
        </p:nvSpPr>
        <p:spPr>
          <a:xfrm>
            <a:off x="927100" y="4635500"/>
            <a:ext cx="422275" cy="25241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EDB96F6A-1E87-4011-9EBE-54C85233652A}"/>
              </a:ext>
            </a:extLst>
          </p:cNvPr>
          <p:cNvSpPr/>
          <p:nvPr/>
        </p:nvSpPr>
        <p:spPr>
          <a:xfrm>
            <a:off x="6575425" y="4635500"/>
            <a:ext cx="423863" cy="25400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26DA527C-421E-4C88-8D38-66F87F6BC522}"/>
              </a:ext>
            </a:extLst>
          </p:cNvPr>
          <p:cNvSpPr/>
          <p:nvPr/>
        </p:nvSpPr>
        <p:spPr>
          <a:xfrm>
            <a:off x="4176713" y="4337050"/>
            <a:ext cx="814387" cy="4810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AC1D223B-64D9-4F9A-BBEE-261DAC2F086A}"/>
              </a:ext>
            </a:extLst>
          </p:cNvPr>
          <p:cNvSpPr txBox="1"/>
          <p:nvPr/>
        </p:nvSpPr>
        <p:spPr>
          <a:xfrm>
            <a:off x="534988" y="5049838"/>
            <a:ext cx="8250237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GB" dirty="0">
                <a:solidFill>
                  <a:srgbClr val="00B050"/>
                </a:solidFill>
              </a:rPr>
              <a:t>Motor bogie</a:t>
            </a:r>
            <a:r>
              <a:rPr lang="en-GB" dirty="0"/>
              <a:t>	</a:t>
            </a:r>
            <a:r>
              <a:rPr lang="en-GB" dirty="0">
                <a:solidFill>
                  <a:srgbClr val="FF0000"/>
                </a:solidFill>
              </a:rPr>
              <a:t>Power Pack</a:t>
            </a:r>
            <a:r>
              <a:rPr lang="en-GB" dirty="0"/>
              <a:t>	   </a:t>
            </a:r>
            <a:r>
              <a:rPr lang="en-GB" dirty="0">
                <a:solidFill>
                  <a:schemeClr val="accent3"/>
                </a:solidFill>
              </a:rPr>
              <a:t>Articulated design      </a:t>
            </a:r>
            <a:r>
              <a:rPr lang="en-GB" dirty="0">
                <a:solidFill>
                  <a:schemeClr val="tx2"/>
                </a:solidFill>
              </a:rPr>
              <a:t>Low floor Entrance</a:t>
            </a: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535752E9-CAC0-4B41-921D-D5EA7890030D}"/>
              </a:ext>
            </a:extLst>
          </p:cNvPr>
          <p:cNvSpPr/>
          <p:nvPr/>
        </p:nvSpPr>
        <p:spPr>
          <a:xfrm>
            <a:off x="2447925" y="1638300"/>
            <a:ext cx="323850" cy="358775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85A9190F-0C33-4769-A4D2-5F5177044F15}"/>
              </a:ext>
            </a:extLst>
          </p:cNvPr>
          <p:cNvSpPr/>
          <p:nvPr/>
        </p:nvSpPr>
        <p:spPr>
          <a:xfrm>
            <a:off x="3570288" y="3321050"/>
            <a:ext cx="323850" cy="360363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1E086763-C1CA-45BF-AB05-2C1DE71DE86C}"/>
              </a:ext>
            </a:extLst>
          </p:cNvPr>
          <p:cNvSpPr/>
          <p:nvPr/>
        </p:nvSpPr>
        <p:spPr>
          <a:xfrm>
            <a:off x="3579813" y="4437063"/>
            <a:ext cx="323850" cy="360362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73FE505D-F3B1-4060-B840-DB2C4C391160}"/>
              </a:ext>
            </a:extLst>
          </p:cNvPr>
          <p:cNvSpPr/>
          <p:nvPr/>
        </p:nvSpPr>
        <p:spPr>
          <a:xfrm>
            <a:off x="431800" y="3176588"/>
            <a:ext cx="8181975" cy="647700"/>
          </a:xfrm>
          <a:prstGeom prst="ellipse">
            <a:avLst/>
          </a:prstGeom>
          <a:noFill/>
          <a:ln>
            <a:solidFill>
              <a:srgbClr val="FF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92A255E7-4691-40DE-86A0-495D1E4544EE}"/>
              </a:ext>
            </a:extLst>
          </p:cNvPr>
          <p:cNvSpPr/>
          <p:nvPr/>
        </p:nvSpPr>
        <p:spPr>
          <a:xfrm>
            <a:off x="431800" y="4257675"/>
            <a:ext cx="6877050" cy="711200"/>
          </a:xfrm>
          <a:prstGeom prst="ellipse">
            <a:avLst/>
          </a:prstGeom>
          <a:noFill/>
          <a:ln>
            <a:solidFill>
              <a:srgbClr val="FF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7533E0-863D-4368-B44B-110C1D080C82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42391"/>
            <a:ext cx="1084710" cy="134981"/>
          </a:xfrm>
        </p:spPr>
        <p:txBody>
          <a:bodyPr/>
          <a:lstStyle/>
          <a:p>
            <a:pPr>
              <a:defRPr/>
            </a:pPr>
            <a:fld id="{10A0819C-9DF5-4191-ADFA-68C8F4F7EB77}" type="slidenum">
              <a:rPr lang="de-CH" altLang="de-DE" sz="750" smtClean="0"/>
              <a:pPr>
                <a:defRPr/>
              </a:pPr>
              <a:t>20</a:t>
            </a:fld>
            <a:endParaRPr lang="de-CH" altLang="de-DE" sz="750"/>
          </a:p>
        </p:txBody>
      </p:sp>
      <p:sp>
        <p:nvSpPr>
          <p:cNvPr id="34" name="Fußzeilenplatzhalter 7">
            <a:extLst>
              <a:ext uri="{FF2B5EF4-FFF2-40B4-BE49-F238E27FC236}">
                <a16:creationId xmlns:a16="http://schemas.microsoft.com/office/drawing/2014/main" id="{B2E2BB9B-E710-472C-BD63-15DD17F5D38C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6497239-021C-49E5-BCCF-666A2428EC46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39750" y="798513"/>
            <a:ext cx="8064500" cy="395287"/>
          </a:xfrm>
        </p:spPr>
        <p:txBody>
          <a:bodyPr/>
          <a:lstStyle/>
          <a:p>
            <a:pPr>
              <a:defRPr/>
            </a:pPr>
            <a:r>
              <a:rPr lang="en-GB" dirty="0">
                <a:solidFill>
                  <a:srgbClr val="FF0000"/>
                </a:solidFill>
              </a:rPr>
              <a:t>Power Pack East Anglia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7B59C9F-BDEA-462F-8162-41130059E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19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GB" dirty="0" err="1"/>
              <a:t>Flirt</a:t>
            </a:r>
            <a:r>
              <a:rPr lang="en-GB" baseline="30000" dirty="0" err="1"/>
              <a:t>UK</a:t>
            </a:r>
            <a:endParaRPr lang="en-GB" baseline="30000" dirty="0"/>
          </a:p>
        </p:txBody>
      </p:sp>
      <p:sp>
        <p:nvSpPr>
          <p:cNvPr id="70660" name="Textplatzhalter 4">
            <a:extLst>
              <a:ext uri="{FF2B5EF4-FFF2-40B4-BE49-F238E27FC236}">
                <a16:creationId xmlns:a16="http://schemas.microsoft.com/office/drawing/2014/main" id="{DD5C5588-7E75-48E6-B1F1-C1096D701B4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87338" y="5553075"/>
            <a:ext cx="8424862" cy="936625"/>
          </a:xfrm>
          <a:ln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 dirty="0"/>
              <a:t>Power Pack with either: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 dirty="0"/>
              <a:t>- 4 Diesel engines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 dirty="0"/>
              <a:t>- 2 Diesel engines</a:t>
            </a:r>
          </a:p>
          <a:p>
            <a:pPr marL="171450" indent="-171450" algn="l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altLang="de-DE" sz="1200" dirty="0"/>
              <a:t>- A combination of Diesel engines and Batteries</a:t>
            </a:r>
          </a:p>
        </p:txBody>
      </p:sp>
      <p:pic>
        <p:nvPicPr>
          <p:cNvPr id="70661" name="Picture 4">
            <a:extLst>
              <a:ext uri="{FF2B5EF4-FFF2-40B4-BE49-F238E27FC236}">
                <a16:creationId xmlns:a16="http://schemas.microsoft.com/office/drawing/2014/main" id="{90FDABA9-C26F-42B8-AFFB-1ABF518F77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" y="2090738"/>
            <a:ext cx="80454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Ellipse 36">
            <a:extLst>
              <a:ext uri="{FF2B5EF4-FFF2-40B4-BE49-F238E27FC236}">
                <a16:creationId xmlns:a16="http://schemas.microsoft.com/office/drawing/2014/main" id="{CC614078-5BD6-43F6-B802-A6920AB9FF0E}"/>
              </a:ext>
            </a:extLst>
          </p:cNvPr>
          <p:cNvSpPr/>
          <p:nvPr/>
        </p:nvSpPr>
        <p:spPr>
          <a:xfrm>
            <a:off x="4175125" y="2201863"/>
            <a:ext cx="833438" cy="4889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pic>
        <p:nvPicPr>
          <p:cNvPr id="70663" name="Picture 4">
            <a:extLst>
              <a:ext uri="{FF2B5EF4-FFF2-40B4-BE49-F238E27FC236}">
                <a16:creationId xmlns:a16="http://schemas.microsoft.com/office/drawing/2014/main" id="{699FBBE7-8B69-41FC-9F57-C396ADEC9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75" r="43289"/>
          <a:stretch>
            <a:fillRect/>
          </a:stretch>
        </p:blipFill>
        <p:spPr bwMode="auto">
          <a:xfrm>
            <a:off x="3008313" y="2697163"/>
            <a:ext cx="3240087" cy="181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64" name="Textfeld 44">
            <a:extLst>
              <a:ext uri="{FF2B5EF4-FFF2-40B4-BE49-F238E27FC236}">
                <a16:creationId xmlns:a16="http://schemas.microsoft.com/office/drawing/2014/main" id="{2B1E1DB0-3615-4C36-B158-97398B2F48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750" y="1592263"/>
            <a:ext cx="8877300" cy="288925"/>
          </a:xfrm>
          <a:prstGeom prst="rect">
            <a:avLst/>
          </a:prstGeom>
          <a:solidFill>
            <a:srgbClr val="1E5A9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CH" altLang="de-DE" sz="1400" b="1">
                <a:solidFill>
                  <a:srgbClr val="FFFFFF"/>
                </a:solidFill>
              </a:rPr>
              <a:t>Power Packed </a:t>
            </a:r>
            <a:r>
              <a:rPr lang="en-GB" altLang="de-DE" sz="1400" b="1">
                <a:solidFill>
                  <a:srgbClr val="FFFFFF"/>
                </a:solidFill>
              </a:rPr>
              <a:t>together</a:t>
            </a:r>
            <a:r>
              <a:rPr lang="de-CH" altLang="de-DE" sz="1400" b="1">
                <a:solidFill>
                  <a:srgbClr val="FFFFFF"/>
                </a:solidFill>
              </a:rPr>
              <a:t> </a:t>
            </a:r>
            <a:endParaRPr lang="en-GB" altLang="de-DE" sz="1400" b="1">
              <a:solidFill>
                <a:srgbClr val="FFFFFF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1E8F5B6-8512-4C6F-957D-521B52579165}"/>
              </a:ext>
            </a:extLst>
          </p:cNvPr>
          <p:cNvSpPr/>
          <p:nvPr/>
        </p:nvSpPr>
        <p:spPr>
          <a:xfrm>
            <a:off x="3779838" y="3602038"/>
            <a:ext cx="720725" cy="3317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CB3A69D-0092-435C-BB3B-FB59EEB72514}"/>
              </a:ext>
            </a:extLst>
          </p:cNvPr>
          <p:cNvSpPr/>
          <p:nvPr/>
        </p:nvSpPr>
        <p:spPr>
          <a:xfrm>
            <a:off x="4751388" y="3602038"/>
            <a:ext cx="720725" cy="3317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9EB1CF3-E94C-4B37-9CD0-1526D9F75272}"/>
              </a:ext>
            </a:extLst>
          </p:cNvPr>
          <p:cNvCxnSpPr/>
          <p:nvPr/>
        </p:nvCxnSpPr>
        <p:spPr>
          <a:xfrm flipV="1">
            <a:off x="2735263" y="3933825"/>
            <a:ext cx="1044575" cy="466725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68" name="Textfeld 17">
            <a:extLst>
              <a:ext uri="{FF2B5EF4-FFF2-40B4-BE49-F238E27FC236}">
                <a16:creationId xmlns:a16="http://schemas.microsoft.com/office/drawing/2014/main" id="{BB6FC9C3-7651-485A-8900-D4524B1141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775" y="4329113"/>
            <a:ext cx="237648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2 Power compartments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on each side</a:t>
            </a:r>
          </a:p>
        </p:txBody>
      </p: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2287AC9E-D9BD-4F29-A432-49AD69B4BCA3}"/>
              </a:ext>
            </a:extLst>
          </p:cNvPr>
          <p:cNvCxnSpPr/>
          <p:nvPr/>
        </p:nvCxnSpPr>
        <p:spPr>
          <a:xfrm flipH="1" flipV="1">
            <a:off x="4751388" y="4329113"/>
            <a:ext cx="1903412" cy="306387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70" name="Textfeld 47">
            <a:extLst>
              <a:ext uri="{FF2B5EF4-FFF2-40B4-BE49-F238E27FC236}">
                <a16:creationId xmlns:a16="http://schemas.microsoft.com/office/drawing/2014/main" id="{955F6AB6-4F00-413A-BA44-D39E06734F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5463" y="4400550"/>
            <a:ext cx="2052637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1 x 2300 l fuel tank</a:t>
            </a:r>
          </a:p>
        </p:txBody>
      </p: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D465F6D9-5D6D-45C9-950E-0AE614CB7DC8}"/>
              </a:ext>
            </a:extLst>
          </p:cNvPr>
          <p:cNvCxnSpPr>
            <a:endCxn id="46" idx="1"/>
          </p:cNvCxnSpPr>
          <p:nvPr/>
        </p:nvCxnSpPr>
        <p:spPr>
          <a:xfrm flipV="1">
            <a:off x="2735263" y="3767138"/>
            <a:ext cx="2016125" cy="633412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krümmte Verbindung 52">
            <a:extLst>
              <a:ext uri="{FF2B5EF4-FFF2-40B4-BE49-F238E27FC236}">
                <a16:creationId xmlns:a16="http://schemas.microsoft.com/office/drawing/2014/main" id="{B7530F4A-C94F-4E83-9C92-88CA489E00F7}"/>
              </a:ext>
            </a:extLst>
          </p:cNvPr>
          <p:cNvCxnSpPr>
            <a:stCxn id="46" idx="0"/>
          </p:cNvCxnSpPr>
          <p:nvPr/>
        </p:nvCxnSpPr>
        <p:spPr>
          <a:xfrm rot="5400000" flipH="1" flipV="1">
            <a:off x="5431631" y="2785269"/>
            <a:ext cx="496888" cy="1136650"/>
          </a:xfrm>
          <a:prstGeom prst="curvedConnector2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krümmte Verbindung 54">
            <a:extLst>
              <a:ext uri="{FF2B5EF4-FFF2-40B4-BE49-F238E27FC236}">
                <a16:creationId xmlns:a16="http://schemas.microsoft.com/office/drawing/2014/main" id="{12407F44-730A-4067-9F54-9A0CFC055399}"/>
              </a:ext>
            </a:extLst>
          </p:cNvPr>
          <p:cNvCxnSpPr>
            <a:stCxn id="11" idx="0"/>
          </p:cNvCxnSpPr>
          <p:nvPr/>
        </p:nvCxnSpPr>
        <p:spPr>
          <a:xfrm rot="16200000" flipV="1">
            <a:off x="3325813" y="2787650"/>
            <a:ext cx="496888" cy="1131887"/>
          </a:xfrm>
          <a:prstGeom prst="curvedConnector2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674" name="Textfeld 56">
            <a:extLst>
              <a:ext uri="{FF2B5EF4-FFF2-40B4-BE49-F238E27FC236}">
                <a16:creationId xmlns:a16="http://schemas.microsoft.com/office/drawing/2014/main" id="{CE742931-0C5E-4E04-BF6A-D6E7ABAD49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1550" y="280035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de-DE"/>
              <a:t>Power distributed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de-DE"/>
              <a:t>throughout the unit</a:t>
            </a:r>
          </a:p>
        </p:txBody>
      </p:sp>
      <p:sp>
        <p:nvSpPr>
          <p:cNvPr id="70675" name="Textfeld 57">
            <a:extLst>
              <a:ext uri="{FF2B5EF4-FFF2-40B4-BE49-F238E27FC236}">
                <a16:creationId xmlns:a16="http://schemas.microsoft.com/office/drawing/2014/main" id="{CB1AA080-A423-4202-A980-9D55E4BF74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5875" y="281305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GB" altLang="de-DE"/>
              <a:t>Power distributed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GB" altLang="de-DE"/>
              <a:t>troughout the uni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60D612-D0E7-4423-AFD4-9A7B37E7558C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10A0819C-9DF5-4191-ADFA-68C8F4F7EB77}" type="slidenum">
              <a:rPr lang="de-CH" altLang="de-DE" sz="750" smtClean="0"/>
              <a:pPr>
                <a:defRPr/>
              </a:pPr>
              <a:t>21</a:t>
            </a:fld>
            <a:endParaRPr lang="de-CH" altLang="de-DE" sz="75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F7D77A-4DAD-4A98-9B95-A485A9362B51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>
          <a:xfrm>
            <a:off x="539750" y="6607132"/>
            <a:ext cx="6115212" cy="134981"/>
          </a:xfrm>
        </p:spPr>
        <p:txBody>
          <a:bodyPr/>
          <a:lstStyle/>
          <a:p>
            <a:pPr>
              <a:defRPr/>
            </a:pPr>
            <a:r>
              <a:rPr lang="en-GB"/>
              <a:t>Title | Name | © Stadler | 24.03.2023</a:t>
            </a:r>
            <a:endParaRPr lang="de-CH" dirty="0"/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A6D997-06B9-4CA9-AE97-01D3D0333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en-GB" dirty="0"/>
              <a:t>Overview</a:t>
            </a:r>
            <a:r>
              <a:rPr lang="de-CH" dirty="0"/>
              <a:t> </a:t>
            </a:r>
            <a:r>
              <a:rPr lang="en-GB" altLang="en-US" dirty="0"/>
              <a:t>FLIRT</a:t>
            </a:r>
            <a:r>
              <a:rPr lang="en-GB" altLang="en-US" baseline="30000" dirty="0"/>
              <a:t>UK</a:t>
            </a:r>
            <a:endParaRPr lang="en-US" dirty="0"/>
          </a:p>
        </p:txBody>
      </p:sp>
      <p:sp>
        <p:nvSpPr>
          <p:cNvPr id="72708" name="Textplatzhalter 7">
            <a:extLst>
              <a:ext uri="{FF2B5EF4-FFF2-40B4-BE49-F238E27FC236}">
                <a16:creationId xmlns:a16="http://schemas.microsoft.com/office/drawing/2014/main" id="{1789A759-CD9F-47DF-A9B6-707892B0CB9D}"/>
              </a:ext>
            </a:extLst>
          </p:cNvPr>
          <p:cNvSpPr txBox="1">
            <a:spLocks/>
          </p:cNvSpPr>
          <p:nvPr/>
        </p:nvSpPr>
        <p:spPr bwMode="auto">
          <a:xfrm>
            <a:off x="503238" y="798513"/>
            <a:ext cx="806450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Symbol" panose="05050102010706020507" pitchFamily="18" charset="2"/>
              <a:buNone/>
            </a:pPr>
            <a:r>
              <a:rPr lang="de-CH" altLang="de-DE" sz="2800"/>
              <a:t>FLIRT</a:t>
            </a:r>
            <a:r>
              <a:rPr lang="de-CH" altLang="de-DE" sz="2800" baseline="30000"/>
              <a:t>UK</a:t>
            </a:r>
            <a:r>
              <a:rPr lang="de-CH" altLang="de-DE" sz="2800"/>
              <a:t> POWER PACK</a:t>
            </a:r>
            <a:endParaRPr lang="de-CH" altLang="de-DE" sz="2800" baseline="30000"/>
          </a:p>
        </p:txBody>
      </p:sp>
      <p:pic>
        <p:nvPicPr>
          <p:cNvPr id="72709" name="Grafik 2">
            <a:extLst>
              <a:ext uri="{FF2B5EF4-FFF2-40B4-BE49-F238E27FC236}">
                <a16:creationId xmlns:a16="http://schemas.microsoft.com/office/drawing/2014/main" id="{A3888B59-5B7F-4829-8710-5944083E75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3" y="1844675"/>
            <a:ext cx="7069137" cy="472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31FA0E-4185-4F22-BDFC-78B12540E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19540" y="6662694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noProof="0" smtClean="0"/>
              <a:t>22</a:t>
            </a:fld>
            <a:endParaRPr lang="de-CH" sz="750" noProof="0" dirty="0"/>
          </a:p>
        </p:txBody>
      </p:sp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11C2E72F-9341-4EEB-ADCA-1E1A41BD2E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65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ow floor desig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Flirt</a:t>
            </a:r>
            <a:r>
              <a:rPr lang="en-GB" baseline="30000" dirty="0" err="1"/>
              <a:t>UK</a:t>
            </a:r>
            <a:endParaRPr lang="en-GB" baseline="30000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535039" y="4520978"/>
            <a:ext cx="8064501" cy="1485502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  <a:extLst/>
        </p:spPr>
        <p:txBody>
          <a:bodyPr wrap="square" lIns="215946" tIns="107972" rIns="431890" bIns="143963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285750" indent="-285750" eaLnBrk="1" hangingPunct="1">
              <a:spcBef>
                <a:spcPts val="598"/>
              </a:spcBef>
              <a:buFont typeface="Arial" panose="020B0604020202020204" pitchFamily="34" charset="0"/>
              <a:buChar char="•"/>
            </a:pPr>
            <a: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</a:rPr>
              <a:t> Low floor solution with level entrances allows autonomous</a:t>
            </a:r>
            <a:b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</a:rPr>
            </a:br>
            <a: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</a:rPr>
              <a:t>  access for PRM </a:t>
            </a:r>
          </a:p>
          <a:p>
            <a:pPr marL="285750" indent="-285750" eaLnBrk="1" hangingPunct="1">
              <a:spcBef>
                <a:spcPts val="598"/>
              </a:spcBef>
              <a:buFont typeface="Arial" panose="020B0604020202020204" pitchFamily="34" charset="0"/>
              <a:buChar char="•"/>
            </a:pPr>
            <a: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</a:rPr>
              <a:t>Safe and fast access to the unit </a:t>
            </a:r>
            <a: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  <a:sym typeface="Wingdings" panose="05000000000000000000" pitchFamily="2" charset="2"/>
              </a:rPr>
              <a:t> reduces station dwell times and improves passenger flow.</a:t>
            </a:r>
          </a:p>
          <a:p>
            <a:pPr marL="285750" indent="-285750" eaLnBrk="1" hangingPunct="1">
              <a:spcBef>
                <a:spcPts val="598"/>
              </a:spcBef>
              <a:buFont typeface="Arial" panose="020B0604020202020204" pitchFamily="34" charset="0"/>
              <a:buChar char="•"/>
            </a:pPr>
            <a:r>
              <a:rPr lang="en-US" altLang="de-DE" sz="1400" dirty="0">
                <a:solidFill>
                  <a:schemeClr val="bg1">
                    <a:lumMod val="50000"/>
                  </a:schemeClr>
                </a:solidFill>
                <a:ea typeface="+mn-ea"/>
                <a:sym typeface="Wingdings" panose="05000000000000000000" pitchFamily="2" charset="2"/>
              </a:rPr>
              <a:t>Retractable sliding step reduces gap to the platform  safer access to unit</a:t>
            </a:r>
            <a:endParaRPr lang="en-US" altLang="de-DE" sz="1400" dirty="0">
              <a:solidFill>
                <a:schemeClr val="bg1">
                  <a:lumMod val="50000"/>
                </a:schemeClr>
              </a:solidFill>
              <a:ea typeface="+mn-ea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39"/>
          <a:stretch/>
        </p:blipFill>
        <p:spPr bwMode="auto">
          <a:xfrm>
            <a:off x="547727" y="1952836"/>
            <a:ext cx="2805887" cy="25922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747" y="1952836"/>
            <a:ext cx="3502884" cy="2531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19"/>
          <p:cNvSpPr txBox="1">
            <a:spLocks/>
          </p:cNvSpPr>
          <p:nvPr/>
        </p:nvSpPr>
        <p:spPr>
          <a:xfrm>
            <a:off x="535039" y="6092327"/>
            <a:ext cx="8069211" cy="505025"/>
          </a:xfrm>
          <a:prstGeom prst="rect">
            <a:avLst/>
          </a:prstGeom>
          <a:solidFill>
            <a:schemeClr val="tx2"/>
          </a:solidFill>
        </p:spPr>
        <p:txBody>
          <a:bodyPr lIns="72000" tIns="0" rIns="72000" bIns="0" anchor="ctr" anchorCtr="0"/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138">
              <a:buNone/>
            </a:pPr>
            <a:r>
              <a:rPr lang="en-GB" sz="1600" b="1" dirty="0">
                <a:solidFill>
                  <a:srgbClr val="FFFFFF"/>
                </a:solidFill>
              </a:rPr>
              <a:t>Low floor design </a:t>
            </a:r>
            <a:endParaRPr lang="en-GB" sz="1600" b="1" dirty="0">
              <a:solidFill>
                <a:schemeClr val="accent3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158750" y="1592263"/>
            <a:ext cx="8877745" cy="288925"/>
          </a:xfrm>
          <a:prstGeom prst="rect">
            <a:avLst/>
          </a:prstGeom>
          <a:solidFill>
            <a:srgbClr val="1E5A9A"/>
          </a:solidFill>
        </p:spPr>
        <p:txBody>
          <a:bodyPr wrap="square" rtlCol="0" anchor="ctr">
            <a:noAutofit/>
          </a:bodyPr>
          <a:lstStyle/>
          <a:p>
            <a:pPr algn="ctr" defTabSz="914138"/>
            <a:r>
              <a:rPr lang="de-CH" sz="1600" b="1" dirty="0">
                <a:solidFill>
                  <a:srgbClr val="FFFFFF"/>
                </a:solidFill>
              </a:rPr>
              <a:t>Easy </a:t>
            </a:r>
            <a:r>
              <a:rPr lang="de-CH" sz="1600" b="1" dirty="0" err="1">
                <a:solidFill>
                  <a:srgbClr val="FFFFFF"/>
                </a:solidFill>
              </a:rPr>
              <a:t>access</a:t>
            </a:r>
            <a:r>
              <a:rPr lang="de-CH" sz="1600" b="1" dirty="0">
                <a:solidFill>
                  <a:srgbClr val="FFFFFF"/>
                </a:solidFill>
              </a:rPr>
              <a:t> </a:t>
            </a:r>
            <a:r>
              <a:rPr lang="de-CH" sz="1600" b="1" dirty="0" err="1">
                <a:solidFill>
                  <a:srgbClr val="FFFFFF"/>
                </a:solidFill>
              </a:rPr>
              <a:t>for</a:t>
            </a:r>
            <a:r>
              <a:rPr lang="de-CH" sz="1600" b="1" dirty="0">
                <a:solidFill>
                  <a:srgbClr val="FFFFFF"/>
                </a:solidFill>
              </a:rPr>
              <a:t> </a:t>
            </a:r>
            <a:r>
              <a:rPr lang="de-CH" sz="1600" b="1" dirty="0" err="1">
                <a:solidFill>
                  <a:srgbClr val="FFFFFF"/>
                </a:solidFill>
              </a:rPr>
              <a:t>everyone</a:t>
            </a:r>
            <a:endParaRPr lang="en-GB" sz="1600" b="1" dirty="0">
              <a:solidFill>
                <a:srgbClr val="FFFFFF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CB3BAF-1F17-495A-AC6F-6D815646AB92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pPr>
              <a:defRPr/>
            </a:pPr>
            <a:fld id="{10A0819C-9DF5-4191-ADFA-68C8F4F7EB77}" type="slidenum">
              <a:rPr lang="de-CH" altLang="de-DE" sz="750" smtClean="0"/>
              <a:pPr>
                <a:defRPr/>
              </a:pPr>
              <a:t>23</a:t>
            </a:fld>
            <a:endParaRPr lang="de-CH" altLang="de-DE" sz="750" dirty="0"/>
          </a:p>
        </p:txBody>
      </p:sp>
      <p:sp>
        <p:nvSpPr>
          <p:cNvPr id="11" name="Fußzeilenplatzhalter 7">
            <a:extLst>
              <a:ext uri="{FF2B5EF4-FFF2-40B4-BE49-F238E27FC236}">
                <a16:creationId xmlns:a16="http://schemas.microsoft.com/office/drawing/2014/main" id="{ACB8075A-6613-4135-8833-180A5CA8ADF3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750" b="1">
                <a:solidFill>
                  <a:schemeClr val="tx2"/>
                </a:solidFill>
              </a:rPr>
              <a:t>Programme Lead | James McCaffery | © Stadler | 23.06.2023</a:t>
            </a:r>
            <a:endParaRPr lang="de-CH" sz="75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6234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B62BC12-59FC-4702-9846-48DFB43DCE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US" sz="2000" dirty="0"/>
              <a:t>Battery Technology at the heart of </a:t>
            </a:r>
            <a:r>
              <a:rPr lang="en-US" sz="2000" dirty="0" err="1"/>
              <a:t>Stadler’s</a:t>
            </a:r>
            <a:r>
              <a:rPr lang="en-US" sz="2000" dirty="0"/>
              <a:t> DNA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7D1F2DF-0448-41B9-8CE1-4DC964ADE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de-CH" dirty="0"/>
              <a:t>Zero Emission </a:t>
            </a:r>
            <a:endParaRPr lang="en-US" dirty="0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9983672-B783-4EA7-B5C9-D147B6A4031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7825" y="1665288"/>
            <a:ext cx="8064500" cy="3455987"/>
          </a:xfrm>
        </p:spPr>
        <p:txBody>
          <a:bodyPr/>
          <a:lstStyle/>
          <a:p>
            <a:pPr marL="0" indent="0" algn="ctr">
              <a:buFont typeface="Symbol" panose="05050102010706020507" pitchFamily="18" charset="2"/>
              <a:buNone/>
              <a:defRPr/>
            </a:pPr>
            <a:r>
              <a:rPr lang="de-CH" dirty="0"/>
              <a:t>	</a:t>
            </a:r>
          </a:p>
          <a:p>
            <a:pPr>
              <a:defRPr/>
            </a:pPr>
            <a:endParaRPr lang="de-CH" dirty="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3C87FDF0-2D20-450D-A592-A3A1C932B6DC}"/>
              </a:ext>
            </a:extLst>
          </p:cNvPr>
          <p:cNvSpPr/>
          <p:nvPr/>
        </p:nvSpPr>
        <p:spPr>
          <a:xfrm>
            <a:off x="222206" y="3372450"/>
            <a:ext cx="1065600" cy="1065600"/>
          </a:xfrm>
          <a:prstGeom prst="ellips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F886BC5-B055-4C91-A32A-99F7E3CC6E7F}"/>
              </a:ext>
            </a:extLst>
          </p:cNvPr>
          <p:cNvSpPr txBox="1"/>
          <p:nvPr/>
        </p:nvSpPr>
        <p:spPr>
          <a:xfrm>
            <a:off x="222250" y="3376613"/>
            <a:ext cx="1065213" cy="1062037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algn="ctr">
              <a:defRPr/>
            </a:pPr>
            <a:r>
              <a:rPr lang="de-CH" b="1" spc="-80" dirty="0">
                <a:solidFill>
                  <a:srgbClr val="FFFFFF"/>
                </a:solidFill>
              </a:rPr>
              <a:t>1</a:t>
            </a:r>
            <a:r>
              <a:rPr lang="de-CH" b="1" dirty="0">
                <a:solidFill>
                  <a:srgbClr val="FFFFFF"/>
                </a:solidFill>
              </a:rPr>
              <a:t>943</a:t>
            </a:r>
          </a:p>
          <a:p>
            <a:pPr algn="ctr">
              <a:defRPr/>
            </a:pPr>
            <a:r>
              <a:rPr sz="1050" b="1" dirty="0">
                <a:solidFill>
                  <a:srgbClr val="FFFFFF"/>
                </a:solidFill>
              </a:rPr>
              <a:t>TO</a:t>
            </a:r>
          </a:p>
          <a:p>
            <a:pPr algn="ctr">
              <a:defRPr/>
            </a:pPr>
            <a:r>
              <a:rPr lang="de-CH" b="1" dirty="0">
                <a:solidFill>
                  <a:srgbClr val="FFFFFF"/>
                </a:solidFill>
              </a:rPr>
              <a:t>2021</a:t>
            </a:r>
            <a:endParaRPr lang="en-US" b="1" dirty="0">
              <a:solidFill>
                <a:srgbClr val="FFFFFF"/>
              </a:solidFill>
            </a:endParaRPr>
          </a:p>
        </p:txBody>
      </p:sp>
      <p:grpSp>
        <p:nvGrpSpPr>
          <p:cNvPr id="80906" name="Gruppieren 49">
            <a:extLst>
              <a:ext uri="{FF2B5EF4-FFF2-40B4-BE49-F238E27FC236}">
                <a16:creationId xmlns:a16="http://schemas.microsoft.com/office/drawing/2014/main" id="{8F0F9D4F-E934-4B41-A1B5-2EFACD142EBB}"/>
              </a:ext>
            </a:extLst>
          </p:cNvPr>
          <p:cNvGrpSpPr>
            <a:grpSpLocks/>
          </p:cNvGrpSpPr>
          <p:nvPr/>
        </p:nvGrpSpPr>
        <p:grpSpPr bwMode="auto">
          <a:xfrm>
            <a:off x="1173163" y="2422525"/>
            <a:ext cx="1219200" cy="1619250"/>
            <a:chOff x="6706270" y="2181597"/>
            <a:chExt cx="1219126" cy="1618784"/>
          </a:xfrm>
        </p:grpSpPr>
        <p:sp>
          <p:nvSpPr>
            <p:cNvPr id="12" name="Richtungspfeil 11">
              <a:extLst>
                <a:ext uri="{FF2B5EF4-FFF2-40B4-BE49-F238E27FC236}">
                  <a16:creationId xmlns:a16="http://schemas.microsoft.com/office/drawing/2014/main" id="{2C46FD34-65AB-4568-AFC9-FDD12909DF98}"/>
                </a:ext>
              </a:extLst>
            </p:cNvPr>
            <p:cNvSpPr/>
            <p:nvPr/>
          </p:nvSpPr>
          <p:spPr>
            <a:xfrm>
              <a:off x="6796752" y="3530584"/>
              <a:ext cx="1066735" cy="269797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13" name="Gerade Verbindung 51">
              <a:extLst>
                <a:ext uri="{FF2B5EF4-FFF2-40B4-BE49-F238E27FC236}">
                  <a16:creationId xmlns:a16="http://schemas.microsoft.com/office/drawing/2014/main" id="{4F7149E9-FCE8-49F2-9EE7-7FE8ECB4C5DF}"/>
                </a:ext>
              </a:extLst>
            </p:cNvPr>
            <p:cNvCxnSpPr/>
            <p:nvPr/>
          </p:nvCxnSpPr>
          <p:spPr>
            <a:xfrm>
              <a:off x="6809451" y="2181597"/>
              <a:ext cx="0" cy="79987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52">
              <a:extLst>
                <a:ext uri="{FF2B5EF4-FFF2-40B4-BE49-F238E27FC236}">
                  <a16:creationId xmlns:a16="http://schemas.microsoft.com/office/drawing/2014/main" id="{2DD46822-FBF3-4B41-94FD-9A0A4A241D22}"/>
                </a:ext>
              </a:extLst>
            </p:cNvPr>
            <p:cNvCxnSpPr/>
            <p:nvPr/>
          </p:nvCxnSpPr>
          <p:spPr>
            <a:xfrm>
              <a:off x="6833262" y="3449645"/>
              <a:ext cx="0" cy="179335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7107DFD4-036D-4424-9D2F-AF4BE92C480D}"/>
                </a:ext>
              </a:extLst>
            </p:cNvPr>
            <p:cNvSpPr txBox="1"/>
            <p:nvPr/>
          </p:nvSpPr>
          <p:spPr>
            <a:xfrm>
              <a:off x="6917394" y="2187945"/>
              <a:ext cx="1008002" cy="468178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en-GB" dirty="0">
                  <a:solidFill>
                    <a:srgbClr val="1E5A9A"/>
                  </a:solidFill>
                </a:rPr>
                <a:t>Battery Tractors</a:t>
              </a:r>
            </a:p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Schumacher &amp; Co.</a:t>
              </a:r>
            </a:p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Switzerland</a:t>
              </a:r>
              <a:endParaRPr lang="de-DE" dirty="0">
                <a:solidFill>
                  <a:srgbClr val="1E5A9A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3FA749D9-C561-4BB4-B3FC-FB6F6D3D5C01}"/>
                </a:ext>
              </a:extLst>
            </p:cNvPr>
            <p:cNvSpPr txBox="1"/>
            <p:nvPr/>
          </p:nvSpPr>
          <p:spPr>
            <a:xfrm>
              <a:off x="6706270" y="3030666"/>
              <a:ext cx="828625" cy="431676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1943</a:t>
              </a:r>
            </a:p>
          </p:txBody>
        </p:sp>
      </p:grpSp>
      <p:sp>
        <p:nvSpPr>
          <p:cNvPr id="17" name="Richtungspfeil 16">
            <a:extLst>
              <a:ext uri="{FF2B5EF4-FFF2-40B4-BE49-F238E27FC236}">
                <a16:creationId xmlns:a16="http://schemas.microsoft.com/office/drawing/2014/main" id="{094B6538-1755-45D4-AD6B-75FFA1AE63E1}"/>
              </a:ext>
            </a:extLst>
          </p:cNvPr>
          <p:cNvSpPr/>
          <p:nvPr/>
        </p:nvSpPr>
        <p:spPr>
          <a:xfrm>
            <a:off x="3825875" y="3773488"/>
            <a:ext cx="1116013" cy="269875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cxnSp>
        <p:nvCxnSpPr>
          <p:cNvPr id="18" name="Gerade Verbindung 70">
            <a:extLst>
              <a:ext uri="{FF2B5EF4-FFF2-40B4-BE49-F238E27FC236}">
                <a16:creationId xmlns:a16="http://schemas.microsoft.com/office/drawing/2014/main" id="{AC9603B8-3882-4B32-A427-0DACD0F3B0C7}"/>
              </a:ext>
            </a:extLst>
          </p:cNvPr>
          <p:cNvCxnSpPr/>
          <p:nvPr/>
        </p:nvCxnSpPr>
        <p:spPr>
          <a:xfrm>
            <a:off x="3884613" y="2630488"/>
            <a:ext cx="0" cy="5921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1D782907-45BD-4757-B0DE-AB4C0DB5D9A9}"/>
              </a:ext>
            </a:extLst>
          </p:cNvPr>
          <p:cNvSpPr txBox="1"/>
          <p:nvPr/>
        </p:nvSpPr>
        <p:spPr>
          <a:xfrm>
            <a:off x="3992563" y="2838450"/>
            <a:ext cx="1058862" cy="581025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CH" dirty="0">
                <a:solidFill>
                  <a:srgbClr val="1E5A9A"/>
                </a:solidFill>
              </a:rPr>
              <a:t>Tram-Train </a:t>
            </a:r>
            <a:r>
              <a:rPr lang="de-CH" dirty="0" err="1">
                <a:solidFill>
                  <a:srgbClr val="1E5A9A"/>
                </a:solidFill>
              </a:rPr>
              <a:t>with</a:t>
            </a:r>
            <a:r>
              <a:rPr lang="de-CH" dirty="0">
                <a:solidFill>
                  <a:srgbClr val="1E5A9A"/>
                </a:solidFill>
              </a:rPr>
              <a:t> battery support,</a:t>
            </a:r>
          </a:p>
          <a:p>
            <a:pPr>
              <a:defRPr/>
            </a:pPr>
            <a:r>
              <a:rPr lang="de-CH" dirty="0">
                <a:solidFill>
                  <a:srgbClr val="1E5A9A"/>
                </a:solidFill>
              </a:rPr>
              <a:t>SANTOS , </a:t>
            </a:r>
            <a:r>
              <a:rPr lang="de-CH" dirty="0" err="1">
                <a:solidFill>
                  <a:srgbClr val="1E5A9A"/>
                </a:solidFill>
              </a:rPr>
              <a:t>Brazil</a:t>
            </a:r>
            <a:endParaRPr lang="de-DE" dirty="0">
              <a:solidFill>
                <a:srgbClr val="1E5A9A"/>
              </a:solidFill>
            </a:endParaRPr>
          </a:p>
        </p:txBody>
      </p:sp>
      <p:cxnSp>
        <p:nvCxnSpPr>
          <p:cNvPr id="20" name="Gerade Verbindung 73">
            <a:extLst>
              <a:ext uri="{FF2B5EF4-FFF2-40B4-BE49-F238E27FC236}">
                <a16:creationId xmlns:a16="http://schemas.microsoft.com/office/drawing/2014/main" id="{0A5D41B3-45BD-49F5-9C26-090B394B4AAA}"/>
              </a:ext>
            </a:extLst>
          </p:cNvPr>
          <p:cNvCxnSpPr/>
          <p:nvPr/>
        </p:nvCxnSpPr>
        <p:spPr>
          <a:xfrm>
            <a:off x="3884613" y="3689350"/>
            <a:ext cx="0" cy="184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73">
            <a:extLst>
              <a:ext uri="{FF2B5EF4-FFF2-40B4-BE49-F238E27FC236}">
                <a16:creationId xmlns:a16="http://schemas.microsoft.com/office/drawing/2014/main" id="{8EF49B03-D4A5-4C36-AA58-A26318626C4E}"/>
              </a:ext>
            </a:extLst>
          </p:cNvPr>
          <p:cNvCxnSpPr/>
          <p:nvPr/>
        </p:nvCxnSpPr>
        <p:spPr>
          <a:xfrm>
            <a:off x="5330825" y="3689350"/>
            <a:ext cx="0" cy="184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912" name="Gruppieren 89">
            <a:extLst>
              <a:ext uri="{FF2B5EF4-FFF2-40B4-BE49-F238E27FC236}">
                <a16:creationId xmlns:a16="http://schemas.microsoft.com/office/drawing/2014/main" id="{812A236B-933C-4BE7-97DA-30A90CED12DC}"/>
              </a:ext>
            </a:extLst>
          </p:cNvPr>
          <p:cNvGrpSpPr>
            <a:grpSpLocks/>
          </p:cNvGrpSpPr>
          <p:nvPr/>
        </p:nvGrpSpPr>
        <p:grpSpPr bwMode="auto">
          <a:xfrm>
            <a:off x="2500313" y="2952750"/>
            <a:ext cx="2827337" cy="947738"/>
            <a:chOff x="7111262" y="2710057"/>
            <a:chExt cx="3025829" cy="948373"/>
          </a:xfrm>
        </p:grpSpPr>
        <p:cxnSp>
          <p:nvCxnSpPr>
            <p:cNvPr id="23" name="Gerade Verbindung 27">
              <a:extLst>
                <a:ext uri="{FF2B5EF4-FFF2-40B4-BE49-F238E27FC236}">
                  <a16:creationId xmlns:a16="http://schemas.microsoft.com/office/drawing/2014/main" id="{5FBF9123-6280-4E24-99AD-335AB14D3DF9}"/>
                </a:ext>
              </a:extLst>
            </p:cNvPr>
            <p:cNvCxnSpPr/>
            <p:nvPr/>
          </p:nvCxnSpPr>
          <p:spPr>
            <a:xfrm>
              <a:off x="7213199" y="2710057"/>
              <a:ext cx="0" cy="27005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8">
              <a:extLst>
                <a:ext uri="{FF2B5EF4-FFF2-40B4-BE49-F238E27FC236}">
                  <a16:creationId xmlns:a16="http://schemas.microsoft.com/office/drawing/2014/main" id="{267D39F6-2A85-48C0-A353-45908B352DA2}"/>
                </a:ext>
              </a:extLst>
            </p:cNvPr>
            <p:cNvCxnSpPr/>
            <p:nvPr/>
          </p:nvCxnSpPr>
          <p:spPr>
            <a:xfrm>
              <a:off x="7174123" y="3448740"/>
              <a:ext cx="0" cy="18109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ABF2272B-FFC3-4485-966B-8B39A8F4C591}"/>
                </a:ext>
              </a:extLst>
            </p:cNvPr>
            <p:cNvSpPr txBox="1"/>
            <p:nvPr/>
          </p:nvSpPr>
          <p:spPr>
            <a:xfrm>
              <a:off x="7321932" y="2710057"/>
              <a:ext cx="1009176" cy="468627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Battery </a:t>
              </a:r>
              <a:r>
                <a:rPr lang="de-CH" dirty="0" err="1">
                  <a:solidFill>
                    <a:srgbClr val="1E5A9A"/>
                  </a:solidFill>
                </a:rPr>
                <a:t>Shunting</a:t>
              </a:r>
              <a:r>
                <a:rPr lang="de-CH" dirty="0">
                  <a:solidFill>
                    <a:srgbClr val="1E5A9A"/>
                  </a:solidFill>
                </a:rPr>
                <a:t> </a:t>
              </a:r>
              <a:r>
                <a:rPr lang="de-CH" dirty="0" err="1">
                  <a:solidFill>
                    <a:srgbClr val="1E5A9A"/>
                  </a:solidFill>
                </a:rPr>
                <a:t>Locomotive</a:t>
              </a:r>
              <a:r>
                <a:rPr lang="de-CH" dirty="0">
                  <a:solidFill>
                    <a:srgbClr val="1E5A9A"/>
                  </a:solidFill>
                </a:rPr>
                <a:t> for SBB, CH</a:t>
              </a:r>
              <a:endParaRPr lang="de-DE" dirty="0">
                <a:solidFill>
                  <a:srgbClr val="1E5A9A"/>
                </a:solidFill>
              </a:endParaRPr>
            </a:p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 </a:t>
              </a:r>
              <a:endParaRPr lang="de-DE" dirty="0">
                <a:solidFill>
                  <a:srgbClr val="1E5A9A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8E7E4E7C-D4E4-493F-882A-7D8DD4EDB8BA}"/>
                </a:ext>
              </a:extLst>
            </p:cNvPr>
            <p:cNvSpPr txBox="1"/>
            <p:nvPr/>
          </p:nvSpPr>
          <p:spPr>
            <a:xfrm>
              <a:off x="7111262" y="3030947"/>
              <a:ext cx="827388" cy="432089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spc="-270" dirty="0">
                  <a:solidFill>
                    <a:srgbClr val="1E5A9A"/>
                  </a:solidFill>
                </a:rPr>
                <a:t>1</a:t>
              </a:r>
              <a:r>
                <a:rPr lang="de-DE" sz="2650" dirty="0">
                  <a:solidFill>
                    <a:srgbClr val="1E5A9A"/>
                  </a:solidFill>
                </a:rPr>
                <a:t>987</a:t>
              </a:r>
            </a:p>
          </p:txBody>
        </p:sp>
        <p:cxnSp>
          <p:nvCxnSpPr>
            <p:cNvPr id="27" name="Gerade Verbindung 28">
              <a:extLst>
                <a:ext uri="{FF2B5EF4-FFF2-40B4-BE49-F238E27FC236}">
                  <a16:creationId xmlns:a16="http://schemas.microsoft.com/office/drawing/2014/main" id="{DFDC6AA0-02CE-4F87-8DB9-57EA26040FBF}"/>
                </a:ext>
              </a:extLst>
            </p:cNvPr>
            <p:cNvCxnSpPr/>
            <p:nvPr/>
          </p:nvCxnSpPr>
          <p:spPr>
            <a:xfrm>
              <a:off x="10137091" y="3478922"/>
              <a:ext cx="0" cy="179508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913" name="Gruppieren 74">
            <a:extLst>
              <a:ext uri="{FF2B5EF4-FFF2-40B4-BE49-F238E27FC236}">
                <a16:creationId xmlns:a16="http://schemas.microsoft.com/office/drawing/2014/main" id="{AD3DE334-2596-4CEA-86C3-D2D1B34B213E}"/>
              </a:ext>
            </a:extLst>
          </p:cNvPr>
          <p:cNvGrpSpPr>
            <a:grpSpLocks/>
          </p:cNvGrpSpPr>
          <p:nvPr/>
        </p:nvGrpSpPr>
        <p:grpSpPr bwMode="auto">
          <a:xfrm>
            <a:off x="5418138" y="2651125"/>
            <a:ext cx="2424112" cy="2557463"/>
            <a:chOff x="5371676" y="2455380"/>
            <a:chExt cx="2425719" cy="2555912"/>
          </a:xfrm>
        </p:grpSpPr>
        <p:sp>
          <p:nvSpPr>
            <p:cNvPr id="29" name="Richtungspfeil 28">
              <a:extLst>
                <a:ext uri="{FF2B5EF4-FFF2-40B4-BE49-F238E27FC236}">
                  <a16:creationId xmlns:a16="http://schemas.microsoft.com/office/drawing/2014/main" id="{87F5F744-50B2-4266-A8DF-5C5472333400}"/>
                </a:ext>
              </a:extLst>
            </p:cNvPr>
            <p:cNvSpPr/>
            <p:nvPr/>
          </p:nvSpPr>
          <p:spPr>
            <a:xfrm>
              <a:off x="6680643" y="3578648"/>
              <a:ext cx="1116752" cy="269711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30" name="Gerade Verbindung 76">
              <a:extLst>
                <a:ext uri="{FF2B5EF4-FFF2-40B4-BE49-F238E27FC236}">
                  <a16:creationId xmlns:a16="http://schemas.microsoft.com/office/drawing/2014/main" id="{56FA396B-A2B3-45FB-BAD2-DB4CD1C76982}"/>
                </a:ext>
              </a:extLst>
            </p:cNvPr>
            <p:cNvCxnSpPr/>
            <p:nvPr/>
          </p:nvCxnSpPr>
          <p:spPr>
            <a:xfrm>
              <a:off x="6810904" y="2455380"/>
              <a:ext cx="0" cy="521971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8">
              <a:extLst>
                <a:ext uri="{FF2B5EF4-FFF2-40B4-BE49-F238E27FC236}">
                  <a16:creationId xmlns:a16="http://schemas.microsoft.com/office/drawing/2014/main" id="{106913F8-0F27-421A-8766-2B70E3B71DF2}"/>
                </a:ext>
              </a:extLst>
            </p:cNvPr>
            <p:cNvCxnSpPr/>
            <p:nvPr/>
          </p:nvCxnSpPr>
          <p:spPr>
            <a:xfrm>
              <a:off x="6810904" y="3448552"/>
              <a:ext cx="0" cy="180865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41302926-98A2-4062-B544-D35EFD32843F}"/>
                </a:ext>
              </a:extLst>
            </p:cNvPr>
            <p:cNvSpPr txBox="1"/>
            <p:nvPr/>
          </p:nvSpPr>
          <p:spPr>
            <a:xfrm>
              <a:off x="6081758" y="4460763"/>
              <a:ext cx="1158055" cy="550529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de-CH" dirty="0" err="1">
                  <a:solidFill>
                    <a:srgbClr val="1E5A9A"/>
                  </a:solidFill>
                </a:rPr>
                <a:t>Tri</a:t>
              </a:r>
              <a:r>
                <a:rPr lang="de-CH" dirty="0">
                  <a:solidFill>
                    <a:srgbClr val="1E5A9A"/>
                  </a:solidFill>
                </a:rPr>
                <a:t>-Mode FLIRT UK,</a:t>
              </a:r>
              <a:br>
                <a:rPr lang="de-CH" dirty="0">
                  <a:solidFill>
                    <a:srgbClr val="1E5A9A"/>
                  </a:solidFill>
                </a:rPr>
              </a:br>
              <a:r>
                <a:rPr lang="de-CH" dirty="0">
                  <a:solidFill>
                    <a:srgbClr val="1E5A9A"/>
                  </a:solidFill>
                </a:rPr>
                <a:t>Wales </a:t>
              </a:r>
              <a:r>
                <a:rPr lang="de-CH" dirty="0" err="1">
                  <a:solidFill>
                    <a:srgbClr val="1E5A9A"/>
                  </a:solidFill>
                </a:rPr>
                <a:t>and</a:t>
              </a:r>
              <a:r>
                <a:rPr lang="de-CH" dirty="0">
                  <a:solidFill>
                    <a:srgbClr val="1E5A9A"/>
                  </a:solidFill>
                </a:rPr>
                <a:t> Borders</a:t>
              </a:r>
              <a:endParaRPr lang="en-US" dirty="0">
                <a:solidFill>
                  <a:srgbClr val="1E5A9A"/>
                </a:solidFill>
              </a:endParaRP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55F2B4BB-B175-47B2-947C-A133BCA31521}"/>
                </a:ext>
              </a:extLst>
            </p:cNvPr>
            <p:cNvSpPr txBox="1"/>
            <p:nvPr/>
          </p:nvSpPr>
          <p:spPr>
            <a:xfrm>
              <a:off x="6706060" y="3031294"/>
              <a:ext cx="829224" cy="431538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019</a:t>
              </a:r>
            </a:p>
          </p:txBody>
        </p: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2F254DB6-D2DD-40B5-ACB0-BCCC9621E7BC}"/>
                </a:ext>
              </a:extLst>
            </p:cNvPr>
            <p:cNvCxnSpPr/>
            <p:nvPr/>
          </p:nvCxnSpPr>
          <p:spPr>
            <a:xfrm>
              <a:off x="5371676" y="3448552"/>
              <a:ext cx="0" cy="180865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914" name="Gruppieren 56">
            <a:extLst>
              <a:ext uri="{FF2B5EF4-FFF2-40B4-BE49-F238E27FC236}">
                <a16:creationId xmlns:a16="http://schemas.microsoft.com/office/drawing/2014/main" id="{8B542349-B366-4310-916A-E5CB1E3AFFD4}"/>
              </a:ext>
            </a:extLst>
          </p:cNvPr>
          <p:cNvGrpSpPr>
            <a:grpSpLocks/>
          </p:cNvGrpSpPr>
          <p:nvPr/>
        </p:nvGrpSpPr>
        <p:grpSpPr bwMode="auto">
          <a:xfrm>
            <a:off x="3157538" y="3932238"/>
            <a:ext cx="1225550" cy="2295525"/>
            <a:chOff x="1212157" y="3689089"/>
            <a:chExt cx="1382510" cy="2294350"/>
          </a:xfrm>
        </p:grpSpPr>
        <p:cxnSp>
          <p:nvCxnSpPr>
            <p:cNvPr id="36" name="Gerade Verbindung 58">
              <a:extLst>
                <a:ext uri="{FF2B5EF4-FFF2-40B4-BE49-F238E27FC236}">
                  <a16:creationId xmlns:a16="http://schemas.microsoft.com/office/drawing/2014/main" id="{469B0327-DF30-4946-8753-840D2A9C0301}"/>
                </a:ext>
              </a:extLst>
            </p:cNvPr>
            <p:cNvCxnSpPr/>
            <p:nvPr/>
          </p:nvCxnSpPr>
          <p:spPr>
            <a:xfrm>
              <a:off x="1228274" y="3689089"/>
              <a:ext cx="0" cy="179295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C139A863-FEFF-463D-81AF-FC1384E687E7}"/>
                </a:ext>
              </a:extLst>
            </p:cNvPr>
            <p:cNvSpPr txBox="1"/>
            <p:nvPr/>
          </p:nvSpPr>
          <p:spPr>
            <a:xfrm>
              <a:off x="1378702" y="5294817"/>
              <a:ext cx="1215965" cy="688622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endParaRPr lang="de-DE" dirty="0">
                <a:solidFill>
                  <a:srgbClr val="1E5A9A"/>
                </a:solidFill>
              </a:endParaRPr>
            </a:p>
          </p:txBody>
        </p:sp>
        <p:cxnSp>
          <p:nvCxnSpPr>
            <p:cNvPr id="38" name="Gerade Verbindung 61">
              <a:extLst>
                <a:ext uri="{FF2B5EF4-FFF2-40B4-BE49-F238E27FC236}">
                  <a16:creationId xmlns:a16="http://schemas.microsoft.com/office/drawing/2014/main" id="{6DB1E6A6-8AC9-48B1-A929-750CA4CA683D}"/>
                </a:ext>
              </a:extLst>
            </p:cNvPr>
            <p:cNvCxnSpPr/>
            <p:nvPr/>
          </p:nvCxnSpPr>
          <p:spPr>
            <a:xfrm>
              <a:off x="1212157" y="4390405"/>
              <a:ext cx="0" cy="79969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915" name="Gruppieren 87">
            <a:extLst>
              <a:ext uri="{FF2B5EF4-FFF2-40B4-BE49-F238E27FC236}">
                <a16:creationId xmlns:a16="http://schemas.microsoft.com/office/drawing/2014/main" id="{07E75E03-792A-4AB9-A26F-01FE08FA7647}"/>
              </a:ext>
            </a:extLst>
          </p:cNvPr>
          <p:cNvGrpSpPr>
            <a:grpSpLocks/>
          </p:cNvGrpSpPr>
          <p:nvPr/>
        </p:nvGrpSpPr>
        <p:grpSpPr bwMode="auto">
          <a:xfrm>
            <a:off x="1574800" y="3771900"/>
            <a:ext cx="2254250" cy="1466850"/>
            <a:chOff x="6501395" y="3528000"/>
            <a:chExt cx="2299802" cy="1466640"/>
          </a:xfrm>
        </p:grpSpPr>
        <p:sp>
          <p:nvSpPr>
            <p:cNvPr id="46" name="Richtungspfeil 45">
              <a:extLst>
                <a:ext uri="{FF2B5EF4-FFF2-40B4-BE49-F238E27FC236}">
                  <a16:creationId xmlns:a16="http://schemas.microsoft.com/office/drawing/2014/main" id="{55B4C314-6B46-4302-AF89-F53B9C1055F4}"/>
                </a:ext>
              </a:extLst>
            </p:cNvPr>
            <p:cNvSpPr/>
            <p:nvPr/>
          </p:nvSpPr>
          <p:spPr>
            <a:xfrm>
              <a:off x="7265836" y="3528000"/>
              <a:ext cx="1535361" cy="269836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47" name="Gerade Verbindung 33">
              <a:extLst>
                <a:ext uri="{FF2B5EF4-FFF2-40B4-BE49-F238E27FC236}">
                  <a16:creationId xmlns:a16="http://schemas.microsoft.com/office/drawing/2014/main" id="{C99D3687-28FE-46D2-8C6C-E0752ED205F9}"/>
                </a:ext>
              </a:extLst>
            </p:cNvPr>
            <p:cNvCxnSpPr/>
            <p:nvPr/>
          </p:nvCxnSpPr>
          <p:spPr>
            <a:xfrm>
              <a:off x="6624483" y="3689902"/>
              <a:ext cx="0" cy="179362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E16D47A0-0B14-4EF8-9D41-DC02F213AB1F}"/>
                </a:ext>
              </a:extLst>
            </p:cNvPr>
            <p:cNvSpPr txBox="1"/>
            <p:nvPr/>
          </p:nvSpPr>
          <p:spPr>
            <a:xfrm>
              <a:off x="6501395" y="3905771"/>
              <a:ext cx="1237358" cy="431738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spc="-270" dirty="0">
                  <a:solidFill>
                    <a:srgbClr val="1E5A9A"/>
                  </a:solidFill>
                </a:rPr>
                <a:t>1</a:t>
              </a:r>
              <a:r>
                <a:rPr lang="de-DE" sz="2650" dirty="0">
                  <a:solidFill>
                    <a:srgbClr val="1E5A9A"/>
                  </a:solidFill>
                </a:rPr>
                <a:t>946</a:t>
              </a:r>
            </a:p>
          </p:txBody>
        </p: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F2EF6529-4992-474A-9100-002FEF2989F6}"/>
                </a:ext>
              </a:extLst>
            </p:cNvPr>
            <p:cNvSpPr txBox="1"/>
            <p:nvPr/>
          </p:nvSpPr>
          <p:spPr>
            <a:xfrm>
              <a:off x="6705462" y="4418460"/>
              <a:ext cx="1277848" cy="576180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en-GB" dirty="0">
                  <a:solidFill>
                    <a:srgbClr val="1E5A9A"/>
                  </a:solidFill>
                </a:rPr>
                <a:t>Battery Tractors</a:t>
              </a:r>
            </a:p>
            <a:p>
              <a:pPr>
                <a:defRPr/>
              </a:pPr>
              <a:r>
                <a:rPr lang="en-GB" dirty="0" err="1">
                  <a:solidFill>
                    <a:srgbClr val="1E5A9A"/>
                  </a:solidFill>
                </a:rPr>
                <a:t>Berner</a:t>
              </a:r>
              <a:r>
                <a:rPr lang="en-GB" dirty="0">
                  <a:solidFill>
                    <a:srgbClr val="1E5A9A"/>
                  </a:solidFill>
                </a:rPr>
                <a:t> </a:t>
              </a:r>
              <a:r>
                <a:rPr lang="en-GB" dirty="0" err="1">
                  <a:solidFill>
                    <a:srgbClr val="1E5A9A"/>
                  </a:solidFill>
                </a:rPr>
                <a:t>Oberland</a:t>
              </a:r>
              <a:r>
                <a:rPr lang="en-GB" dirty="0">
                  <a:solidFill>
                    <a:srgbClr val="1E5A9A"/>
                  </a:solidFill>
                </a:rPr>
                <a:t> </a:t>
              </a:r>
              <a:r>
                <a:rPr lang="en-GB" dirty="0" err="1">
                  <a:solidFill>
                    <a:srgbClr val="1E5A9A"/>
                  </a:solidFill>
                </a:rPr>
                <a:t>Bahnen</a:t>
              </a:r>
              <a:endParaRPr lang="en-GB" dirty="0">
                <a:solidFill>
                  <a:srgbClr val="1E5A9A"/>
                </a:solidFill>
              </a:endParaRPr>
            </a:p>
            <a:p>
              <a:pPr>
                <a:defRPr/>
              </a:pPr>
              <a:r>
                <a:rPr lang="en-GB" dirty="0">
                  <a:solidFill>
                    <a:srgbClr val="1E5A9A"/>
                  </a:solidFill>
                </a:rPr>
                <a:t>Switzerland </a:t>
              </a:r>
            </a:p>
          </p:txBody>
        </p:sp>
        <p:cxnSp>
          <p:nvCxnSpPr>
            <p:cNvPr id="50" name="Gerade Verbindung 42">
              <a:extLst>
                <a:ext uri="{FF2B5EF4-FFF2-40B4-BE49-F238E27FC236}">
                  <a16:creationId xmlns:a16="http://schemas.microsoft.com/office/drawing/2014/main" id="{FDB60D70-7A78-492E-BB36-AB02CCF3D293}"/>
                </a:ext>
              </a:extLst>
            </p:cNvPr>
            <p:cNvCxnSpPr/>
            <p:nvPr/>
          </p:nvCxnSpPr>
          <p:spPr>
            <a:xfrm>
              <a:off x="6587233" y="4426396"/>
              <a:ext cx="0" cy="369835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0916" name="Gruppieren 117">
            <a:extLst>
              <a:ext uri="{FF2B5EF4-FFF2-40B4-BE49-F238E27FC236}">
                <a16:creationId xmlns:a16="http://schemas.microsoft.com/office/drawing/2014/main" id="{E93FB127-F8C4-453E-BBDF-9D8D43ADB651}"/>
              </a:ext>
            </a:extLst>
          </p:cNvPr>
          <p:cNvGrpSpPr>
            <a:grpSpLocks/>
          </p:cNvGrpSpPr>
          <p:nvPr/>
        </p:nvGrpSpPr>
        <p:grpSpPr bwMode="auto">
          <a:xfrm>
            <a:off x="2551113" y="3700463"/>
            <a:ext cx="2843212" cy="1536700"/>
            <a:chOff x="2789761" y="3427258"/>
            <a:chExt cx="2842782" cy="1536077"/>
          </a:xfrm>
        </p:grpSpPr>
        <p:sp>
          <p:nvSpPr>
            <p:cNvPr id="52" name="Richtungspfeil 51">
              <a:extLst>
                <a:ext uri="{FF2B5EF4-FFF2-40B4-BE49-F238E27FC236}">
                  <a16:creationId xmlns:a16="http://schemas.microsoft.com/office/drawing/2014/main" id="{898B5FBB-2AEE-4EB4-A758-C45358C03388}"/>
                </a:ext>
              </a:extLst>
            </p:cNvPr>
            <p:cNvSpPr/>
            <p:nvPr/>
          </p:nvSpPr>
          <p:spPr>
            <a:xfrm>
              <a:off x="4392894" y="3501840"/>
              <a:ext cx="1104733" cy="271353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53" name="Gerade Verbindung 119">
              <a:extLst>
                <a:ext uri="{FF2B5EF4-FFF2-40B4-BE49-F238E27FC236}">
                  <a16:creationId xmlns:a16="http://schemas.microsoft.com/office/drawing/2014/main" id="{AD409EA0-47F2-4821-89F8-43E2FDBD1E97}"/>
                </a:ext>
              </a:extLst>
            </p:cNvPr>
            <p:cNvCxnSpPr/>
            <p:nvPr/>
          </p:nvCxnSpPr>
          <p:spPr>
            <a:xfrm>
              <a:off x="4840501" y="3690676"/>
              <a:ext cx="0" cy="179314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1EC7EB59-6880-4F6E-A084-DBA78CC2FF60}"/>
                </a:ext>
              </a:extLst>
            </p:cNvPr>
            <p:cNvSpPr txBox="1"/>
            <p:nvPr/>
          </p:nvSpPr>
          <p:spPr>
            <a:xfrm>
              <a:off x="4805581" y="3904901"/>
              <a:ext cx="826962" cy="433212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</a:t>
              </a:r>
              <a:r>
                <a:rPr lang="de-DE" sz="2650" spc="-70" dirty="0">
                  <a:solidFill>
                    <a:srgbClr val="1E5A9A"/>
                  </a:solidFill>
                </a:rPr>
                <a:t>017</a:t>
              </a:r>
              <a:endParaRPr lang="de-DE" sz="2650" dirty="0">
                <a:solidFill>
                  <a:srgbClr val="1E5A9A"/>
                </a:solidFill>
              </a:endParaRPr>
            </a:p>
          </p:txBody>
        </p:sp>
        <p:cxnSp>
          <p:nvCxnSpPr>
            <p:cNvPr id="55" name="Gerade Verbindung 122">
              <a:extLst>
                <a:ext uri="{FF2B5EF4-FFF2-40B4-BE49-F238E27FC236}">
                  <a16:creationId xmlns:a16="http://schemas.microsoft.com/office/drawing/2014/main" id="{CC10571F-E752-4D3E-8E6B-2D71E2DF8CAA}"/>
                </a:ext>
              </a:extLst>
            </p:cNvPr>
            <p:cNvCxnSpPr/>
            <p:nvPr/>
          </p:nvCxnSpPr>
          <p:spPr>
            <a:xfrm flipH="1">
              <a:off x="4834152" y="4425390"/>
              <a:ext cx="3175" cy="537945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9">
              <a:extLst>
                <a:ext uri="{FF2B5EF4-FFF2-40B4-BE49-F238E27FC236}">
                  <a16:creationId xmlns:a16="http://schemas.microsoft.com/office/drawing/2014/main" id="{DE955C78-91B4-418F-A04E-6FAFF48516EA}"/>
                </a:ext>
              </a:extLst>
            </p:cNvPr>
            <p:cNvCxnSpPr/>
            <p:nvPr/>
          </p:nvCxnSpPr>
          <p:spPr>
            <a:xfrm>
              <a:off x="2789761" y="3427258"/>
              <a:ext cx="0" cy="19835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07B3B67-BA51-460B-B20C-5C030AE9493F}"/>
                </a:ext>
              </a:extLst>
            </p:cNvPr>
            <p:cNvSpPr txBox="1"/>
            <p:nvPr/>
          </p:nvSpPr>
          <p:spPr>
            <a:xfrm>
              <a:off x="3327842" y="3904901"/>
              <a:ext cx="828550" cy="433212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</a:t>
              </a:r>
              <a:r>
                <a:rPr lang="de-DE" sz="2650" spc="-70" dirty="0">
                  <a:solidFill>
                    <a:srgbClr val="1E5A9A"/>
                  </a:solidFill>
                </a:rPr>
                <a:t>008</a:t>
              </a:r>
              <a:endParaRPr lang="de-DE" sz="2650" dirty="0">
                <a:solidFill>
                  <a:srgbClr val="1E5A9A"/>
                </a:solidFill>
              </a:endParaRPr>
            </a:p>
          </p:txBody>
        </p:sp>
      </p:grpSp>
      <p:grpSp>
        <p:nvGrpSpPr>
          <p:cNvPr id="80917" name="Gruppieren 123">
            <a:extLst>
              <a:ext uri="{FF2B5EF4-FFF2-40B4-BE49-F238E27FC236}">
                <a16:creationId xmlns:a16="http://schemas.microsoft.com/office/drawing/2014/main" id="{770FA9EB-77F4-4DA4-A8E5-F0A3AA9A62BD}"/>
              </a:ext>
            </a:extLst>
          </p:cNvPr>
          <p:cNvGrpSpPr>
            <a:grpSpLocks/>
          </p:cNvGrpSpPr>
          <p:nvPr/>
        </p:nvGrpSpPr>
        <p:grpSpPr bwMode="auto">
          <a:xfrm>
            <a:off x="3856038" y="2420938"/>
            <a:ext cx="4141787" cy="1452562"/>
            <a:chOff x="5326758" y="2176392"/>
            <a:chExt cx="4177512" cy="1452727"/>
          </a:xfrm>
        </p:grpSpPr>
        <p:cxnSp>
          <p:nvCxnSpPr>
            <p:cNvPr id="59" name="Gerade Verbindung 125">
              <a:extLst>
                <a:ext uri="{FF2B5EF4-FFF2-40B4-BE49-F238E27FC236}">
                  <a16:creationId xmlns:a16="http://schemas.microsoft.com/office/drawing/2014/main" id="{45B714E9-1298-4C1E-AB61-9684DDAC45A8}"/>
                </a:ext>
              </a:extLst>
            </p:cNvPr>
            <p:cNvCxnSpPr/>
            <p:nvPr/>
          </p:nvCxnSpPr>
          <p:spPr>
            <a:xfrm>
              <a:off x="6809463" y="2176392"/>
              <a:ext cx="0" cy="79860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26">
              <a:extLst>
                <a:ext uri="{FF2B5EF4-FFF2-40B4-BE49-F238E27FC236}">
                  <a16:creationId xmlns:a16="http://schemas.microsoft.com/office/drawing/2014/main" id="{8D2C698F-C9C3-43BE-9F95-3824DD671D7E}"/>
                </a:ext>
              </a:extLst>
            </p:cNvPr>
            <p:cNvCxnSpPr/>
            <p:nvPr/>
          </p:nvCxnSpPr>
          <p:spPr>
            <a:xfrm>
              <a:off x="6809463" y="3449712"/>
              <a:ext cx="0" cy="179407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F8168597-BE7B-4C85-A7EF-F3D909B22481}"/>
                </a:ext>
              </a:extLst>
            </p:cNvPr>
            <p:cNvSpPr txBox="1"/>
            <p:nvPr/>
          </p:nvSpPr>
          <p:spPr>
            <a:xfrm>
              <a:off x="8495518" y="2485989"/>
              <a:ext cx="1008752" cy="468366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H2 FLIRT</a:t>
              </a:r>
            </a:p>
            <a:p>
              <a:pPr>
                <a:defRPr/>
              </a:pPr>
              <a:r>
                <a:rPr dirty="0">
                  <a:solidFill>
                    <a:srgbClr val="1E5A9A"/>
                  </a:solidFill>
                </a:rPr>
                <a:t>S</a:t>
              </a:r>
              <a:r>
                <a:rPr lang="de-CH" dirty="0">
                  <a:solidFill>
                    <a:srgbClr val="1E5A9A"/>
                  </a:solidFill>
                </a:rPr>
                <a:t>BCTA, California USA</a:t>
              </a:r>
              <a:endParaRPr lang="de-DE" dirty="0">
                <a:solidFill>
                  <a:srgbClr val="1E5A9A"/>
                </a:solidFill>
              </a:endParaRP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63E92FF5-9D0C-4DE4-AA4E-89A2A9C6118E}"/>
                </a:ext>
              </a:extLst>
            </p:cNvPr>
            <p:cNvSpPr txBox="1"/>
            <p:nvPr/>
          </p:nvSpPr>
          <p:spPr>
            <a:xfrm>
              <a:off x="6785444" y="3030564"/>
              <a:ext cx="827817" cy="431849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017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FD218B55-5200-4626-9B23-3AF108EF48C4}"/>
                </a:ext>
              </a:extLst>
            </p:cNvPr>
            <p:cNvSpPr txBox="1"/>
            <p:nvPr/>
          </p:nvSpPr>
          <p:spPr>
            <a:xfrm>
              <a:off x="5326758" y="3030564"/>
              <a:ext cx="827816" cy="431849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012</a:t>
              </a:r>
            </a:p>
          </p:txBody>
        </p:sp>
      </p:grpSp>
      <p:cxnSp>
        <p:nvCxnSpPr>
          <p:cNvPr id="64" name="Gerade Verbindung 129">
            <a:extLst>
              <a:ext uri="{FF2B5EF4-FFF2-40B4-BE49-F238E27FC236}">
                <a16:creationId xmlns:a16="http://schemas.microsoft.com/office/drawing/2014/main" id="{0D2029A7-E254-4040-A775-8E8D49D36ED7}"/>
              </a:ext>
            </a:extLst>
          </p:cNvPr>
          <p:cNvCxnSpPr/>
          <p:nvPr/>
        </p:nvCxnSpPr>
        <p:spPr>
          <a:xfrm>
            <a:off x="1554956" y="3762069"/>
            <a:ext cx="0" cy="338708"/>
          </a:xfrm>
          <a:prstGeom prst="line">
            <a:avLst/>
          </a:prstGeom>
          <a:ln w="19050">
            <a:solidFill>
              <a:schemeClr val="bg1"/>
            </a:solidFill>
          </a:ln>
          <a:scene3d>
            <a:camera prst="orthographicFront">
              <a:rot lat="0" lon="0" rev="20099999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130">
            <a:extLst>
              <a:ext uri="{FF2B5EF4-FFF2-40B4-BE49-F238E27FC236}">
                <a16:creationId xmlns:a16="http://schemas.microsoft.com/office/drawing/2014/main" id="{C57B9D22-7C0D-419A-98E6-A251CAF6210B}"/>
              </a:ext>
            </a:extLst>
          </p:cNvPr>
          <p:cNvCxnSpPr/>
          <p:nvPr/>
        </p:nvCxnSpPr>
        <p:spPr>
          <a:xfrm>
            <a:off x="1634331" y="3711393"/>
            <a:ext cx="0" cy="338708"/>
          </a:xfrm>
          <a:prstGeom prst="line">
            <a:avLst/>
          </a:prstGeom>
          <a:ln w="19050">
            <a:solidFill>
              <a:schemeClr val="bg1"/>
            </a:solidFill>
          </a:ln>
          <a:scene3d>
            <a:camera prst="orthographicFront">
              <a:rot lat="0" lon="0" rev="20099999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59">
            <a:extLst>
              <a:ext uri="{FF2B5EF4-FFF2-40B4-BE49-F238E27FC236}">
                <a16:creationId xmlns:a16="http://schemas.microsoft.com/office/drawing/2014/main" id="{CBBAA37D-183E-459F-87B8-AE0DE661D21E}"/>
              </a:ext>
            </a:extLst>
          </p:cNvPr>
          <p:cNvSpPr/>
          <p:nvPr/>
        </p:nvSpPr>
        <p:spPr>
          <a:xfrm>
            <a:off x="5673725" y="5386388"/>
            <a:ext cx="1060450" cy="1062037"/>
          </a:xfrm>
          <a:prstGeom prst="ellipse">
            <a:avLst/>
          </a:prstGeom>
          <a:blipFill dpi="0" rotWithShape="0">
            <a:blip r:embed="rId3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67" name="Ellipse 59">
            <a:extLst>
              <a:ext uri="{FF2B5EF4-FFF2-40B4-BE49-F238E27FC236}">
                <a16:creationId xmlns:a16="http://schemas.microsoft.com/office/drawing/2014/main" id="{A1CBA961-A981-4DB9-8139-63005F4BF135}"/>
              </a:ext>
            </a:extLst>
          </p:cNvPr>
          <p:cNvSpPr/>
          <p:nvPr/>
        </p:nvSpPr>
        <p:spPr>
          <a:xfrm>
            <a:off x="2266950" y="1841500"/>
            <a:ext cx="1062038" cy="1062038"/>
          </a:xfrm>
          <a:prstGeom prst="ellipse">
            <a:avLst/>
          </a:prstGeom>
          <a:blipFill dpi="0" rotWithShape="0">
            <a:blip r:embed="rId4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68" name="Ellipse 57">
            <a:extLst>
              <a:ext uri="{FF2B5EF4-FFF2-40B4-BE49-F238E27FC236}">
                <a16:creationId xmlns:a16="http://schemas.microsoft.com/office/drawing/2014/main" id="{4D45D761-9AF1-450B-A2BE-412800251237}"/>
              </a:ext>
            </a:extLst>
          </p:cNvPr>
          <p:cNvSpPr/>
          <p:nvPr/>
        </p:nvSpPr>
        <p:spPr>
          <a:xfrm>
            <a:off x="7288213" y="5154613"/>
            <a:ext cx="1062037" cy="1062037"/>
          </a:xfrm>
          <a:prstGeom prst="ellipse">
            <a:avLst/>
          </a:prstGeom>
          <a:blipFill dpi="0" rotWithShape="0">
            <a:blip r:embed="rId5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69" name="Ellipse 61">
            <a:extLst>
              <a:ext uri="{FF2B5EF4-FFF2-40B4-BE49-F238E27FC236}">
                <a16:creationId xmlns:a16="http://schemas.microsoft.com/office/drawing/2014/main" id="{7FF878B1-84DB-4C67-9BD2-B4666131F74B}"/>
              </a:ext>
            </a:extLst>
          </p:cNvPr>
          <p:cNvSpPr/>
          <p:nvPr/>
        </p:nvSpPr>
        <p:spPr>
          <a:xfrm>
            <a:off x="6394450" y="1592263"/>
            <a:ext cx="1062038" cy="1062037"/>
          </a:xfrm>
          <a:prstGeom prst="ellipse">
            <a:avLst/>
          </a:prstGeom>
          <a:blipFill dpi="0" rotWithShape="0">
            <a:blip r:embed="rId6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grpSp>
        <p:nvGrpSpPr>
          <p:cNvPr id="80924" name="Gruppieren 92">
            <a:extLst>
              <a:ext uri="{FF2B5EF4-FFF2-40B4-BE49-F238E27FC236}">
                <a16:creationId xmlns:a16="http://schemas.microsoft.com/office/drawing/2014/main" id="{E96FE2CD-23A6-40C3-8D09-095C1A96C3D0}"/>
              </a:ext>
            </a:extLst>
          </p:cNvPr>
          <p:cNvGrpSpPr>
            <a:grpSpLocks/>
          </p:cNvGrpSpPr>
          <p:nvPr/>
        </p:nvGrpSpPr>
        <p:grpSpPr bwMode="auto">
          <a:xfrm>
            <a:off x="4686300" y="3773488"/>
            <a:ext cx="2122488" cy="1662112"/>
            <a:chOff x="3419879" y="3528000"/>
            <a:chExt cx="2122370" cy="1662225"/>
          </a:xfrm>
        </p:grpSpPr>
        <p:sp>
          <p:nvSpPr>
            <p:cNvPr id="71" name="Richtungspfeil 70">
              <a:extLst>
                <a:ext uri="{FF2B5EF4-FFF2-40B4-BE49-F238E27FC236}">
                  <a16:creationId xmlns:a16="http://schemas.microsoft.com/office/drawing/2014/main" id="{9BC72385-0AAA-4426-8E87-8C1B873A6140}"/>
                </a:ext>
              </a:extLst>
            </p:cNvPr>
            <p:cNvSpPr/>
            <p:nvPr/>
          </p:nvSpPr>
          <p:spPr>
            <a:xfrm>
              <a:off x="3986585" y="3528000"/>
              <a:ext cx="1469943" cy="269893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72" name="Gerade Verbindung 94">
              <a:extLst>
                <a:ext uri="{FF2B5EF4-FFF2-40B4-BE49-F238E27FC236}">
                  <a16:creationId xmlns:a16="http://schemas.microsoft.com/office/drawing/2014/main" id="{6378FF63-0DBF-445E-9EDA-A8F0145B3739}"/>
                </a:ext>
              </a:extLst>
            </p:cNvPr>
            <p:cNvCxnSpPr/>
            <p:nvPr/>
          </p:nvCxnSpPr>
          <p:spPr>
            <a:xfrm>
              <a:off x="4750130" y="3689936"/>
              <a:ext cx="0" cy="179399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4A95DAF0-4C66-4AE4-81B1-508CD2F756DE}"/>
                </a:ext>
              </a:extLst>
            </p:cNvPr>
            <p:cNvSpPr txBox="1"/>
            <p:nvPr/>
          </p:nvSpPr>
          <p:spPr>
            <a:xfrm>
              <a:off x="4713620" y="3905851"/>
              <a:ext cx="828629" cy="431829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018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2F79A3DF-0F2B-44DB-9DB2-33C0C8093C39}"/>
                </a:ext>
              </a:extLst>
            </p:cNvPr>
            <p:cNvSpPr txBox="1"/>
            <p:nvPr/>
          </p:nvSpPr>
          <p:spPr>
            <a:xfrm>
              <a:off x="3419879" y="4453575"/>
              <a:ext cx="1081028" cy="576302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pt-BR" dirty="0">
                  <a:solidFill>
                    <a:srgbClr val="1E5A9A"/>
                  </a:solidFill>
                </a:rPr>
                <a:t>WINK BMU / WINK ZERO EMISSION,</a:t>
              </a:r>
            </a:p>
            <a:p>
              <a:pPr>
                <a:defRPr/>
              </a:pPr>
              <a:r>
                <a:rPr lang="pt-BR" dirty="0">
                  <a:solidFill>
                    <a:srgbClr val="1E5A9A"/>
                  </a:solidFill>
                </a:rPr>
                <a:t>The </a:t>
              </a:r>
              <a:r>
                <a:rPr lang="pt-BR" dirty="0" err="1">
                  <a:solidFill>
                    <a:srgbClr val="1E5A9A"/>
                  </a:solidFill>
                </a:rPr>
                <a:t>Netherlands</a:t>
              </a:r>
              <a:endParaRPr lang="de-DE" dirty="0">
                <a:solidFill>
                  <a:srgbClr val="1E5A9A"/>
                </a:solidFill>
              </a:endParaRPr>
            </a:p>
          </p:txBody>
        </p:sp>
        <p:cxnSp>
          <p:nvCxnSpPr>
            <p:cNvPr id="75" name="Gerade Verbindung 97">
              <a:extLst>
                <a:ext uri="{FF2B5EF4-FFF2-40B4-BE49-F238E27FC236}">
                  <a16:creationId xmlns:a16="http://schemas.microsoft.com/office/drawing/2014/main" id="{C19BA0F1-3807-469A-BE72-F8CAEB766EDC}"/>
                </a:ext>
              </a:extLst>
            </p:cNvPr>
            <p:cNvCxnSpPr/>
            <p:nvPr/>
          </p:nvCxnSpPr>
          <p:spPr>
            <a:xfrm>
              <a:off x="4745368" y="4391659"/>
              <a:ext cx="0" cy="798566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6" name="Gerade Verbindung 73">
            <a:extLst>
              <a:ext uri="{FF2B5EF4-FFF2-40B4-BE49-F238E27FC236}">
                <a16:creationId xmlns:a16="http://schemas.microsoft.com/office/drawing/2014/main" id="{FD620DA4-426C-487F-9BF0-EBAADE428755}"/>
              </a:ext>
            </a:extLst>
          </p:cNvPr>
          <p:cNvCxnSpPr/>
          <p:nvPr/>
        </p:nvCxnSpPr>
        <p:spPr>
          <a:xfrm>
            <a:off x="5324475" y="3694113"/>
            <a:ext cx="0" cy="184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Ellipse 61">
            <a:extLst>
              <a:ext uri="{FF2B5EF4-FFF2-40B4-BE49-F238E27FC236}">
                <a16:creationId xmlns:a16="http://schemas.microsoft.com/office/drawing/2014/main" id="{574EF021-A6D9-446E-938A-C1389781105D}"/>
              </a:ext>
            </a:extLst>
          </p:cNvPr>
          <p:cNvSpPr/>
          <p:nvPr/>
        </p:nvSpPr>
        <p:spPr>
          <a:xfrm>
            <a:off x="3536950" y="1592263"/>
            <a:ext cx="1062038" cy="1062037"/>
          </a:xfrm>
          <a:prstGeom prst="ellipse">
            <a:avLst/>
          </a:prstGeom>
          <a:blipFill dpi="0" rotWithShape="0">
            <a:blip r:embed="rId7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78" name="Ellipse 59">
            <a:extLst>
              <a:ext uri="{FF2B5EF4-FFF2-40B4-BE49-F238E27FC236}">
                <a16:creationId xmlns:a16="http://schemas.microsoft.com/office/drawing/2014/main" id="{76029044-B32D-40AB-AB0A-7D1FCC7AB8FD}"/>
              </a:ext>
            </a:extLst>
          </p:cNvPr>
          <p:cNvSpPr/>
          <p:nvPr/>
        </p:nvSpPr>
        <p:spPr>
          <a:xfrm>
            <a:off x="1087438" y="5054600"/>
            <a:ext cx="1060450" cy="1062038"/>
          </a:xfrm>
          <a:prstGeom prst="ellipse">
            <a:avLst/>
          </a:prstGeom>
          <a:blipFill dpi="0" rotWithShape="0">
            <a:blip r:embed="rId8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79" name="Ellipse 59">
            <a:extLst>
              <a:ext uri="{FF2B5EF4-FFF2-40B4-BE49-F238E27FC236}">
                <a16:creationId xmlns:a16="http://schemas.microsoft.com/office/drawing/2014/main" id="{8FB8B255-E00B-45EF-8197-483CE599015D}"/>
              </a:ext>
            </a:extLst>
          </p:cNvPr>
          <p:cNvSpPr/>
          <p:nvPr/>
        </p:nvSpPr>
        <p:spPr>
          <a:xfrm>
            <a:off x="682625" y="1370013"/>
            <a:ext cx="1060450" cy="1062037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80" name="Ellipse 59">
            <a:extLst>
              <a:ext uri="{FF2B5EF4-FFF2-40B4-BE49-F238E27FC236}">
                <a16:creationId xmlns:a16="http://schemas.microsoft.com/office/drawing/2014/main" id="{401BF80D-1B92-4350-9B8A-4CB0BDE6689A}"/>
              </a:ext>
            </a:extLst>
          </p:cNvPr>
          <p:cNvSpPr/>
          <p:nvPr/>
        </p:nvSpPr>
        <p:spPr>
          <a:xfrm>
            <a:off x="2595563" y="5437188"/>
            <a:ext cx="1060450" cy="1062037"/>
          </a:xfrm>
          <a:prstGeom prst="ellipse">
            <a:avLst/>
          </a:prstGeom>
          <a:blipFill dpi="0" rotWithShape="0">
            <a:blip r:embed="rId10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FFC4CA48-6FF8-4718-843D-451C8F54540F}"/>
              </a:ext>
            </a:extLst>
          </p:cNvPr>
          <p:cNvSpPr txBox="1"/>
          <p:nvPr/>
        </p:nvSpPr>
        <p:spPr bwMode="auto">
          <a:xfrm>
            <a:off x="3268663" y="4632325"/>
            <a:ext cx="1109662" cy="666750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 dirty="0" err="1">
                <a:solidFill>
                  <a:srgbClr val="1E5A9A"/>
                </a:solidFill>
              </a:rPr>
              <a:t>Stadtwerke</a:t>
            </a:r>
            <a:r>
              <a:rPr lang="en-GB" dirty="0">
                <a:solidFill>
                  <a:srgbClr val="1E5A9A"/>
                </a:solidFill>
              </a:rPr>
              <a:t> </a:t>
            </a:r>
            <a:r>
              <a:rPr lang="en-GB" dirty="0" err="1">
                <a:solidFill>
                  <a:srgbClr val="1E5A9A"/>
                </a:solidFill>
              </a:rPr>
              <a:t>München</a:t>
            </a:r>
            <a:r>
              <a:rPr lang="en-GB" dirty="0">
                <a:solidFill>
                  <a:srgbClr val="1E5A9A"/>
                </a:solidFill>
              </a:rPr>
              <a:t>,</a:t>
            </a:r>
          </a:p>
          <a:p>
            <a:pPr>
              <a:defRPr/>
            </a:pPr>
            <a:r>
              <a:rPr lang="en-GB" dirty="0">
                <a:solidFill>
                  <a:srgbClr val="1E5A9A"/>
                </a:solidFill>
              </a:rPr>
              <a:t>Germany. Guiness-Worldrecord-18.98km on batteries.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0A53E38F-CA20-4067-A5D2-1CEA710A163F}"/>
              </a:ext>
            </a:extLst>
          </p:cNvPr>
          <p:cNvSpPr txBox="1"/>
          <p:nvPr/>
        </p:nvSpPr>
        <p:spPr bwMode="auto">
          <a:xfrm>
            <a:off x="5408613" y="2722563"/>
            <a:ext cx="1279525" cy="468312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CH" dirty="0">
                <a:solidFill>
                  <a:srgbClr val="1E5A9A"/>
                </a:solidFill>
              </a:rPr>
              <a:t>FLIRT AKKU, Prototype</a:t>
            </a:r>
          </a:p>
          <a:p>
            <a:pPr>
              <a:defRPr/>
            </a:pPr>
            <a:r>
              <a:rPr lang="de-CH" dirty="0">
                <a:solidFill>
                  <a:srgbClr val="1E5A9A"/>
                </a:solidFill>
              </a:rPr>
              <a:t>Germany</a:t>
            </a:r>
            <a:endParaRPr lang="en-US" dirty="0">
              <a:solidFill>
                <a:srgbClr val="1E5A9A"/>
              </a:solidFill>
            </a:endParaRPr>
          </a:p>
        </p:txBody>
      </p:sp>
      <p:sp>
        <p:nvSpPr>
          <p:cNvPr id="83" name="Ellipse 62">
            <a:extLst>
              <a:ext uri="{FF2B5EF4-FFF2-40B4-BE49-F238E27FC236}">
                <a16:creationId xmlns:a16="http://schemas.microsoft.com/office/drawing/2014/main" id="{5A495173-02B4-4105-9048-D7A074705117}"/>
              </a:ext>
            </a:extLst>
          </p:cNvPr>
          <p:cNvSpPr/>
          <p:nvPr/>
        </p:nvSpPr>
        <p:spPr>
          <a:xfrm>
            <a:off x="4116388" y="5299075"/>
            <a:ext cx="1062037" cy="1062038"/>
          </a:xfrm>
          <a:prstGeom prst="ellipse">
            <a:avLst/>
          </a:prstGeom>
          <a:blipFill>
            <a:blip r:embed="rId11"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84" name="Ellipse 62">
            <a:extLst>
              <a:ext uri="{FF2B5EF4-FFF2-40B4-BE49-F238E27FC236}">
                <a16:creationId xmlns:a16="http://schemas.microsoft.com/office/drawing/2014/main" id="{5CBE93F5-2AFA-4AA7-912E-FBAFBD38A805}"/>
              </a:ext>
            </a:extLst>
          </p:cNvPr>
          <p:cNvSpPr/>
          <p:nvPr/>
        </p:nvSpPr>
        <p:spPr>
          <a:xfrm>
            <a:off x="4949825" y="1411288"/>
            <a:ext cx="1062038" cy="1062037"/>
          </a:xfrm>
          <a:prstGeom prst="ellipse">
            <a:avLst/>
          </a:prstGeom>
          <a:blipFill dpi="0" rotWithShape="0">
            <a:blip r:embed="rId12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9D0040A8-E469-4487-A545-ACF4C88B2A4E}"/>
              </a:ext>
            </a:extLst>
          </p:cNvPr>
          <p:cNvSpPr txBox="1"/>
          <p:nvPr/>
        </p:nvSpPr>
        <p:spPr bwMode="auto">
          <a:xfrm>
            <a:off x="8191500" y="2722563"/>
            <a:ext cx="1279525" cy="468312"/>
          </a:xfrm>
          <a:prstGeom prst="rect">
            <a:avLst/>
          </a:prstGeom>
          <a:noFill/>
        </p:spPr>
        <p:txBody>
          <a:bodyPr lIns="0" tIns="0" rIns="0" bIns="0"/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CH" dirty="0" err="1">
                <a:solidFill>
                  <a:srgbClr val="1E5A9A"/>
                </a:solidFill>
              </a:rPr>
              <a:t>Milage</a:t>
            </a:r>
            <a:r>
              <a:rPr lang="de-CH" dirty="0">
                <a:solidFill>
                  <a:srgbClr val="1E5A9A"/>
                </a:solidFill>
              </a:rPr>
              <a:t> </a:t>
            </a:r>
            <a:r>
              <a:rPr lang="de-CH" dirty="0" err="1">
                <a:solidFill>
                  <a:srgbClr val="1E5A9A"/>
                </a:solidFill>
              </a:rPr>
              <a:t>Record</a:t>
            </a:r>
            <a:r>
              <a:rPr lang="de-CH" dirty="0">
                <a:solidFill>
                  <a:srgbClr val="1E5A9A"/>
                </a:solidFill>
              </a:rPr>
              <a:t> </a:t>
            </a:r>
          </a:p>
          <a:p>
            <a:pPr>
              <a:defRPr/>
            </a:pPr>
            <a:r>
              <a:rPr lang="de-CH" dirty="0">
                <a:solidFill>
                  <a:srgbClr val="1E5A9A"/>
                </a:solidFill>
              </a:rPr>
              <a:t>224 km</a:t>
            </a:r>
          </a:p>
        </p:txBody>
      </p:sp>
      <p:sp>
        <p:nvSpPr>
          <p:cNvPr id="93" name="Ellipse 62">
            <a:extLst>
              <a:ext uri="{FF2B5EF4-FFF2-40B4-BE49-F238E27FC236}">
                <a16:creationId xmlns:a16="http://schemas.microsoft.com/office/drawing/2014/main" id="{38FC1C42-C529-429E-B983-5EB888A4F00B}"/>
              </a:ext>
            </a:extLst>
          </p:cNvPr>
          <p:cNvSpPr/>
          <p:nvPr/>
        </p:nvSpPr>
        <p:spPr>
          <a:xfrm>
            <a:off x="7696200" y="1411288"/>
            <a:ext cx="1062038" cy="1062037"/>
          </a:xfrm>
          <a:prstGeom prst="ellipse">
            <a:avLst/>
          </a:prstGeom>
          <a:blipFill dpi="0" rotWithShape="0">
            <a:blip r:embed="rId12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>
              <a:solidFill>
                <a:srgbClr val="FFFFFF"/>
              </a:solidFill>
            </a:endParaRPr>
          </a:p>
        </p:txBody>
      </p:sp>
      <p:cxnSp>
        <p:nvCxnSpPr>
          <p:cNvPr id="94" name="Gerade Verbindung 125">
            <a:extLst>
              <a:ext uri="{FF2B5EF4-FFF2-40B4-BE49-F238E27FC236}">
                <a16:creationId xmlns:a16="http://schemas.microsoft.com/office/drawing/2014/main" id="{F0AAEF7B-50AB-4AB8-9859-E69BE2902A1D}"/>
              </a:ext>
            </a:extLst>
          </p:cNvPr>
          <p:cNvCxnSpPr/>
          <p:nvPr/>
        </p:nvCxnSpPr>
        <p:spPr bwMode="auto">
          <a:xfrm>
            <a:off x="8143875" y="2465388"/>
            <a:ext cx="0" cy="7985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feld 95">
            <a:extLst>
              <a:ext uri="{FF2B5EF4-FFF2-40B4-BE49-F238E27FC236}">
                <a16:creationId xmlns:a16="http://schemas.microsoft.com/office/drawing/2014/main" id="{77FB7FFE-7CB5-4840-9F0D-0B7EA6A2D51E}"/>
              </a:ext>
            </a:extLst>
          </p:cNvPr>
          <p:cNvSpPr txBox="1"/>
          <p:nvPr/>
        </p:nvSpPr>
        <p:spPr bwMode="auto">
          <a:xfrm>
            <a:off x="7783513" y="3227388"/>
            <a:ext cx="828675" cy="4318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>
              <a:defRPr/>
            </a:pPr>
            <a:r>
              <a:rPr lang="de-DE" sz="2650" dirty="0">
                <a:solidFill>
                  <a:srgbClr val="1E5A9A"/>
                </a:solidFill>
              </a:rPr>
              <a:t>2021</a:t>
            </a:r>
          </a:p>
        </p:txBody>
      </p:sp>
      <p:pic>
        <p:nvPicPr>
          <p:cNvPr id="80938" name="Grafik 6">
            <a:extLst>
              <a:ext uri="{FF2B5EF4-FFF2-40B4-BE49-F238E27FC236}">
                <a16:creationId xmlns:a16="http://schemas.microsoft.com/office/drawing/2014/main" id="{6F3D8EBF-89EE-4D9F-B2BC-F92322C7FC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925" y="2138363"/>
            <a:ext cx="501650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0939" name="Gruppieren 98">
            <a:extLst>
              <a:ext uri="{FF2B5EF4-FFF2-40B4-BE49-F238E27FC236}">
                <a16:creationId xmlns:a16="http://schemas.microsoft.com/office/drawing/2014/main" id="{06E37FD4-0B71-432A-90FA-382732900495}"/>
              </a:ext>
            </a:extLst>
          </p:cNvPr>
          <p:cNvGrpSpPr>
            <a:grpSpLocks/>
          </p:cNvGrpSpPr>
          <p:nvPr/>
        </p:nvGrpSpPr>
        <p:grpSpPr bwMode="auto">
          <a:xfrm>
            <a:off x="7021513" y="3773488"/>
            <a:ext cx="1584325" cy="1806575"/>
            <a:chOff x="5938853" y="3528000"/>
            <a:chExt cx="1587577" cy="1806018"/>
          </a:xfrm>
        </p:grpSpPr>
        <p:sp>
          <p:nvSpPr>
            <p:cNvPr id="40" name="Richtungspfeil 39">
              <a:extLst>
                <a:ext uri="{FF2B5EF4-FFF2-40B4-BE49-F238E27FC236}">
                  <a16:creationId xmlns:a16="http://schemas.microsoft.com/office/drawing/2014/main" id="{7CB76B20-B11E-43A2-8E3B-5D347F4FEAF8}"/>
                </a:ext>
              </a:extLst>
            </p:cNvPr>
            <p:cNvSpPr/>
            <p:nvPr/>
          </p:nvSpPr>
          <p:spPr>
            <a:xfrm>
              <a:off x="5938853" y="3528000"/>
              <a:ext cx="1587577" cy="269792"/>
            </a:xfrm>
            <a:prstGeom prst="homePlate">
              <a:avLst>
                <a:gd name="adj" fmla="val 44685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cxnSp>
          <p:nvCxnSpPr>
            <p:cNvPr id="41" name="Gerade Verbindung 100">
              <a:extLst>
                <a:ext uri="{FF2B5EF4-FFF2-40B4-BE49-F238E27FC236}">
                  <a16:creationId xmlns:a16="http://schemas.microsoft.com/office/drawing/2014/main" id="{F2554511-99AB-44B9-A1E9-5809DB3A7D68}"/>
                </a:ext>
              </a:extLst>
            </p:cNvPr>
            <p:cNvCxnSpPr/>
            <p:nvPr/>
          </p:nvCxnSpPr>
          <p:spPr>
            <a:xfrm>
              <a:off x="6226780" y="3689875"/>
              <a:ext cx="0" cy="179332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61395238-3FA9-4483-800F-A6C4612749F8}"/>
                </a:ext>
              </a:extLst>
            </p:cNvPr>
            <p:cNvSpPr txBox="1"/>
            <p:nvPr/>
          </p:nvSpPr>
          <p:spPr>
            <a:xfrm>
              <a:off x="6137697" y="3905709"/>
              <a:ext cx="827194" cy="431667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>
                <a:defRPr/>
              </a:pPr>
              <a:r>
                <a:rPr lang="de-DE" sz="2650" dirty="0">
                  <a:solidFill>
                    <a:srgbClr val="1E5A9A"/>
                  </a:solidFill>
                </a:rPr>
                <a:t>2019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53D0ACC9-918A-4422-94D0-282EF1DD4444}"/>
                </a:ext>
              </a:extLst>
            </p:cNvPr>
            <p:cNvSpPr txBox="1"/>
            <p:nvPr/>
          </p:nvSpPr>
          <p:spPr>
            <a:xfrm>
              <a:off x="6344496" y="4416726"/>
              <a:ext cx="929003" cy="696697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pPr>
                <a:defRPr/>
              </a:pPr>
              <a:r>
                <a:rPr lang="de-CH" dirty="0">
                  <a:solidFill>
                    <a:srgbClr val="1E5A9A"/>
                  </a:solidFill>
                </a:rPr>
                <a:t>Battery FLIRT for Schleswig Holstein, Germany</a:t>
              </a:r>
              <a:endParaRPr lang="de-DE" dirty="0">
                <a:solidFill>
                  <a:srgbClr val="1E5A9A"/>
                </a:solidFill>
              </a:endParaRPr>
            </a:p>
          </p:txBody>
        </p:sp>
        <p:cxnSp>
          <p:nvCxnSpPr>
            <p:cNvPr id="44" name="Gerade Verbindung 103">
              <a:extLst>
                <a:ext uri="{FF2B5EF4-FFF2-40B4-BE49-F238E27FC236}">
                  <a16:creationId xmlns:a16="http://schemas.microsoft.com/office/drawing/2014/main" id="{7E4A2816-E6D9-4768-90FE-253E3F4B854B}"/>
                </a:ext>
              </a:extLst>
            </p:cNvPr>
            <p:cNvCxnSpPr/>
            <p:nvPr/>
          </p:nvCxnSpPr>
          <p:spPr>
            <a:xfrm>
              <a:off x="6242687" y="4391334"/>
              <a:ext cx="0" cy="94268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5" name="Gerade Verbindung 73">
            <a:extLst>
              <a:ext uri="{FF2B5EF4-FFF2-40B4-BE49-F238E27FC236}">
                <a16:creationId xmlns:a16="http://schemas.microsoft.com/office/drawing/2014/main" id="{90AD9A8B-C339-4A45-B3B2-586DC57195D6}"/>
              </a:ext>
            </a:extLst>
          </p:cNvPr>
          <p:cNvCxnSpPr/>
          <p:nvPr/>
        </p:nvCxnSpPr>
        <p:spPr>
          <a:xfrm>
            <a:off x="8151813" y="3694113"/>
            <a:ext cx="0" cy="1841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F556657-C1DB-4AC7-A4B2-32E2886B0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noProof="0" smtClean="0"/>
              <a:t>24</a:t>
            </a:fld>
            <a:endParaRPr lang="de-CH" sz="750" noProof="0" dirty="0"/>
          </a:p>
        </p:txBody>
      </p:sp>
      <p:sp>
        <p:nvSpPr>
          <p:cNvPr id="89" name="Fußzeilenplatzhalter 7">
            <a:extLst>
              <a:ext uri="{FF2B5EF4-FFF2-40B4-BE49-F238E27FC236}">
                <a16:creationId xmlns:a16="http://schemas.microsoft.com/office/drawing/2014/main" id="{699E9C48-4461-4254-91F9-A96146AC27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CH" dirty="0" err="1"/>
              <a:t>flirt</a:t>
            </a:r>
            <a:r>
              <a:rPr lang="de-CH" baseline="30000" dirty="0" err="1"/>
              <a:t>AKKU</a:t>
            </a:r>
            <a:endParaRPr lang="de-CH" baseline="30000" dirty="0"/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CH" dirty="0"/>
              <a:t>Stadler </a:t>
            </a:r>
            <a:r>
              <a:rPr lang="de-CH" dirty="0" err="1"/>
              <a:t>Battery</a:t>
            </a:r>
            <a:r>
              <a:rPr lang="de-CH" dirty="0"/>
              <a:t> Train Family</a:t>
            </a:r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D849A881-1E9A-4AA9-9542-CDC04BFD4DB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/>
          <a:srcRect t="7083" b="7083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078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>
          <a:xfrm>
            <a:off x="539749" y="817656"/>
            <a:ext cx="8064501" cy="415100"/>
          </a:xfrm>
        </p:spPr>
        <p:txBody>
          <a:bodyPr/>
          <a:lstStyle/>
          <a:p>
            <a:r>
              <a:rPr lang="de-CH" dirty="0"/>
              <a:t>Flirt</a:t>
            </a:r>
            <a:endParaRPr dirty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adler </a:t>
            </a:r>
            <a:r>
              <a:rPr lang="de-CH" dirty="0" err="1"/>
              <a:t>battery</a:t>
            </a:r>
            <a:r>
              <a:rPr lang="de-CH" dirty="0"/>
              <a:t> </a:t>
            </a:r>
            <a:r>
              <a:rPr lang="de-CH" dirty="0" err="1"/>
              <a:t>projects</a:t>
            </a:r>
            <a:endParaRPr lang="de-CH" dirty="0"/>
          </a:p>
        </p:txBody>
      </p:sp>
      <p:sp>
        <p:nvSpPr>
          <p:cNvPr id="48" name="Inhaltsplatzhalter 4"/>
          <p:cNvSpPr txBox="1">
            <a:spLocks/>
          </p:cNvSpPr>
          <p:nvPr/>
        </p:nvSpPr>
        <p:spPr>
          <a:xfrm>
            <a:off x="1752739" y="5095598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SBCTA, CA, USA</a:t>
            </a:r>
          </a:p>
          <a:p>
            <a:r>
              <a:rPr lang="en-US" dirty="0">
                <a:sym typeface="Wingdings" panose="05000000000000000000" pitchFamily="2" charset="2"/>
              </a:rPr>
              <a:t>H2 / battery train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</a:t>
            </a:r>
            <a:r>
              <a:rPr lang="en-US" dirty="0" err="1">
                <a:sym typeface="Wingdings" panose="05000000000000000000" pitchFamily="2" charset="2"/>
              </a:rPr>
              <a:t>PowerPack</a:t>
            </a: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Concept: Combined system – battery for peaks (acceleration)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4</a:t>
            </a:r>
          </a:p>
        </p:txBody>
      </p:sp>
      <p:sp>
        <p:nvSpPr>
          <p:cNvPr id="54" name="Inhaltsplatzhalter 4"/>
          <p:cNvSpPr txBox="1">
            <a:spLocks/>
          </p:cNvSpPr>
          <p:nvPr/>
        </p:nvSpPr>
        <p:spPr>
          <a:xfrm>
            <a:off x="6004868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FNM, Milano, Italy</a:t>
            </a:r>
          </a:p>
          <a:p>
            <a:r>
              <a:rPr lang="en-US" dirty="0">
                <a:sym typeface="Wingdings" panose="05000000000000000000" pitchFamily="2" charset="2"/>
              </a:rPr>
              <a:t>30 diesel / battery trains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</a:t>
            </a:r>
            <a:r>
              <a:rPr lang="en-US" dirty="0" err="1">
                <a:sym typeface="Wingdings" panose="05000000000000000000" pitchFamily="2" charset="2"/>
              </a:rPr>
              <a:t>PowerPack</a:t>
            </a: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Concept: Drive with diesel and use batteries for acceleration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2</a:t>
            </a:r>
          </a:p>
        </p:txBody>
      </p:sp>
      <p:sp>
        <p:nvSpPr>
          <p:cNvPr id="57" name="Inhaltsplatzhalter 4"/>
          <p:cNvSpPr txBox="1">
            <a:spLocks/>
          </p:cNvSpPr>
          <p:nvPr/>
        </p:nvSpPr>
        <p:spPr>
          <a:xfrm>
            <a:off x="539751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de-CH" sz="1400" b="1" dirty="0" err="1"/>
              <a:t>Elron</a:t>
            </a:r>
            <a:r>
              <a:rPr lang="de-CH" sz="1400" b="1" dirty="0"/>
              <a:t>, Estonia</a:t>
            </a:r>
          </a:p>
          <a:p>
            <a:r>
              <a:rPr lang="en-US" dirty="0">
                <a:sym typeface="Wingdings" panose="05000000000000000000" pitchFamily="2" charset="2"/>
              </a:rPr>
              <a:t>20 diesel trains with “</a:t>
            </a:r>
            <a:r>
              <a:rPr lang="en-US" dirty="0" err="1">
                <a:sym typeface="Wingdings" panose="05000000000000000000" pitchFamily="2" charset="2"/>
              </a:rPr>
              <a:t>Supercaps</a:t>
            </a:r>
            <a:r>
              <a:rPr lang="en-US" dirty="0">
                <a:sym typeface="Wingdings" panose="05000000000000000000" pitchFamily="2" charset="2"/>
              </a:rPr>
              <a:t>” Location of batteries: Roof</a:t>
            </a:r>
          </a:p>
          <a:p>
            <a:r>
              <a:rPr lang="en-US" dirty="0">
                <a:sym typeface="Wingdings" panose="05000000000000000000" pitchFamily="2" charset="2"/>
              </a:rPr>
              <a:t>Concept: Booster function and reduction of diesel consumption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14</a:t>
            </a:r>
          </a:p>
        </p:txBody>
      </p:sp>
      <p:sp>
        <p:nvSpPr>
          <p:cNvPr id="61" name="Inhaltsplatzhalter 4"/>
          <p:cNvSpPr txBox="1">
            <a:spLocks/>
          </p:cNvSpPr>
          <p:nvPr/>
        </p:nvSpPr>
        <p:spPr>
          <a:xfrm>
            <a:off x="3272309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ARRIVA, the Netherlands</a:t>
            </a:r>
          </a:p>
          <a:p>
            <a:r>
              <a:rPr lang="en-US" dirty="0">
                <a:sym typeface="Wingdings" panose="05000000000000000000" pitchFamily="2" charset="2"/>
              </a:rPr>
              <a:t>18 electric / diesel trains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Roof</a:t>
            </a:r>
          </a:p>
          <a:p>
            <a:r>
              <a:rPr lang="en-US" dirty="0">
                <a:sym typeface="Wingdings" panose="05000000000000000000" pitchFamily="2" charset="2"/>
              </a:rPr>
              <a:t>Concept: Use batteries for support and reduce emissions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1</a:t>
            </a:r>
          </a:p>
        </p:txBody>
      </p:sp>
      <p:sp>
        <p:nvSpPr>
          <p:cNvPr id="64" name="Inhaltsplatzhalter 4"/>
          <p:cNvSpPr txBox="1">
            <a:spLocks/>
          </p:cNvSpPr>
          <p:nvPr/>
        </p:nvSpPr>
        <p:spPr>
          <a:xfrm>
            <a:off x="4541277" y="5095598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de-CH" sz="1400" b="1" dirty="0" err="1"/>
              <a:t>Keolis</a:t>
            </a:r>
            <a:r>
              <a:rPr lang="de-CH" sz="1400" b="1" dirty="0"/>
              <a:t>, Wales &amp; Borders, UK</a:t>
            </a:r>
          </a:p>
          <a:p>
            <a:r>
              <a:rPr lang="en-US" dirty="0">
                <a:sym typeface="Wingdings" panose="05000000000000000000" pitchFamily="2" charset="2"/>
              </a:rPr>
              <a:t>24 EMU3+EMU4 / battery + diesel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</a:t>
            </a:r>
            <a:r>
              <a:rPr lang="en-US" dirty="0" err="1">
                <a:sym typeface="Wingdings" panose="05000000000000000000" pitchFamily="2" charset="2"/>
              </a:rPr>
              <a:t>PowerPack</a:t>
            </a: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Concept: Drive electric and with battery/diesel combined (flexible)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3</a:t>
            </a:r>
          </a:p>
        </p:txBody>
      </p:sp>
      <p:pic>
        <p:nvPicPr>
          <p:cNvPr id="67" name="Grafik 66"/>
          <p:cNvPicPr>
            <a:picLocks noChangeAspect="1"/>
          </p:cNvPicPr>
          <p:nvPr/>
        </p:nvPicPr>
        <p:blipFill rotWithShape="1">
          <a:blip r:embed="rId2"/>
          <a:srcRect t="6012" b="7621"/>
          <a:stretch/>
        </p:blipFill>
        <p:spPr>
          <a:xfrm>
            <a:off x="3272491" y="1275072"/>
            <a:ext cx="2599200" cy="1152129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 rotWithShape="1">
          <a:blip r:embed="rId3"/>
          <a:srcRect l="13244" t="16722" r="1550" b="13359"/>
          <a:stretch/>
        </p:blipFill>
        <p:spPr>
          <a:xfrm>
            <a:off x="4541277" y="3949821"/>
            <a:ext cx="2599200" cy="1152128"/>
          </a:xfrm>
          <a:prstGeom prst="rect">
            <a:avLst/>
          </a:prstGeom>
        </p:spPr>
      </p:pic>
      <p:pic>
        <p:nvPicPr>
          <p:cNvPr id="14" name="Bildplatzhalter 13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3" t="27897" r="6248" b="20469"/>
          <a:stretch/>
        </p:blipFill>
        <p:spPr>
          <a:xfrm>
            <a:off x="1752739" y="4021245"/>
            <a:ext cx="2599200" cy="994681"/>
          </a:xfrm>
        </p:spPr>
      </p:pic>
      <p:pic>
        <p:nvPicPr>
          <p:cNvPr id="51" name="Grafik 5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13" b="13488"/>
          <a:stretch/>
        </p:blipFill>
        <p:spPr>
          <a:xfrm>
            <a:off x="6005050" y="1272955"/>
            <a:ext cx="2599200" cy="1113482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 rotWithShape="1">
          <a:blip r:embed="rId6"/>
          <a:srcRect t="4154" b="1830"/>
          <a:stretch/>
        </p:blipFill>
        <p:spPr>
          <a:xfrm>
            <a:off x="539751" y="1275072"/>
            <a:ext cx="2599200" cy="1152046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8012B7D-106C-4743-91CB-B28E5996CC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smtClean="0"/>
              <a:pPr/>
              <a:t>26</a:t>
            </a:fld>
            <a:endParaRPr lang="de-CH" sz="750" dirty="0"/>
          </a:p>
        </p:txBody>
      </p:sp>
      <p:sp>
        <p:nvSpPr>
          <p:cNvPr id="16" name="Fußzeilenplatzhalter 7">
            <a:extLst>
              <a:ext uri="{FF2B5EF4-FFF2-40B4-BE49-F238E27FC236}">
                <a16:creationId xmlns:a16="http://schemas.microsoft.com/office/drawing/2014/main" id="{013157BB-DB24-45CA-A0D1-7E9E70321FD4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CH" sz="750"/>
              <a:t>Programme Lead | James McCaffery | © Stadler | 23.06.2023</a:t>
            </a:r>
            <a:endParaRPr lang="de-CH" sz="750" dirty="0"/>
          </a:p>
        </p:txBody>
      </p:sp>
    </p:spTree>
    <p:extLst>
      <p:ext uri="{BB962C8B-B14F-4D97-AF65-F5344CB8AC3E}">
        <p14:creationId xmlns:p14="http://schemas.microsoft.com/office/powerpoint/2010/main" val="5760990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0000" y="800100"/>
            <a:ext cx="8064250" cy="432000"/>
          </a:xfrm>
        </p:spPr>
        <p:txBody>
          <a:bodyPr/>
          <a:lstStyle/>
          <a:p>
            <a:r>
              <a:rPr lang="de-CH" dirty="0" err="1"/>
              <a:t>Product</a:t>
            </a:r>
            <a:r>
              <a:rPr lang="de-CH" dirty="0"/>
              <a:t> </a:t>
            </a:r>
            <a:r>
              <a:rPr lang="de-CH" dirty="0" err="1"/>
              <a:t>overview</a:t>
            </a:r>
            <a:endParaRPr lang="de-CH" dirty="0"/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LIRT AKKU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48F218FB-0AB9-4885-8F52-047FD7CA1C68}"/>
              </a:ext>
            </a:extLst>
          </p:cNvPr>
          <p:cNvSpPr txBox="1"/>
          <p:nvPr/>
        </p:nvSpPr>
        <p:spPr>
          <a:xfrm>
            <a:off x="540000" y="1404000"/>
            <a:ext cx="8352000" cy="4865616"/>
          </a:xfrm>
          <a:prstGeom prst="rect">
            <a:avLst/>
          </a:prstGeom>
          <a:solidFill>
            <a:srgbClr val="C8DEF4"/>
          </a:solidFill>
        </p:spPr>
        <p:txBody>
          <a:bodyPr wrap="square" rtlCol="0" anchor="ctr" anchorCtr="0">
            <a:noAutofit/>
          </a:bodyPr>
          <a:lstStyle/>
          <a:p>
            <a:pPr marL="97443">
              <a:lnSpc>
                <a:spcPct val="114000"/>
              </a:lnSpc>
              <a:spcBef>
                <a:spcPts val="600"/>
              </a:spcBef>
            </a:pPr>
            <a:endParaRPr lang="it-IT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8F3DA48C-3639-49A0-866C-6B9B07E523E0}"/>
              </a:ext>
            </a:extLst>
          </p:cNvPr>
          <p:cNvGrpSpPr/>
          <p:nvPr/>
        </p:nvGrpSpPr>
        <p:grpSpPr>
          <a:xfrm>
            <a:off x="767408" y="5847655"/>
            <a:ext cx="3200578" cy="461665"/>
            <a:chOff x="1752301" y="5733256"/>
            <a:chExt cx="3200578" cy="461665"/>
          </a:xfrm>
        </p:grpSpPr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E97C90B9-C7AF-44A6-A2BF-00FDA4C9514D}"/>
                </a:ext>
              </a:extLst>
            </p:cNvPr>
            <p:cNvSpPr/>
            <p:nvPr/>
          </p:nvSpPr>
          <p:spPr>
            <a:xfrm>
              <a:off x="1752301" y="5867568"/>
              <a:ext cx="380984" cy="190492"/>
            </a:xfrm>
            <a:prstGeom prst="rect">
              <a:avLst/>
            </a:prstGeom>
            <a:solidFill>
              <a:srgbClr val="E31E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90" name="Rechteck 89">
              <a:extLst>
                <a:ext uri="{FF2B5EF4-FFF2-40B4-BE49-F238E27FC236}">
                  <a16:creationId xmlns:a16="http://schemas.microsoft.com/office/drawing/2014/main" id="{CDD7F791-6652-4C51-9833-54FC269E548C}"/>
                </a:ext>
              </a:extLst>
            </p:cNvPr>
            <p:cNvSpPr/>
            <p:nvPr/>
          </p:nvSpPr>
          <p:spPr>
            <a:xfrm>
              <a:off x="2133285" y="5733256"/>
              <a:ext cx="281959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270"/>
                </a:spcBef>
              </a:pPr>
              <a: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rives (current converter</a:t>
              </a:r>
              <a:b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electric traction motor)</a:t>
              </a: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B78B2955-D1FE-42C6-A2B3-CC2C95F48A9A}"/>
              </a:ext>
            </a:extLst>
          </p:cNvPr>
          <p:cNvGrpSpPr/>
          <p:nvPr/>
        </p:nvGrpSpPr>
        <p:grpSpPr>
          <a:xfrm>
            <a:off x="3503712" y="5847655"/>
            <a:ext cx="3510906" cy="461665"/>
            <a:chOff x="5105374" y="5733256"/>
            <a:chExt cx="3510906" cy="461665"/>
          </a:xfrm>
        </p:grpSpPr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354636A3-239F-4103-B7C9-A5B28F47ED64}"/>
                </a:ext>
              </a:extLst>
            </p:cNvPr>
            <p:cNvSpPr/>
            <p:nvPr/>
          </p:nvSpPr>
          <p:spPr>
            <a:xfrm>
              <a:off x="5105374" y="5872213"/>
              <a:ext cx="380984" cy="190492"/>
            </a:xfrm>
            <a:prstGeom prst="rect">
              <a:avLst/>
            </a:prstGeom>
            <a:solidFill>
              <a:srgbClr val="008D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93" name="Rechteck 92">
              <a:extLst>
                <a:ext uri="{FF2B5EF4-FFF2-40B4-BE49-F238E27FC236}">
                  <a16:creationId xmlns:a16="http://schemas.microsoft.com/office/drawing/2014/main" id="{C9D03468-7C14-4BD5-BFFD-CC0CC65DAC97}"/>
                </a:ext>
              </a:extLst>
            </p:cNvPr>
            <p:cNvSpPr/>
            <p:nvPr/>
          </p:nvSpPr>
          <p:spPr>
            <a:xfrm>
              <a:off x="5486358" y="5733256"/>
              <a:ext cx="3129922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1270"/>
                </a:spcBef>
              </a:pPr>
              <a: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gh-voltage equipment (pantograph,</a:t>
              </a:r>
              <a:b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rcuit-breaker and transformer or line filter)</a:t>
              </a:r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F3884695-60EE-4419-AFC6-B536268FD8B4}"/>
              </a:ext>
            </a:extLst>
          </p:cNvPr>
          <p:cNvGrpSpPr/>
          <p:nvPr/>
        </p:nvGrpSpPr>
        <p:grpSpPr>
          <a:xfrm>
            <a:off x="7685028" y="5899367"/>
            <a:ext cx="1219284" cy="358240"/>
            <a:chOff x="9029902" y="5757883"/>
            <a:chExt cx="1219284" cy="358240"/>
          </a:xfrm>
        </p:grpSpPr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AA1FD3BF-7E00-412F-9031-BC62C51D405E}"/>
                </a:ext>
              </a:extLst>
            </p:cNvPr>
            <p:cNvSpPr/>
            <p:nvPr/>
          </p:nvSpPr>
          <p:spPr>
            <a:xfrm>
              <a:off x="9029902" y="5867568"/>
              <a:ext cx="380984" cy="190492"/>
            </a:xfrm>
            <a:prstGeom prst="rect">
              <a:avLst/>
            </a:prstGeom>
            <a:solidFill>
              <a:srgbClr val="B0CB1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B20015EB-DF63-4C66-9D04-F5D1EFB4B8BA}"/>
                </a:ext>
              </a:extLst>
            </p:cNvPr>
            <p:cNvSpPr/>
            <p:nvPr/>
          </p:nvSpPr>
          <p:spPr>
            <a:xfrm>
              <a:off x="9410886" y="5757883"/>
              <a:ext cx="838300" cy="3582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2381"/>
                </a:lnSpc>
                <a:spcBef>
                  <a:spcPts val="1270"/>
                </a:spcBef>
              </a:pPr>
              <a:r>
                <a:rPr lang="en-GB" sz="1200">
                  <a:solidFill>
                    <a:srgbClr val="1E5A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tteries</a:t>
              </a:r>
            </a:p>
          </p:txBody>
        </p:sp>
      </p:grpSp>
      <p:pic>
        <p:nvPicPr>
          <p:cNvPr id="97" name="Grafik 96">
            <a:extLst>
              <a:ext uri="{FF2B5EF4-FFF2-40B4-BE49-F238E27FC236}">
                <a16:creationId xmlns:a16="http://schemas.microsoft.com/office/drawing/2014/main" id="{E541CEAB-6A70-4D55-8C75-60548943E0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00" y="1470999"/>
            <a:ext cx="8132081" cy="4334265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3A5834-CF01-4F4E-96AA-FE03938BB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noProof="0" smtClean="0"/>
              <a:t>27</a:t>
            </a:fld>
            <a:endParaRPr lang="de-CH" sz="750" noProof="0" dirty="0"/>
          </a:p>
        </p:txBody>
      </p:sp>
      <p:sp>
        <p:nvSpPr>
          <p:cNvPr id="17" name="Fußzeilenplatzhalter 7">
            <a:extLst>
              <a:ext uri="{FF2B5EF4-FFF2-40B4-BE49-F238E27FC236}">
                <a16:creationId xmlns:a16="http://schemas.microsoft.com/office/drawing/2014/main" id="{02D15CAE-A806-4E30-B9F4-F442C8F48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  <p:extLst>
      <p:ext uri="{BB962C8B-B14F-4D97-AF65-F5344CB8AC3E}">
        <p14:creationId xmlns:p14="http://schemas.microsoft.com/office/powerpoint/2010/main" val="42764561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Picture 2">
            <a:extLst>
              <a:ext uri="{FF2B5EF4-FFF2-40B4-BE49-F238E27FC236}">
                <a16:creationId xmlns:a16="http://schemas.microsoft.com/office/drawing/2014/main" id="{74187152-46BD-424E-84A1-0AA6C6639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100" y="3284538"/>
            <a:ext cx="2303463" cy="227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71922F8-0970-4D3F-B09A-81FA717C70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en-US" dirty="0"/>
              <a:t>Powerpack  – Flexible design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843C7FFA-2EF3-4931-AAA1-0FC9139C1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de-DE" dirty="0">
                <a:solidFill>
                  <a:srgbClr val="1E5A9A"/>
                </a:solidFill>
              </a:rPr>
              <a:t>FLIRT BMU (Diesel)</a:t>
            </a:r>
            <a:endParaRPr lang="en-US" dirty="0">
              <a:solidFill>
                <a:srgbClr val="1E5A9A"/>
              </a:solidFill>
            </a:endParaRPr>
          </a:p>
        </p:txBody>
      </p:sp>
      <p:pic>
        <p:nvPicPr>
          <p:cNvPr id="73734" name="Picture 4">
            <a:extLst>
              <a:ext uri="{FF2B5EF4-FFF2-40B4-BE49-F238E27FC236}">
                <a16:creationId xmlns:a16="http://schemas.microsoft.com/office/drawing/2014/main" id="{88645375-76D2-4421-8A95-87BEFC25D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1952625"/>
            <a:ext cx="3289300" cy="348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5" name="Picture 2">
            <a:extLst>
              <a:ext uri="{FF2B5EF4-FFF2-40B4-BE49-F238E27FC236}">
                <a16:creationId xmlns:a16="http://schemas.microsoft.com/office/drawing/2014/main" id="{DF8BA72A-5572-44BF-A7E1-9D852CFAB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4363" y="1481138"/>
            <a:ext cx="2359025" cy="229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C9F5D070-751D-4EB3-A139-C8AF0F7F4E77}"/>
              </a:ext>
            </a:extLst>
          </p:cNvPr>
          <p:cNvSpPr txBox="1">
            <a:spLocks/>
          </p:cNvSpPr>
          <p:nvPr/>
        </p:nvSpPr>
        <p:spPr>
          <a:xfrm>
            <a:off x="466725" y="5661025"/>
            <a:ext cx="8064500" cy="6604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txBody>
          <a:bodyPr anchor="ctr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515"/>
              </a:spcBef>
              <a:defRPr/>
            </a:pPr>
            <a:r>
              <a:rPr lang="en-US" sz="1600" b="0" dirty="0">
                <a:solidFill>
                  <a:schemeClr val="bg1"/>
                </a:solidFill>
              </a:rPr>
              <a:t>Up to 4 diesel engines with a total of 1’920 kW can be installed. </a:t>
            </a:r>
          </a:p>
          <a:p>
            <a:pPr algn="l">
              <a:spcBef>
                <a:spcPts val="515"/>
              </a:spcBef>
              <a:defRPr/>
            </a:pPr>
            <a:r>
              <a:rPr lang="en-US" sz="1600" b="0" dirty="0">
                <a:solidFill>
                  <a:schemeClr val="bg1"/>
                </a:solidFill>
              </a:rPr>
              <a:t>Up to 1’800 kWh of Batteries can be installed.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FA1573C3-E44F-4355-94F3-7E97E6857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20400" y="6606000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noProof="0" smtClean="0"/>
              <a:t>28</a:t>
            </a:fld>
            <a:endParaRPr lang="de-CH" sz="750" noProof="0" dirty="0"/>
          </a:p>
        </p:txBody>
      </p:sp>
      <p:sp>
        <p:nvSpPr>
          <p:cNvPr id="12" name="Fußzeilenplatzhalter 7">
            <a:extLst>
              <a:ext uri="{FF2B5EF4-FFF2-40B4-BE49-F238E27FC236}">
                <a16:creationId xmlns:a16="http://schemas.microsoft.com/office/drawing/2014/main" id="{F0A6EC9E-97A7-4F38-BDE0-12D70FFF4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DB46755-400E-408A-86DE-E8C30E070C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750" y="800100"/>
            <a:ext cx="8064500" cy="414338"/>
          </a:xfrm>
        </p:spPr>
        <p:txBody>
          <a:bodyPr/>
          <a:lstStyle/>
          <a:p>
            <a:pPr>
              <a:defRPr/>
            </a:pPr>
            <a:r>
              <a:rPr lang="de-CH" dirty="0"/>
              <a:t>General </a:t>
            </a:r>
            <a:r>
              <a:rPr lang="de-CH" dirty="0" err="1"/>
              <a:t>overview</a:t>
            </a:r>
            <a:r>
              <a:rPr lang="de-CH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F47EE19-AA1C-45E4-AA90-E56F202C4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3"/>
            <a:ext cx="8059738" cy="395287"/>
          </a:xfrm>
        </p:spPr>
        <p:txBody>
          <a:bodyPr/>
          <a:lstStyle/>
          <a:p>
            <a:pPr>
              <a:defRPr/>
            </a:pPr>
            <a:r>
              <a:rPr lang="de-CH" dirty="0"/>
              <a:t>FLIRT </a:t>
            </a:r>
            <a:r>
              <a:rPr lang="de-CH" baseline="30000" dirty="0"/>
              <a:t>H2 </a:t>
            </a:r>
            <a:r>
              <a:rPr lang="de-CH" dirty="0"/>
              <a:t>Power Pack</a:t>
            </a:r>
            <a:endParaRPr lang="de-CH" dirty="0">
              <a:solidFill>
                <a:srgbClr val="FF0000"/>
              </a:solidFill>
            </a:endParaRPr>
          </a:p>
        </p:txBody>
      </p:sp>
      <p:sp>
        <p:nvSpPr>
          <p:cNvPr id="74756" name="Textfeld 17">
            <a:extLst>
              <a:ext uri="{FF2B5EF4-FFF2-40B4-BE49-F238E27FC236}">
                <a16:creationId xmlns:a16="http://schemas.microsoft.com/office/drawing/2014/main" id="{C4D82E4C-B787-46C1-9942-35152E9471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04250" y="904875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</p:txBody>
      </p:sp>
      <p:pic>
        <p:nvPicPr>
          <p:cNvPr id="74757" name="Grafik 2" descr="image002">
            <a:extLst>
              <a:ext uri="{FF2B5EF4-FFF2-40B4-BE49-F238E27FC236}">
                <a16:creationId xmlns:a16="http://schemas.microsoft.com/office/drawing/2014/main" id="{A56F14C9-B14F-4174-94D3-929A27715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2488" y="1862138"/>
            <a:ext cx="3706812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8" name="Textfeld 15">
            <a:extLst>
              <a:ext uri="{FF2B5EF4-FFF2-40B4-BE49-F238E27FC236}">
                <a16:creationId xmlns:a16="http://schemas.microsoft.com/office/drawing/2014/main" id="{1B656E8F-335D-4F3A-BB0E-A02987FA34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3313" y="1774825"/>
            <a:ext cx="285750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Cooling system </a:t>
            </a:r>
          </a:p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</p:txBody>
      </p:sp>
      <p:sp>
        <p:nvSpPr>
          <p:cNvPr id="74759" name="Textfeld 20">
            <a:extLst>
              <a:ext uri="{FF2B5EF4-FFF2-40B4-BE49-F238E27FC236}">
                <a16:creationId xmlns:a16="http://schemas.microsoft.com/office/drawing/2014/main" id="{16796265-BF36-4331-9EDB-ECE1D80A1E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3313" y="2462213"/>
            <a:ext cx="2238375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Hydrogen tank modules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storage @ 350 bar </a:t>
            </a:r>
          </a:p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</p:txBody>
      </p:sp>
      <p:sp>
        <p:nvSpPr>
          <p:cNvPr id="74760" name="Textfeld 21">
            <a:extLst>
              <a:ext uri="{FF2B5EF4-FFF2-40B4-BE49-F238E27FC236}">
                <a16:creationId xmlns:a16="http://schemas.microsoft.com/office/drawing/2014/main" id="{7F7796CD-FF24-4408-9CF4-2252D18CAD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1531938"/>
            <a:ext cx="227965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  <a:p>
            <a:pPr>
              <a:spcBef>
                <a:spcPct val="0"/>
              </a:spcBef>
              <a:buFontTx/>
              <a:buNone/>
            </a:pPr>
            <a:endParaRPr lang="de-CH" altLang="de-DE"/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132E4631-3963-41FD-B5A9-565B211A185B}"/>
              </a:ext>
            </a:extLst>
          </p:cNvPr>
          <p:cNvSpPr txBox="1">
            <a:spLocks noGrp="1"/>
          </p:cNvSpPr>
          <p:nvPr>
            <p:ph sz="quarter" idx="13"/>
          </p:nvPr>
        </p:nvSpPr>
        <p:spPr>
          <a:xfrm>
            <a:off x="425450" y="5103813"/>
            <a:ext cx="8351838" cy="879475"/>
          </a:xfrm>
          <a:gradFill>
            <a:gsLst>
              <a:gs pos="0">
                <a:schemeClr val="accent2"/>
              </a:gs>
              <a:gs pos="100000">
                <a:schemeClr val="tx2">
                  <a:lumMod val="50000"/>
                </a:schemeClr>
              </a:gs>
            </a:gsLst>
            <a:lin ang="2700000" scaled="0"/>
          </a:gradFill>
        </p:spPr>
        <p:txBody>
          <a:bodyPr anchor="ctr"/>
          <a:lstStyle>
            <a:lvl1pPr marL="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Tx/>
              <a:buNone/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2000" algn="l">
              <a:defRPr/>
            </a:pPr>
            <a:r>
              <a:rPr lang="en-GB" sz="1600" b="0" dirty="0"/>
              <a:t>All hydrogen related components are placed in the power pack. The amount of hydrogen energy ranges from 2.5 to 5.1 MWh usable energy.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51F881F1-7270-403F-B41A-25971EB66653}"/>
              </a:ext>
            </a:extLst>
          </p:cNvPr>
          <p:cNvCxnSpPr/>
          <p:nvPr/>
        </p:nvCxnSpPr>
        <p:spPr>
          <a:xfrm flipH="1" flipV="1">
            <a:off x="3409950" y="3514725"/>
            <a:ext cx="274638" cy="314325"/>
          </a:xfrm>
          <a:prstGeom prst="line">
            <a:avLst/>
          </a:prstGeom>
          <a:ln w="31750" cap="rnd">
            <a:solidFill>
              <a:schemeClr val="accent2">
                <a:lumMod val="40000"/>
                <a:lumOff val="60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763" name="Textfeld 18">
            <a:extLst>
              <a:ext uri="{FF2B5EF4-FFF2-40B4-BE49-F238E27FC236}">
                <a16:creationId xmlns:a16="http://schemas.microsoft.com/office/drawing/2014/main" id="{F135F344-FCB6-4DE7-BE2F-443A4D52B6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3313" y="3644900"/>
            <a:ext cx="2376487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Fuel cell compartment</a:t>
            </a:r>
          </a:p>
        </p:txBody>
      </p:sp>
      <p:sp>
        <p:nvSpPr>
          <p:cNvPr id="74764" name="Textfeld 18">
            <a:extLst>
              <a:ext uri="{FF2B5EF4-FFF2-40B4-BE49-F238E27FC236}">
                <a16:creationId xmlns:a16="http://schemas.microsoft.com/office/drawing/2014/main" id="{54054755-6697-467D-AD09-9A13D7D014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450" y="3486150"/>
            <a:ext cx="1816100" cy="11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de-CH" altLang="de-DE">
                <a:solidFill>
                  <a:srgbClr val="002060"/>
                </a:solidFill>
              </a:rPr>
              <a:t>Free passenger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de-CH" altLang="de-DE">
                <a:solidFill>
                  <a:srgbClr val="002060"/>
                </a:solidFill>
              </a:rPr>
              <a:t>passway</a:t>
            </a:r>
          </a:p>
        </p:txBody>
      </p:sp>
      <p:sp>
        <p:nvSpPr>
          <p:cNvPr id="23" name="Pfeil nach links und rechts 22">
            <a:extLst>
              <a:ext uri="{FF2B5EF4-FFF2-40B4-BE49-F238E27FC236}">
                <a16:creationId xmlns:a16="http://schemas.microsoft.com/office/drawing/2014/main" id="{4691B65A-2E9E-4C4D-A842-7B424432A2AD}"/>
              </a:ext>
            </a:extLst>
          </p:cNvPr>
          <p:cNvSpPr/>
          <p:nvPr/>
        </p:nvSpPr>
        <p:spPr>
          <a:xfrm rot="20450285">
            <a:off x="1270000" y="4173538"/>
            <a:ext cx="1125538" cy="311150"/>
          </a:xfrm>
          <a:prstGeom prst="left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CH"/>
          </a:p>
        </p:txBody>
      </p:sp>
      <p:sp>
        <p:nvSpPr>
          <p:cNvPr id="74766" name="Textfeld 18">
            <a:extLst>
              <a:ext uri="{FF2B5EF4-FFF2-40B4-BE49-F238E27FC236}">
                <a16:creationId xmlns:a16="http://schemas.microsoft.com/office/drawing/2014/main" id="{7E46CCD3-49ED-49AA-A28F-DF52A5443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3313" y="4164013"/>
            <a:ext cx="2376487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DC / DC converters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de-CH" altLang="de-DE"/>
              <a:t>and cooling unit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4E32372F-7FCC-42B3-B595-4DE77664609A}"/>
              </a:ext>
            </a:extLst>
          </p:cNvPr>
          <p:cNvCxnSpPr/>
          <p:nvPr/>
        </p:nvCxnSpPr>
        <p:spPr>
          <a:xfrm>
            <a:off x="3684588" y="3829050"/>
            <a:ext cx="2352675" cy="0"/>
          </a:xfrm>
          <a:prstGeom prst="line">
            <a:avLst/>
          </a:prstGeom>
          <a:ln w="317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FCE6AC5-D04B-4FF4-AAA5-417E11EFD3AD}"/>
              </a:ext>
            </a:extLst>
          </p:cNvPr>
          <p:cNvCxnSpPr/>
          <p:nvPr/>
        </p:nvCxnSpPr>
        <p:spPr>
          <a:xfrm flipH="1" flipV="1">
            <a:off x="4086225" y="4086225"/>
            <a:ext cx="198438" cy="217488"/>
          </a:xfrm>
          <a:prstGeom prst="line">
            <a:avLst/>
          </a:prstGeom>
          <a:ln w="31750" cap="rnd">
            <a:solidFill>
              <a:schemeClr val="accent2">
                <a:lumMod val="40000"/>
                <a:lumOff val="60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6DA8657-7FBA-4872-8285-2F14B90C2CA1}"/>
              </a:ext>
            </a:extLst>
          </p:cNvPr>
          <p:cNvCxnSpPr/>
          <p:nvPr/>
        </p:nvCxnSpPr>
        <p:spPr>
          <a:xfrm flipV="1">
            <a:off x="4270375" y="4305300"/>
            <a:ext cx="1766888" cy="1588"/>
          </a:xfrm>
          <a:prstGeom prst="line">
            <a:avLst/>
          </a:prstGeom>
          <a:ln w="317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A2B1270-8B6C-4F8F-B527-4AAFADB64A46}"/>
              </a:ext>
            </a:extLst>
          </p:cNvPr>
          <p:cNvCxnSpPr/>
          <p:nvPr/>
        </p:nvCxnSpPr>
        <p:spPr>
          <a:xfrm flipH="1">
            <a:off x="4913313" y="3065463"/>
            <a:ext cx="258762" cy="271462"/>
          </a:xfrm>
          <a:prstGeom prst="line">
            <a:avLst/>
          </a:prstGeom>
          <a:ln w="31750" cap="rnd">
            <a:solidFill>
              <a:schemeClr val="accent2">
                <a:lumMod val="40000"/>
                <a:lumOff val="60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4F8B41C3-04DC-471F-B0E6-D19D825DD5F0}"/>
              </a:ext>
            </a:extLst>
          </p:cNvPr>
          <p:cNvCxnSpPr/>
          <p:nvPr/>
        </p:nvCxnSpPr>
        <p:spPr>
          <a:xfrm>
            <a:off x="5172075" y="3065463"/>
            <a:ext cx="865188" cy="0"/>
          </a:xfrm>
          <a:prstGeom prst="line">
            <a:avLst/>
          </a:prstGeom>
          <a:ln w="317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79AFB5F8-2968-41CD-8181-A1BF0423DBAF}"/>
              </a:ext>
            </a:extLst>
          </p:cNvPr>
          <p:cNvCxnSpPr/>
          <p:nvPr/>
        </p:nvCxnSpPr>
        <p:spPr>
          <a:xfrm flipH="1">
            <a:off x="4402138" y="1962150"/>
            <a:ext cx="398462" cy="368300"/>
          </a:xfrm>
          <a:prstGeom prst="line">
            <a:avLst/>
          </a:prstGeom>
          <a:ln w="31750" cap="rnd">
            <a:solidFill>
              <a:schemeClr val="accent2">
                <a:lumMod val="40000"/>
                <a:lumOff val="60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514E7097-1E9C-4F5F-9CC5-45A707FBDB3E}"/>
              </a:ext>
            </a:extLst>
          </p:cNvPr>
          <p:cNvCxnSpPr/>
          <p:nvPr/>
        </p:nvCxnSpPr>
        <p:spPr>
          <a:xfrm flipV="1">
            <a:off x="4800600" y="1955800"/>
            <a:ext cx="1236663" cy="12700"/>
          </a:xfrm>
          <a:prstGeom prst="line">
            <a:avLst/>
          </a:prstGeom>
          <a:ln w="317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4D2612F-BAB0-4C50-8E0D-C1DA912DF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519540" y="6607132"/>
            <a:ext cx="1084710" cy="134981"/>
          </a:xfrm>
        </p:spPr>
        <p:txBody>
          <a:bodyPr/>
          <a:lstStyle/>
          <a:p>
            <a:fld id="{E864D508-2976-42EB-80D4-95D99DF51E08}" type="slidenum">
              <a:rPr lang="de-CH" sz="750" noProof="0" smtClean="0"/>
              <a:t>29</a:t>
            </a:fld>
            <a:endParaRPr lang="de-CH" sz="750" noProof="0" dirty="0"/>
          </a:p>
        </p:txBody>
      </p:sp>
      <p:sp>
        <p:nvSpPr>
          <p:cNvPr id="29" name="Fußzeilenplatzhalter 7">
            <a:extLst>
              <a:ext uri="{FF2B5EF4-FFF2-40B4-BE49-F238E27FC236}">
                <a16:creationId xmlns:a16="http://schemas.microsoft.com/office/drawing/2014/main" id="{461B3209-693F-4B4A-BBDF-21CF661915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/>
              <a:pPr/>
              <a:t>3</a:t>
            </a:fld>
            <a:endParaRPr lang="de-CH" dirty="0"/>
          </a:p>
        </p:txBody>
      </p:sp>
      <p:graphicFrame>
        <p:nvGraphicFramePr>
          <p:cNvPr id="7" name="Diagrammplatzhalter 6"/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3144529114"/>
              </p:ext>
            </p:extLst>
          </p:nvPr>
        </p:nvGraphicFramePr>
        <p:xfrm>
          <a:off x="539750" y="1736725"/>
          <a:ext cx="8064500" cy="453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t>STADLER RAIL GROUP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urnover Development</a:t>
            </a:r>
          </a:p>
        </p:txBody>
      </p:sp>
    </p:spTree>
    <p:extLst>
      <p:ext uri="{BB962C8B-B14F-4D97-AF65-F5344CB8AC3E}">
        <p14:creationId xmlns:p14="http://schemas.microsoft.com/office/powerpoint/2010/main" val="39138595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adler </a:t>
            </a:r>
            <a:r>
              <a:rPr lang="de-CH" dirty="0" err="1"/>
              <a:t>other</a:t>
            </a:r>
            <a:r>
              <a:rPr lang="de-CH" dirty="0"/>
              <a:t> </a:t>
            </a:r>
            <a:r>
              <a:rPr lang="de-CH" dirty="0" err="1"/>
              <a:t>battery</a:t>
            </a:r>
            <a:r>
              <a:rPr lang="de-CH" dirty="0"/>
              <a:t> </a:t>
            </a:r>
            <a:r>
              <a:rPr lang="de-CH" dirty="0" err="1"/>
              <a:t>projects</a:t>
            </a:r>
            <a:endParaRPr lang="de-CH" dirty="0"/>
          </a:p>
        </p:txBody>
      </p:sp>
      <p:sp>
        <p:nvSpPr>
          <p:cNvPr id="48" name="Inhaltsplatzhalter 4"/>
          <p:cNvSpPr txBox="1">
            <a:spLocks/>
          </p:cNvSpPr>
          <p:nvPr/>
        </p:nvSpPr>
        <p:spPr>
          <a:xfrm>
            <a:off x="3275805" y="5095598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Rail Operations, Class 93, UK</a:t>
            </a:r>
          </a:p>
          <a:p>
            <a:r>
              <a:rPr lang="en-US" dirty="0">
                <a:sym typeface="Wingdings" panose="05000000000000000000" pitchFamily="2" charset="2"/>
              </a:rPr>
              <a:t>10 (+20) tri-mode locomotives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</a:t>
            </a:r>
            <a:r>
              <a:rPr lang="en-US" dirty="0" err="1">
                <a:sym typeface="Wingdings" panose="05000000000000000000" pitchFamily="2" charset="2"/>
              </a:rPr>
              <a:t>Carbody</a:t>
            </a: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Concept: Combined system – battery &amp; diesel for last mile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4</a:t>
            </a:r>
          </a:p>
        </p:txBody>
      </p:sp>
      <p:sp>
        <p:nvSpPr>
          <p:cNvPr id="54" name="Inhaltsplatzhalter 4"/>
          <p:cNvSpPr txBox="1">
            <a:spLocks/>
          </p:cNvSpPr>
          <p:nvPr/>
        </p:nvSpPr>
        <p:spPr>
          <a:xfrm>
            <a:off x="6004868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Wales &amp; Borders, Cardiff, UK</a:t>
            </a:r>
          </a:p>
          <a:p>
            <a:r>
              <a:rPr lang="en-US" dirty="0">
                <a:sym typeface="Wingdings" panose="05000000000000000000" pitchFamily="2" charset="2"/>
              </a:rPr>
              <a:t>36 electric / battery tram-trains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Floor</a:t>
            </a:r>
          </a:p>
          <a:p>
            <a:r>
              <a:rPr lang="en-US" dirty="0">
                <a:sym typeface="Wingdings" panose="05000000000000000000" pitchFamily="2" charset="2"/>
              </a:rPr>
              <a:t>Concept: Drive with battery on not electrified sections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2</a:t>
            </a:r>
          </a:p>
        </p:txBody>
      </p:sp>
      <p:sp>
        <p:nvSpPr>
          <p:cNvPr id="57" name="Inhaltsplatzhalter 4"/>
          <p:cNvSpPr txBox="1">
            <a:spLocks/>
          </p:cNvSpPr>
          <p:nvPr/>
        </p:nvSpPr>
        <p:spPr>
          <a:xfrm>
            <a:off x="3275805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de-CH" sz="1400" b="1" dirty="0" err="1"/>
              <a:t>Mersey</a:t>
            </a:r>
            <a:r>
              <a:rPr lang="de-CH" sz="1400" b="1" dirty="0"/>
              <a:t> </a:t>
            </a:r>
            <a:r>
              <a:rPr lang="de-CH" sz="1400" b="1" dirty="0" err="1"/>
              <a:t>Rail</a:t>
            </a:r>
            <a:r>
              <a:rPr lang="de-CH" sz="1400" b="1" dirty="0"/>
              <a:t>, Liverpool, UK</a:t>
            </a:r>
          </a:p>
          <a:p>
            <a:r>
              <a:rPr lang="en-US" dirty="0">
                <a:sym typeface="Wingdings" panose="05000000000000000000" pitchFamily="2" charset="2"/>
              </a:rPr>
              <a:t>53 electric metro-trains &amp; battery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Floor</a:t>
            </a:r>
          </a:p>
          <a:p>
            <a:r>
              <a:rPr lang="en-US" dirty="0">
                <a:sym typeface="Wingdings" panose="05000000000000000000" pitchFamily="2" charset="2"/>
              </a:rPr>
              <a:t>7 units ordered to reach outer destinations with battery Revenue Service. Order in 2022</a:t>
            </a:r>
          </a:p>
        </p:txBody>
      </p:sp>
      <p:sp>
        <p:nvSpPr>
          <p:cNvPr id="61" name="Inhaltsplatzhalter 4"/>
          <p:cNvSpPr txBox="1">
            <a:spLocks/>
          </p:cNvSpPr>
          <p:nvPr/>
        </p:nvSpPr>
        <p:spPr>
          <a:xfrm>
            <a:off x="539751" y="5095598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Nexus, Tyne &amp; Wear, UK</a:t>
            </a:r>
          </a:p>
          <a:p>
            <a:r>
              <a:rPr lang="en-US" dirty="0">
                <a:sym typeface="Wingdings" panose="05000000000000000000" pitchFamily="2" charset="2"/>
              </a:rPr>
              <a:t>42 electric metro-trains &amp; battery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Floor</a:t>
            </a:r>
          </a:p>
          <a:p>
            <a:r>
              <a:rPr lang="en-US" dirty="0">
                <a:sym typeface="Wingdings" panose="05000000000000000000" pitchFamily="2" charset="2"/>
              </a:rPr>
              <a:t>Concept: Shunting and emergency operations with battery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3</a:t>
            </a:r>
          </a:p>
        </p:txBody>
      </p:sp>
      <p:sp>
        <p:nvSpPr>
          <p:cNvPr id="64" name="Inhaltsplatzhalter 4"/>
          <p:cNvSpPr txBox="1">
            <a:spLocks/>
          </p:cNvSpPr>
          <p:nvPr/>
        </p:nvSpPr>
        <p:spPr>
          <a:xfrm>
            <a:off x="539751" y="2426983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de-CH" sz="1400" b="1" dirty="0" err="1"/>
              <a:t>Rhaetian</a:t>
            </a:r>
            <a:r>
              <a:rPr lang="de-CH" sz="1400" b="1" dirty="0"/>
              <a:t> </a:t>
            </a:r>
            <a:r>
              <a:rPr lang="de-CH" sz="1400" b="1" dirty="0" err="1"/>
              <a:t>Railway</a:t>
            </a:r>
            <a:r>
              <a:rPr lang="de-CH" sz="1400" b="1" dirty="0"/>
              <a:t>, GEAF 2/2</a:t>
            </a:r>
          </a:p>
          <a:p>
            <a:r>
              <a:rPr lang="de-CH" dirty="0">
                <a:sym typeface="Wingdings" panose="05000000000000000000" pitchFamily="2" charset="2"/>
              </a:rPr>
              <a:t>7 Bi-mode </a:t>
            </a:r>
            <a:r>
              <a:rPr lang="de-CH" dirty="0" err="1">
                <a:sym typeface="Wingdings" panose="05000000000000000000" pitchFamily="2" charset="2"/>
              </a:rPr>
              <a:t>shunter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locomotives</a:t>
            </a:r>
            <a:endParaRPr lang="de-CH" dirty="0">
              <a:sym typeface="Wingdings" panose="05000000000000000000" pitchFamily="2" charset="2"/>
            </a:endParaRPr>
          </a:p>
          <a:p>
            <a:r>
              <a:rPr lang="de-CH" dirty="0">
                <a:sym typeface="Wingdings" panose="05000000000000000000" pitchFamily="2" charset="2"/>
              </a:rPr>
              <a:t>Location </a:t>
            </a:r>
            <a:r>
              <a:rPr lang="de-CH" dirty="0" err="1">
                <a:sym typeface="Wingdings" panose="05000000000000000000" pitchFamily="2" charset="2"/>
              </a:rPr>
              <a:t>of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batteries</a:t>
            </a:r>
            <a:r>
              <a:rPr lang="de-CH" dirty="0">
                <a:sym typeface="Wingdings" panose="05000000000000000000" pitchFamily="2" charset="2"/>
              </a:rPr>
              <a:t>: </a:t>
            </a:r>
            <a:r>
              <a:rPr lang="de-CH" dirty="0" err="1">
                <a:sym typeface="Wingdings" panose="05000000000000000000" pitchFamily="2" charset="2"/>
              </a:rPr>
              <a:t>Carbody</a:t>
            </a:r>
            <a:endParaRPr lang="de-CH" dirty="0">
              <a:sym typeface="Wingdings" panose="05000000000000000000" pitchFamily="2" charset="2"/>
            </a:endParaRPr>
          </a:p>
          <a:p>
            <a:r>
              <a:rPr lang="de-CH" dirty="0">
                <a:sym typeface="Wingdings" panose="05000000000000000000" pitchFamily="2" charset="2"/>
              </a:rPr>
              <a:t>Concept: Battery </a:t>
            </a:r>
            <a:r>
              <a:rPr lang="de-CH" dirty="0" err="1">
                <a:sym typeface="Wingdings" panose="05000000000000000000" pitchFamily="2" charset="2"/>
              </a:rPr>
              <a:t>for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construction</a:t>
            </a:r>
            <a:r>
              <a:rPr lang="de-CH" dirty="0">
                <a:sym typeface="Wingdings" panose="05000000000000000000" pitchFamily="2" charset="2"/>
              </a:rPr>
              <a:t> and </a:t>
            </a:r>
            <a:r>
              <a:rPr lang="de-CH" dirty="0" err="1">
                <a:sym typeface="Wingdings" panose="05000000000000000000" pitchFamily="2" charset="2"/>
              </a:rPr>
              <a:t>shunting</a:t>
            </a:r>
            <a:r>
              <a:rPr lang="de-CH" dirty="0">
                <a:sym typeface="Wingdings" panose="05000000000000000000" pitchFamily="2" charset="2"/>
              </a:rPr>
              <a:t> </a:t>
            </a:r>
            <a:r>
              <a:rPr lang="de-CH" dirty="0" err="1">
                <a:sym typeface="Wingdings" panose="05000000000000000000" pitchFamily="2" charset="2"/>
              </a:rPr>
              <a:t>operations</a:t>
            </a:r>
            <a:endParaRPr lang="de-CH" dirty="0">
              <a:sym typeface="Wingdings" panose="05000000000000000000" pitchFamily="2" charset="2"/>
            </a:endParaRPr>
          </a:p>
          <a:p>
            <a:r>
              <a:rPr lang="de-CH" dirty="0">
                <a:sym typeface="Wingdings" panose="05000000000000000000" pitchFamily="2" charset="2"/>
              </a:rPr>
              <a:t>Revenue Service: 2020</a:t>
            </a: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71" name="Inhaltsplatzhalter 4"/>
          <p:cNvSpPr txBox="1">
            <a:spLocks/>
          </p:cNvSpPr>
          <p:nvPr/>
        </p:nvSpPr>
        <p:spPr>
          <a:xfrm>
            <a:off x="6000158" y="5095598"/>
            <a:ext cx="2599382" cy="1421624"/>
          </a:xfrm>
          <a:prstGeom prst="rect">
            <a:avLst/>
          </a:prstGeom>
          <a:solidFill>
            <a:schemeClr val="accent2">
              <a:alpha val="10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>
            <a:defPPr>
              <a:defRPr lang="de-DE"/>
            </a:defPPr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1pPr>
          </a:lstStyle>
          <a:p>
            <a:pPr marL="0" indent="0">
              <a:buNone/>
            </a:pPr>
            <a:r>
              <a:rPr lang="en-US" sz="1400" b="1" dirty="0">
                <a:sym typeface="Wingdings" panose="05000000000000000000" pitchFamily="2" charset="2"/>
              </a:rPr>
              <a:t>Rescue Trains, OEBB</a:t>
            </a: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5 (+15) electric / battery + diesel</a:t>
            </a:r>
          </a:p>
          <a:p>
            <a:r>
              <a:rPr lang="en-US" dirty="0">
                <a:sym typeface="Wingdings" panose="05000000000000000000" pitchFamily="2" charset="2"/>
              </a:rPr>
              <a:t>Location of batteries: Distributed</a:t>
            </a:r>
          </a:p>
          <a:p>
            <a:r>
              <a:rPr lang="en-US" dirty="0">
                <a:sym typeface="Wingdings" panose="05000000000000000000" pitchFamily="2" charset="2"/>
              </a:rPr>
              <a:t>Concept: Rescue / Maintenance on </a:t>
            </a:r>
            <a:r>
              <a:rPr lang="en-US" dirty="0" err="1">
                <a:sym typeface="Wingdings" panose="05000000000000000000" pitchFamily="2" charset="2"/>
              </a:rPr>
              <a:t>electr</a:t>
            </a:r>
            <a:r>
              <a:rPr lang="en-US" dirty="0">
                <a:sym typeface="Wingdings" panose="05000000000000000000" pitchFamily="2" charset="2"/>
              </a:rPr>
              <a:t>. railways without supply</a:t>
            </a:r>
          </a:p>
          <a:p>
            <a:r>
              <a:rPr lang="en-US" dirty="0">
                <a:sym typeface="Wingdings" panose="05000000000000000000" pitchFamily="2" charset="2"/>
              </a:rPr>
              <a:t>Revenue Service: 2024</a:t>
            </a:r>
          </a:p>
          <a:p>
            <a:pPr marL="0" indent="0">
              <a:buNone/>
            </a:pPr>
            <a:endParaRPr lang="en-US" sz="1400" b="1" dirty="0">
              <a:sym typeface="Wingdings" panose="05000000000000000000" pitchFamily="2" charset="2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l="11418" r="8007"/>
          <a:stretch/>
        </p:blipFill>
        <p:spPr>
          <a:xfrm>
            <a:off x="6005050" y="1275072"/>
            <a:ext cx="2599200" cy="115507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/>
          <a:srcRect t="7188" b="4508"/>
          <a:stretch/>
        </p:blipFill>
        <p:spPr>
          <a:xfrm>
            <a:off x="3275987" y="1275072"/>
            <a:ext cx="2599200" cy="115212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/>
          <a:srcRect t="4452" b="18225"/>
          <a:stretch/>
        </p:blipFill>
        <p:spPr>
          <a:xfrm>
            <a:off x="3275987" y="3951309"/>
            <a:ext cx="2599200" cy="114111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/>
          <a:srcRect t="4982" b="7512"/>
          <a:stretch/>
        </p:blipFill>
        <p:spPr>
          <a:xfrm>
            <a:off x="539751" y="1275072"/>
            <a:ext cx="2599200" cy="1152129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6"/>
          <a:srcRect l="99435"/>
          <a:stretch/>
        </p:blipFill>
        <p:spPr>
          <a:xfrm>
            <a:off x="7951468" y="3941166"/>
            <a:ext cx="648072" cy="1152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0158" y="3941166"/>
            <a:ext cx="2036819" cy="1152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/>
          <a:srcRect l="1879" t="4057" b="6678"/>
          <a:stretch/>
        </p:blipFill>
        <p:spPr>
          <a:xfrm>
            <a:off x="539751" y="3941166"/>
            <a:ext cx="2599200" cy="1156827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Metro, LRV, </a:t>
            </a:r>
            <a:r>
              <a:rPr lang="de-CH" dirty="0" err="1"/>
              <a:t>Locomotives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B18826A-99E7-4CA4-B286-85A685092D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64D508-2976-42EB-80D4-95D99DF51E08}" type="slidenum">
              <a:rPr lang="de-CH" sz="750" smtClean="0"/>
              <a:pPr/>
              <a:t>30</a:t>
            </a:fld>
            <a:endParaRPr lang="de-CH" sz="750" dirty="0"/>
          </a:p>
        </p:txBody>
      </p:sp>
      <p:sp>
        <p:nvSpPr>
          <p:cNvPr id="19" name="Fußzeilenplatzhalter 7">
            <a:extLst>
              <a:ext uri="{FF2B5EF4-FFF2-40B4-BE49-F238E27FC236}">
                <a16:creationId xmlns:a16="http://schemas.microsoft.com/office/drawing/2014/main" id="{5C8C3E05-8A2C-4D8E-BA83-84FD4C74DBF7}"/>
              </a:ext>
            </a:extLst>
          </p:cNvPr>
          <p:cNvSpPr txBox="1">
            <a:spLocks/>
          </p:cNvSpPr>
          <p:nvPr/>
        </p:nvSpPr>
        <p:spPr>
          <a:xfrm>
            <a:off x="539750" y="6607132"/>
            <a:ext cx="6115212" cy="134981"/>
          </a:xfrm>
          <a:prstGeom prst="rect">
            <a:avLst/>
          </a:prstGeom>
        </p:spPr>
        <p:txBody>
          <a:bodyPr vert="horz" lIns="0" tIns="0" rIns="0" bIns="7200" rtlCol="0" anchor="b" anchorCtr="0"/>
          <a:lstStyle>
            <a:defPPr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CH" sz="750"/>
              <a:t>Programme Lead | James McCaffery | © Stadler | 23.06.2023</a:t>
            </a:r>
            <a:endParaRPr lang="de-CH" sz="750" dirty="0"/>
          </a:p>
        </p:txBody>
      </p:sp>
    </p:spTree>
    <p:extLst>
      <p:ext uri="{BB962C8B-B14F-4D97-AF65-F5344CB8AC3E}">
        <p14:creationId xmlns:p14="http://schemas.microsoft.com/office/powerpoint/2010/main" val="30852237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97A3344-54FB-4308-9AC9-CC91E49FC3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97A3344-54FB-4308-9AC9-CC91E49FC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B14025E3-337D-4AE0-BE3D-E4603BA80F33}"/>
              </a:ext>
            </a:extLst>
          </p:cNvPr>
          <p:cNvSpPr/>
          <p:nvPr/>
        </p:nvSpPr>
        <p:spPr>
          <a:xfrm>
            <a:off x="1" y="1452360"/>
            <a:ext cx="3834881" cy="475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6A53085-0142-489F-90DB-07AE68299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en-GB" noProof="0" smtClean="0"/>
              <a:pPr/>
              <a:t>31</a:t>
            </a:fld>
            <a:endParaRPr lang="en-GB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BFAAB0D-50BA-45AF-9F70-037BCD5D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404814"/>
            <a:ext cx="8059790" cy="395286"/>
          </a:xfrm>
        </p:spPr>
        <p:txBody>
          <a:bodyPr vert="horz"/>
          <a:lstStyle/>
          <a:p>
            <a:r>
              <a:rPr lang="en-GB" dirty="0">
                <a:solidFill>
                  <a:schemeClr val="accent1"/>
                </a:solidFill>
              </a:rPr>
              <a:t>Stadler Rail service - </a:t>
            </a:r>
            <a:r>
              <a:rPr lang="en-GB" dirty="0" err="1">
                <a:solidFill>
                  <a:schemeClr val="accent1"/>
                </a:solidFill>
              </a:rPr>
              <a:t>uk</a:t>
            </a:r>
            <a:endParaRPr lang="en-GB" dirty="0">
              <a:solidFill>
                <a:schemeClr val="accent1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8DA0495-34C6-4BEE-8AE9-6F504A82D72E}"/>
              </a:ext>
            </a:extLst>
          </p:cNvPr>
          <p:cNvGrpSpPr/>
          <p:nvPr/>
        </p:nvGrpSpPr>
        <p:grpSpPr>
          <a:xfrm>
            <a:off x="277384" y="1896867"/>
            <a:ext cx="3246605" cy="457200"/>
            <a:chOff x="277384" y="1896867"/>
            <a:chExt cx="3246605" cy="457200"/>
          </a:xfrm>
        </p:grpSpPr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A45DDEAA-D37C-45EC-8A49-93C7655FDA7F}"/>
                </a:ext>
              </a:extLst>
            </p:cNvPr>
            <p:cNvSpPr txBox="1"/>
            <p:nvPr/>
          </p:nvSpPr>
          <p:spPr>
            <a:xfrm>
              <a:off x="884982" y="1958398"/>
              <a:ext cx="2639007" cy="3341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400" b="1" dirty="0">
                  <a:solidFill>
                    <a:schemeClr val="accent4"/>
                  </a:solidFill>
                </a:rPr>
                <a:t>Close Collaboration</a:t>
              </a:r>
            </a:p>
            <a:p>
              <a:r>
                <a:rPr lang="en-GB" sz="1200" dirty="0">
                  <a:solidFill>
                    <a:schemeClr val="accent4"/>
                  </a:solidFill>
                </a:rPr>
                <a:t>We are partners to our customers</a:t>
              </a:r>
            </a:p>
          </p:txBody>
        </p:sp>
        <p:pic>
          <p:nvPicPr>
            <p:cNvPr id="9" name="Grafik 8" descr="Händedruck">
              <a:extLst>
                <a:ext uri="{FF2B5EF4-FFF2-40B4-BE49-F238E27FC236}">
                  <a16:creationId xmlns:a16="http://schemas.microsoft.com/office/drawing/2014/main" id="{93037A4C-2268-4728-BA18-0765D62C0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77384" y="1896867"/>
              <a:ext cx="457200" cy="457200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F8E9D08-0948-4B0A-BA34-8CE3BA124AAC}"/>
              </a:ext>
            </a:extLst>
          </p:cNvPr>
          <p:cNvGrpSpPr/>
          <p:nvPr/>
        </p:nvGrpSpPr>
        <p:grpSpPr>
          <a:xfrm>
            <a:off x="277385" y="4471491"/>
            <a:ext cx="3626376" cy="457199"/>
            <a:chOff x="277385" y="4460755"/>
            <a:chExt cx="3626376" cy="457199"/>
          </a:xfrm>
        </p:grpSpPr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4E2A98F-3C66-496F-BFE5-81CDB1C7D9DB}"/>
                </a:ext>
              </a:extLst>
            </p:cNvPr>
            <p:cNvSpPr txBox="1"/>
            <p:nvPr/>
          </p:nvSpPr>
          <p:spPr>
            <a:xfrm>
              <a:off x="884982" y="4522285"/>
              <a:ext cx="3018779" cy="3341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400" b="1" dirty="0">
                  <a:solidFill>
                    <a:schemeClr val="accent4"/>
                  </a:solidFill>
                </a:rPr>
                <a:t>Partner Network</a:t>
              </a:r>
            </a:p>
            <a:p>
              <a:r>
                <a:rPr lang="en-GB" sz="1200" dirty="0">
                  <a:solidFill>
                    <a:schemeClr val="accent4"/>
                  </a:solidFill>
                </a:rPr>
                <a:t>Group of selected partners</a:t>
              </a:r>
            </a:p>
          </p:txBody>
        </p:sp>
        <p:pic>
          <p:nvPicPr>
            <p:cNvPr id="12" name="Grafik 11" descr="Verbindungen">
              <a:extLst>
                <a:ext uri="{FF2B5EF4-FFF2-40B4-BE49-F238E27FC236}">
                  <a16:creationId xmlns:a16="http://schemas.microsoft.com/office/drawing/2014/main" id="{4405C637-9087-411F-A39F-6C9882870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7385" y="4460755"/>
              <a:ext cx="457199" cy="457199"/>
            </a:xfrm>
            <a:prstGeom prst="rect">
              <a:avLst/>
            </a:prstGeom>
          </p:spPr>
        </p:pic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26E8F926-79A8-4381-B76C-8ECFC872D1D8}"/>
              </a:ext>
            </a:extLst>
          </p:cNvPr>
          <p:cNvGrpSpPr/>
          <p:nvPr/>
        </p:nvGrpSpPr>
        <p:grpSpPr>
          <a:xfrm>
            <a:off x="297500" y="2735593"/>
            <a:ext cx="3606261" cy="464815"/>
            <a:chOff x="297500" y="2747466"/>
            <a:chExt cx="3606261" cy="464815"/>
          </a:xfrm>
        </p:grpSpPr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A0C9AA3D-17A0-4CE0-B4D1-1C32F7A155A3}"/>
                </a:ext>
              </a:extLst>
            </p:cNvPr>
            <p:cNvSpPr txBox="1"/>
            <p:nvPr/>
          </p:nvSpPr>
          <p:spPr>
            <a:xfrm>
              <a:off x="884982" y="2747466"/>
              <a:ext cx="3018779" cy="46481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400" b="1" dirty="0">
                  <a:solidFill>
                    <a:schemeClr val="accent4"/>
                  </a:solidFill>
                </a:rPr>
                <a:t>Local on-site support</a:t>
              </a:r>
            </a:p>
            <a:p>
              <a:r>
                <a:rPr lang="en-GB" sz="1200" dirty="0">
                  <a:solidFill>
                    <a:schemeClr val="accent4"/>
                  </a:solidFill>
                </a:rPr>
                <a:t>Decentral service delivery</a:t>
              </a:r>
            </a:p>
          </p:txBody>
        </p:sp>
        <p:pic>
          <p:nvPicPr>
            <p:cNvPr id="17" name="Grafik 16" descr="Bauarbeiter">
              <a:extLst>
                <a:ext uri="{FF2B5EF4-FFF2-40B4-BE49-F238E27FC236}">
                  <a16:creationId xmlns:a16="http://schemas.microsoft.com/office/drawing/2014/main" id="{9970BB4D-7A24-43FC-86B2-ED70F6EFD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97500" y="2771389"/>
              <a:ext cx="416968" cy="416968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5841751-97FE-4E5B-83F7-F5D0EA38D784}"/>
              </a:ext>
            </a:extLst>
          </p:cNvPr>
          <p:cNvGrpSpPr/>
          <p:nvPr/>
        </p:nvGrpSpPr>
        <p:grpSpPr>
          <a:xfrm>
            <a:off x="251970" y="3581935"/>
            <a:ext cx="3651791" cy="508029"/>
            <a:chOff x="251970" y="3578683"/>
            <a:chExt cx="3651791" cy="508029"/>
          </a:xfrm>
        </p:grpSpPr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44E469D7-1F67-45A9-9C35-3BEBA9AEF8B3}"/>
                </a:ext>
              </a:extLst>
            </p:cNvPr>
            <p:cNvSpPr txBox="1"/>
            <p:nvPr/>
          </p:nvSpPr>
          <p:spPr>
            <a:xfrm>
              <a:off x="884982" y="3665628"/>
              <a:ext cx="3018779" cy="33413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400" b="1" dirty="0">
                  <a:solidFill>
                    <a:schemeClr val="accent4"/>
                  </a:solidFill>
                </a:rPr>
                <a:t>People Business</a:t>
              </a:r>
              <a:r>
                <a:rPr lang="en-GB" sz="1400" dirty="0">
                  <a:solidFill>
                    <a:schemeClr val="accent4"/>
                  </a:solidFill>
                </a:rPr>
                <a:t> </a:t>
              </a:r>
            </a:p>
            <a:p>
              <a:r>
                <a:rPr lang="en-GB" sz="1200" dirty="0">
                  <a:solidFill>
                    <a:schemeClr val="accent4"/>
                  </a:solidFill>
                </a:rPr>
                <a:t>Our employees are our main asset</a:t>
              </a:r>
            </a:p>
          </p:txBody>
        </p:sp>
        <p:pic>
          <p:nvPicPr>
            <p:cNvPr id="19" name="Grafik 18" descr="Benutzer">
              <a:extLst>
                <a:ext uri="{FF2B5EF4-FFF2-40B4-BE49-F238E27FC236}">
                  <a16:creationId xmlns:a16="http://schemas.microsoft.com/office/drawing/2014/main" id="{92BBEE01-F7C4-4AF7-A22D-0725542F6A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51970" y="3578683"/>
              <a:ext cx="508029" cy="508029"/>
            </a:xfrm>
            <a:prstGeom prst="rect">
              <a:avLst/>
            </a:prstGeom>
          </p:spPr>
        </p:pic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0451F732-C27E-465C-AAFB-A67DA34EAE8D}"/>
              </a:ext>
            </a:extLst>
          </p:cNvPr>
          <p:cNvGrpSpPr/>
          <p:nvPr/>
        </p:nvGrpSpPr>
        <p:grpSpPr>
          <a:xfrm>
            <a:off x="291614" y="5310216"/>
            <a:ext cx="3232374" cy="428740"/>
            <a:chOff x="291614" y="5310216"/>
            <a:chExt cx="3232374" cy="428740"/>
          </a:xfrm>
        </p:grpSpPr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B5FC8518-4EEE-44E7-B57C-19FED1DAD74B}"/>
                </a:ext>
              </a:extLst>
            </p:cNvPr>
            <p:cNvSpPr txBox="1"/>
            <p:nvPr/>
          </p:nvSpPr>
          <p:spPr>
            <a:xfrm>
              <a:off x="884982" y="5310216"/>
              <a:ext cx="2639006" cy="42874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en-GB" sz="1400" b="1" dirty="0">
                  <a:solidFill>
                    <a:schemeClr val="accent4"/>
                  </a:solidFill>
                </a:rPr>
                <a:t>Clever Solutions</a:t>
              </a:r>
            </a:p>
            <a:p>
              <a:r>
                <a:rPr lang="en-GB" sz="1200" dirty="0">
                  <a:solidFill>
                    <a:schemeClr val="accent4"/>
                  </a:solidFill>
                </a:rPr>
                <a:t>Innovative solutions in close collaboration with vehicle engineering</a:t>
              </a:r>
            </a:p>
          </p:txBody>
        </p:sp>
        <p:pic>
          <p:nvPicPr>
            <p:cNvPr id="7" name="Grafik 6" descr="Glühbirne und Stift">
              <a:extLst>
                <a:ext uri="{FF2B5EF4-FFF2-40B4-BE49-F238E27FC236}">
                  <a16:creationId xmlns:a16="http://schemas.microsoft.com/office/drawing/2014/main" id="{EB34563E-7B43-4562-ADD9-255DE20B74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91614" y="5310216"/>
              <a:ext cx="428740" cy="428740"/>
            </a:xfrm>
            <a:prstGeom prst="rect">
              <a:avLst/>
            </a:prstGeom>
          </p:spPr>
        </p:pic>
      </p:grpSp>
      <p:pic>
        <p:nvPicPr>
          <p:cNvPr id="25" name="Bildplatzhalter 9">
            <a:extLst>
              <a:ext uri="{FF2B5EF4-FFF2-40B4-BE49-F238E27FC236}">
                <a16:creationId xmlns:a16="http://schemas.microsoft.com/office/drawing/2014/main" id="{6884A2AB-7D3F-49FD-81AB-E861EC0A15A3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3" t="25741" r="15320" b="27953"/>
          <a:stretch/>
        </p:blipFill>
        <p:spPr>
          <a:xfrm>
            <a:off x="4021585" y="1452360"/>
            <a:ext cx="5122416" cy="4739672"/>
          </a:xfrm>
          <a:prstGeom prst="rect">
            <a:avLst/>
          </a:prstGeom>
        </p:spPr>
      </p:pic>
      <p:sp>
        <p:nvSpPr>
          <p:cNvPr id="24" name="Fußzeilenplatzhalter 7">
            <a:extLst>
              <a:ext uri="{FF2B5EF4-FFF2-40B4-BE49-F238E27FC236}">
                <a16:creationId xmlns:a16="http://schemas.microsoft.com/office/drawing/2014/main" id="{5D765DC8-F346-4E64-A68E-747402C195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  <p:extLst>
      <p:ext uri="{BB962C8B-B14F-4D97-AF65-F5344CB8AC3E}">
        <p14:creationId xmlns:p14="http://schemas.microsoft.com/office/powerpoint/2010/main" val="22224932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3C3DFC-8AEA-4BE3-91B7-747CE07B0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32</a:t>
            </a:fld>
            <a:endParaRPr lang="de-CH" noProof="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33143F0-D1BE-4FE4-A77F-6CB9C73B3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62574"/>
            <a:ext cx="8059790" cy="395286"/>
          </a:xfrm>
        </p:spPr>
        <p:txBody>
          <a:bodyPr/>
          <a:lstStyle/>
          <a:p>
            <a:r>
              <a:rPr lang="en-GB" dirty="0"/>
              <a:t>STADLER DEPOT CONSTRUCTION - </a:t>
            </a:r>
            <a:r>
              <a:rPr lang="en-GB" dirty="0" err="1"/>
              <a:t>newcast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85B262-F67C-4311-86AD-BCB719B162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72" y="1261904"/>
            <a:ext cx="7740860" cy="4824197"/>
          </a:xfrm>
          <a:prstGeom prst="rect">
            <a:avLst/>
          </a:prstGeom>
        </p:spPr>
      </p:pic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E12B6312-CCA3-454B-96E0-BC2D08EAC1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  <p:extLst>
      <p:ext uri="{BB962C8B-B14F-4D97-AF65-F5344CB8AC3E}">
        <p14:creationId xmlns:p14="http://schemas.microsoft.com/office/powerpoint/2010/main" val="21476842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t>Thank you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t>for your attention</a:t>
            </a:r>
          </a:p>
        </p:txBody>
      </p:sp>
      <p:pic>
        <p:nvPicPr>
          <p:cNvPr id="5" name="Bildplatzhalter 9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" b="297"/>
          <a:stretch>
            <a:fillRect/>
          </a:stretch>
        </p:blipFill>
        <p:spPr/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E1544F8-A1AC-4684-9559-3BA3F7E298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6315" y="444"/>
            <a:ext cx="2629283" cy="2636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6005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rgbClr val="1E5A9A"/>
                </a:solidFill>
              </a:rPr>
              <a:pPr/>
              <a:t>4</a:t>
            </a:fld>
            <a:endParaRPr lang="de-CH" dirty="0">
              <a:solidFill>
                <a:srgbClr val="1E5A9A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Stadler Rail Group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orce growth</a:t>
            </a:r>
            <a:endParaRPr lang="de-CH" dirty="0"/>
          </a:p>
        </p:txBody>
      </p:sp>
      <p:graphicFrame>
        <p:nvGraphicFramePr>
          <p:cNvPr id="8" name="Diagramm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5862076"/>
              </p:ext>
            </p:extLst>
          </p:nvPr>
        </p:nvGraphicFramePr>
        <p:xfrm>
          <a:off x="544513" y="1736724"/>
          <a:ext cx="8059737" cy="453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539750" y="6607132"/>
            <a:ext cx="6115212" cy="134981"/>
          </a:xfrm>
        </p:spPr>
        <p:txBody>
          <a:bodyPr/>
          <a:lstStyle/>
          <a:p>
            <a:pPr lvl="0"/>
            <a:r>
              <a:rPr lang="de-CH" sz="750" b="1">
                <a:solidFill>
                  <a:srgbClr val="1E5A9A"/>
                </a:solidFill>
              </a:rPr>
              <a:t>Title | Name | © Stadler | xx.xx.2023</a:t>
            </a:r>
            <a:endParaRPr lang="de-CH" sz="750" b="1" dirty="0">
              <a:solidFill>
                <a:srgbClr val="1E5A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8087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5</a:t>
            </a:fld>
            <a:endParaRPr lang="de-CH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t>Members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idx="15"/>
          </p:nvPr>
        </p:nvSpPr>
        <p:spPr>
          <a:xfrm>
            <a:off x="540000" y="2744789"/>
            <a:ext cx="1908175" cy="431800"/>
          </a:xfrm>
        </p:spPr>
        <p:txBody>
          <a:bodyPr/>
          <a:lstStyle/>
          <a:p>
            <a:r>
              <a:rPr dirty="0"/>
              <a:t>Peter Spuhler</a:t>
            </a:r>
            <a:endParaRPr lang="de-CH" dirty="0"/>
          </a:p>
          <a:p>
            <a:r>
              <a:rPr b="0" dirty="0">
                <a:solidFill>
                  <a:schemeClr val="tx1"/>
                </a:solidFill>
              </a:rPr>
              <a:t>President of the Board of Directo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7"/>
          </p:nvPr>
        </p:nvSpPr>
        <p:spPr>
          <a:xfrm>
            <a:off x="6699930" y="4527170"/>
            <a:ext cx="1908104" cy="431800"/>
          </a:xfrm>
        </p:spPr>
        <p:txBody>
          <a:bodyPr/>
          <a:lstStyle/>
          <a:p>
            <a:r>
              <a:rPr dirty="0"/>
              <a:t>Kurt </a:t>
            </a:r>
            <a:r>
              <a:rPr dirty="0" err="1"/>
              <a:t>Rüegg</a:t>
            </a:r>
            <a:endParaRPr lang="de-CH" dirty="0"/>
          </a:p>
          <a:p>
            <a:r>
              <a:rPr b="0" dirty="0">
                <a:solidFill>
                  <a:schemeClr val="tx1"/>
                </a:solidFill>
              </a:rPr>
              <a:t>Co-owner of </a:t>
            </a:r>
            <a:r>
              <a:rPr b="0" dirty="0" err="1">
                <a:solidFill>
                  <a:schemeClr val="tx1"/>
                </a:solidFill>
              </a:rPr>
              <a:t>Alantra</a:t>
            </a:r>
            <a:r>
              <a:rPr b="0" dirty="0">
                <a:solidFill>
                  <a:schemeClr val="tx1"/>
                </a:solidFill>
              </a:rPr>
              <a:t> AG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9"/>
          </p:nvPr>
        </p:nvSpPr>
        <p:spPr>
          <a:xfrm>
            <a:off x="2584800" y="2744789"/>
            <a:ext cx="1908175" cy="431800"/>
          </a:xfrm>
        </p:spPr>
        <p:txBody>
          <a:bodyPr/>
          <a:lstStyle/>
          <a:p>
            <a:r>
              <a:t>Hans-Peter Schwald</a:t>
            </a:r>
            <a:endParaRPr lang="de-CH" dirty="0"/>
          </a:p>
          <a:p>
            <a:r>
              <a:rPr b="0">
                <a:solidFill>
                  <a:schemeClr val="tx1"/>
                </a:solidFill>
              </a:rPr>
              <a:t>Vice President of the Board of Directors, Managing Partner of BIANCHISCHWALD LLC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42"/>
          </p:nvPr>
        </p:nvSpPr>
        <p:spPr>
          <a:xfrm>
            <a:off x="2584800" y="4545373"/>
            <a:ext cx="1908175" cy="431799"/>
          </a:xfrm>
        </p:spPr>
        <p:txBody>
          <a:bodyPr/>
          <a:lstStyle/>
          <a:p>
            <a:r>
              <a:rPr dirty="0"/>
              <a:t>Doris </a:t>
            </a:r>
            <a:r>
              <a:rPr dirty="0" err="1"/>
              <a:t>Leuthard</a:t>
            </a:r>
            <a:endParaRPr lang="de-CH" dirty="0"/>
          </a:p>
          <a:p>
            <a:r>
              <a:rPr b="0" dirty="0">
                <a:solidFill>
                  <a:schemeClr val="tx1"/>
                </a:solidFill>
              </a:rPr>
              <a:t>Lawyer, former Federal </a:t>
            </a:r>
            <a:r>
              <a:rPr b="0" dirty="0" err="1">
                <a:solidFill>
                  <a:schemeClr val="tx1"/>
                </a:solidFill>
              </a:rPr>
              <a:t>Councillor</a:t>
            </a:r>
            <a:r>
              <a:rPr b="0" dirty="0">
                <a:solidFill>
                  <a:schemeClr val="tx1"/>
                </a:solidFill>
              </a:rPr>
              <a:t> and Former Head of DETEC</a:t>
            </a:r>
            <a:endParaRPr lang="de-CH" b="0" dirty="0">
              <a:solidFill>
                <a:schemeClr val="tx1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idx="44"/>
          </p:nvPr>
        </p:nvSpPr>
        <p:spPr>
          <a:xfrm>
            <a:off x="6703250" y="2754842"/>
            <a:ext cx="1908175" cy="431799"/>
          </a:xfrm>
        </p:spPr>
        <p:txBody>
          <a:bodyPr/>
          <a:lstStyle/>
          <a:p>
            <a:r>
              <a:t>Dr Christoph Franz</a:t>
            </a:r>
            <a:endParaRPr lang="de-CH" dirty="0"/>
          </a:p>
          <a:p>
            <a:r>
              <a:rPr b="0">
                <a:solidFill>
                  <a:schemeClr val="tx1"/>
                </a:solidFill>
              </a:rPr>
              <a:t>President of the Board of Directors of Roche, former CEO of Lufthansa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idx="48"/>
          </p:nvPr>
        </p:nvSpPr>
        <p:spPr>
          <a:xfrm>
            <a:off x="4651200" y="4541777"/>
            <a:ext cx="1908175" cy="431801"/>
          </a:xfrm>
        </p:spPr>
        <p:txBody>
          <a:bodyPr/>
          <a:lstStyle/>
          <a:p>
            <a:r>
              <a:rPr dirty="0" err="1"/>
              <a:t>Wojciech</a:t>
            </a:r>
            <a:r>
              <a:rPr dirty="0"/>
              <a:t> </a:t>
            </a:r>
            <a:r>
              <a:rPr dirty="0" err="1"/>
              <a:t>Kostrzewa</a:t>
            </a:r>
            <a:endParaRPr lang="de-CH" dirty="0"/>
          </a:p>
          <a:p>
            <a:r>
              <a:rPr b="0" dirty="0">
                <a:solidFill>
                  <a:schemeClr val="tx1"/>
                </a:solidFill>
              </a:rPr>
              <a:t>President and CEO </a:t>
            </a:r>
            <a:r>
              <a:rPr lang="de-CH" b="0" dirty="0" err="1">
                <a:solidFill>
                  <a:schemeClr val="tx1"/>
                </a:solidFill>
              </a:rPr>
              <a:t>of</a:t>
            </a:r>
            <a:r>
              <a:rPr lang="de-CH" b="0" dirty="0">
                <a:solidFill>
                  <a:schemeClr val="tx1"/>
                </a:solidFill>
              </a:rPr>
              <a:t> Billon Group Ltd.</a:t>
            </a:r>
          </a:p>
          <a:p>
            <a:endParaRPr lang="de-CH" b="0" dirty="0">
              <a:solidFill>
                <a:schemeClr val="tx1"/>
              </a:solidFill>
            </a:endParaRPr>
          </a:p>
        </p:txBody>
      </p:sp>
      <p:sp>
        <p:nvSpPr>
          <p:cNvPr id="23" name="Content Placeholder 22"/>
          <p:cNvSpPr>
            <a:spLocks noGrp="1"/>
          </p:cNvSpPr>
          <p:nvPr>
            <p:ph idx="50"/>
          </p:nvPr>
        </p:nvSpPr>
        <p:spPr>
          <a:xfrm>
            <a:off x="4648234" y="2745581"/>
            <a:ext cx="2015938" cy="431800"/>
          </a:xfrm>
        </p:spPr>
        <p:txBody>
          <a:bodyPr/>
          <a:lstStyle/>
          <a:p>
            <a:r>
              <a:t>Barbara Egger-Jenzer</a:t>
            </a:r>
            <a:endParaRPr lang="de-CH" dirty="0"/>
          </a:p>
          <a:p>
            <a:r>
              <a:rPr b="0">
                <a:solidFill>
                  <a:schemeClr val="tx1"/>
                </a:solidFill>
              </a:rPr>
              <a:t>Lawyer, former Government Council member</a:t>
            </a:r>
            <a:endParaRPr lang="de-CH" b="0" dirty="0">
              <a:solidFill>
                <a:schemeClr val="tx1"/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Board of directors</a:t>
            </a:r>
            <a:endParaRPr lang="de-CH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noProof="0" dirty="0"/>
          </a:p>
        </p:txBody>
      </p:sp>
      <p:sp>
        <p:nvSpPr>
          <p:cNvPr id="26" name="Content Placeholder 16"/>
          <p:cNvSpPr>
            <a:spLocks noGrp="1"/>
          </p:cNvSpPr>
          <p:nvPr>
            <p:ph idx="44"/>
          </p:nvPr>
        </p:nvSpPr>
        <p:spPr>
          <a:xfrm>
            <a:off x="540000" y="4527305"/>
            <a:ext cx="1908175" cy="431799"/>
          </a:xfrm>
        </p:spPr>
        <p:txBody>
          <a:bodyPr/>
          <a:lstStyle/>
          <a:p>
            <a:r>
              <a:rPr lang="fr-CH" dirty="0"/>
              <a:t>Prof. Dr. Stefan </a:t>
            </a:r>
            <a:r>
              <a:rPr lang="fr-CH" dirty="0" err="1"/>
              <a:t>Asenkerschbaumer</a:t>
            </a:r>
            <a:endParaRPr lang="fr-CH" dirty="0"/>
          </a:p>
          <a:p>
            <a:r>
              <a:rPr lang="en-US" b="0" dirty="0">
                <a:solidFill>
                  <a:schemeClr val="tx1"/>
                </a:solidFill>
              </a:rPr>
              <a:t>Chairman of the supervisory board of Robert Bosch GmbH</a:t>
            </a:r>
            <a:endParaRPr lang="fr-CH" b="0" dirty="0">
              <a:solidFill>
                <a:schemeClr val="tx1"/>
              </a:solidFill>
            </a:endParaRPr>
          </a:p>
        </p:txBody>
      </p:sp>
      <p:pic>
        <p:nvPicPr>
          <p:cNvPr id="22" name="Bildplatzhalter 32">
            <a:extLst>
              <a:ext uri="{FF2B5EF4-FFF2-40B4-BE49-F238E27FC236}">
                <a16:creationId xmlns:a16="http://schemas.microsoft.com/office/drawing/2014/main" id="{A9036B59-72F7-4D6C-96BE-4ED7DE6E9BC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2" t="2169" r="15128" b="39633"/>
          <a:stretch/>
        </p:blipFill>
        <p:spPr>
          <a:xfrm>
            <a:off x="538728" y="1736725"/>
            <a:ext cx="1909448" cy="1008000"/>
          </a:xfr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EF237B32-5011-4000-AB51-3443FA2EB3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550" y="1735899"/>
            <a:ext cx="1908052" cy="1008890"/>
          </a:xfrm>
          <a:prstGeom prst="rect">
            <a:avLst/>
          </a:prstGeom>
        </p:spPr>
      </p:pic>
      <p:pic>
        <p:nvPicPr>
          <p:cNvPr id="28" name="Bildplatzhalter 18">
            <a:extLst>
              <a:ext uri="{FF2B5EF4-FFF2-40B4-BE49-F238E27FC236}">
                <a16:creationId xmlns:a16="http://schemas.microsoft.com/office/drawing/2014/main" id="{F791672F-DED7-4026-AAAF-C7252F592DC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4651200" y="1735899"/>
            <a:ext cx="1908052" cy="1008890"/>
          </a:xfrm>
          <a:prstGeom prst="rect">
            <a:avLst/>
          </a:prstGeom>
        </p:spPr>
      </p:pic>
      <p:pic>
        <p:nvPicPr>
          <p:cNvPr id="30" name="Bildplatzhalter 33">
            <a:extLst>
              <a:ext uri="{FF2B5EF4-FFF2-40B4-BE49-F238E27FC236}">
                <a16:creationId xmlns:a16="http://schemas.microsoft.com/office/drawing/2014/main" id="{B2C17674-6BE8-4B12-B217-29EEC5FB0E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703250" y="1725900"/>
            <a:ext cx="1908052" cy="1008890"/>
          </a:xfrm>
          <a:prstGeom prst="rect">
            <a:avLst/>
          </a:prstGeom>
        </p:spPr>
      </p:pic>
      <p:pic>
        <p:nvPicPr>
          <p:cNvPr id="31" name="Bildplatzhalter 10">
            <a:extLst>
              <a:ext uri="{FF2B5EF4-FFF2-40B4-BE49-F238E27FC236}">
                <a16:creationId xmlns:a16="http://schemas.microsoft.com/office/drawing/2014/main" id="{0D1D2896-A8DF-48BF-B62D-1B8BA727CE02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" t="-470" r="52" b="15442"/>
          <a:stretch/>
        </p:blipFill>
        <p:spPr>
          <a:xfrm>
            <a:off x="540176" y="3541937"/>
            <a:ext cx="1908000" cy="10080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80467F32-4B30-4749-823D-F83E865648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550" y="3521376"/>
            <a:ext cx="1908052" cy="100889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29FB8DC-5778-4768-BDDD-14A3AF7DBFD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1200" y="3499861"/>
            <a:ext cx="1908052" cy="100889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C3DB9D86-D621-42A6-98BF-955AE3C6BD9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3250" y="3495243"/>
            <a:ext cx="1908052" cy="100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5751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CH" dirty="0"/>
              <a:t>Markus </a:t>
            </a:r>
            <a:r>
              <a:rPr lang="de-CH" dirty="0" err="1"/>
              <a:t>Bernsteiner</a:t>
            </a:r>
            <a:endParaRPr lang="de-CH" dirty="0"/>
          </a:p>
          <a:p>
            <a:r>
              <a:rPr lang="de-DE" b="0" dirty="0">
                <a:solidFill>
                  <a:schemeClr val="tx1"/>
                </a:solidFill>
              </a:rPr>
              <a:t>Group CEO</a:t>
            </a:r>
            <a:endParaRPr lang="de-CH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itle | Name | © Stadler | xx.xx.2023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noProof="0" smtClean="0"/>
              <a:t>6</a:t>
            </a:fld>
            <a:endParaRPr lang="de-CH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/>
              <a:t>Members</a:t>
            </a:r>
          </a:p>
          <a:p>
            <a:endParaRPr lang="de-CH" dirty="0"/>
          </a:p>
        </p:txBody>
      </p:sp>
      <p:sp>
        <p:nvSpPr>
          <p:cNvPr id="7" name="Inhaltsplatzhalter 6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en-US" dirty="0"/>
              <a:t>Raphael Widmer</a:t>
            </a:r>
          </a:p>
          <a:p>
            <a:r>
              <a:rPr lang="en-US" b="0" dirty="0">
                <a:solidFill>
                  <a:schemeClr val="tx1"/>
                </a:solidFill>
              </a:rPr>
              <a:t>Group CFO</a:t>
            </a:r>
          </a:p>
          <a:p>
            <a:endParaRPr lang="de-CH" dirty="0"/>
          </a:p>
        </p:txBody>
      </p:sp>
      <p:sp>
        <p:nvSpPr>
          <p:cNvPr id="8" name="Inhaltsplatzhalter 7"/>
          <p:cNvSpPr>
            <a:spLocks noGrp="1"/>
          </p:cNvSpPr>
          <p:nvPr>
            <p:ph idx="17"/>
          </p:nvPr>
        </p:nvSpPr>
        <p:spPr>
          <a:xfrm>
            <a:off x="4643438" y="2816225"/>
            <a:ext cx="1908104" cy="431800"/>
          </a:xfrm>
        </p:spPr>
        <p:txBody>
          <a:bodyPr/>
          <a:lstStyle/>
          <a:p>
            <a:r>
              <a:rPr lang="en-US" dirty="0"/>
              <a:t>Dr. Ansgar Brockmeyer</a:t>
            </a:r>
          </a:p>
          <a:p>
            <a:r>
              <a:rPr lang="en-US" b="0" dirty="0">
                <a:solidFill>
                  <a:schemeClr val="tx1"/>
                </a:solidFill>
              </a:rPr>
              <a:t>Executive Vice President Sales &amp; Marketing, Deputy Group CEO</a:t>
            </a:r>
          </a:p>
          <a:p>
            <a:endParaRPr lang="de-CH" dirty="0"/>
          </a:p>
        </p:txBody>
      </p:sp>
      <p:sp>
        <p:nvSpPr>
          <p:cNvPr id="9" name="Inhaltsplatzhalter 8"/>
          <p:cNvSpPr>
            <a:spLocks noGrp="1"/>
          </p:cNvSpPr>
          <p:nvPr>
            <p:ph idx="19"/>
          </p:nvPr>
        </p:nvSpPr>
        <p:spPr/>
        <p:txBody>
          <a:bodyPr/>
          <a:lstStyle/>
          <a:p>
            <a:r>
              <a:rPr lang="de-CH" dirty="0"/>
              <a:t>Lucius </a:t>
            </a:r>
            <a:r>
              <a:rPr lang="de-CH" dirty="0" err="1"/>
              <a:t>Gerig</a:t>
            </a:r>
            <a:endParaRPr lang="de-CH" dirty="0"/>
          </a:p>
          <a:p>
            <a:r>
              <a:rPr lang="en-US" b="0" dirty="0">
                <a:solidFill>
                  <a:schemeClr val="tx1"/>
                </a:solidFill>
              </a:rPr>
              <a:t>Executive Vice President Switzerland</a:t>
            </a:r>
          </a:p>
          <a:p>
            <a:endParaRPr lang="de-CH" dirty="0"/>
          </a:p>
        </p:txBody>
      </p:sp>
      <p:sp>
        <p:nvSpPr>
          <p:cNvPr id="13" name="Inhaltsplatzhalter 12"/>
          <p:cNvSpPr>
            <a:spLocks noGrp="1"/>
          </p:cNvSpPr>
          <p:nvPr>
            <p:ph idx="40"/>
          </p:nvPr>
        </p:nvSpPr>
        <p:spPr>
          <a:xfrm>
            <a:off x="547861" y="4371941"/>
            <a:ext cx="1909198" cy="360361"/>
          </a:xfrm>
        </p:spPr>
        <p:txBody>
          <a:bodyPr/>
          <a:lstStyle/>
          <a:p>
            <a:r>
              <a:rPr lang="de-CH" dirty="0"/>
              <a:t>Jure Mikolčić</a:t>
            </a:r>
          </a:p>
          <a:p>
            <a:r>
              <a:rPr lang="de-CH" b="0" dirty="0">
                <a:solidFill>
                  <a:schemeClr val="tx1"/>
                </a:solidFill>
              </a:rPr>
              <a:t>Executive </a:t>
            </a:r>
            <a:r>
              <a:rPr lang="de-CH" b="0" dirty="0" err="1">
                <a:solidFill>
                  <a:schemeClr val="tx1"/>
                </a:solidFill>
              </a:rPr>
              <a:t>Vice</a:t>
            </a:r>
            <a:r>
              <a:rPr lang="de-CH" b="0" dirty="0">
                <a:solidFill>
                  <a:schemeClr val="tx1"/>
                </a:solidFill>
              </a:rPr>
              <a:t> </a:t>
            </a:r>
            <a:r>
              <a:rPr lang="de-CH" b="0" dirty="0" err="1">
                <a:solidFill>
                  <a:schemeClr val="tx1"/>
                </a:solidFill>
              </a:rPr>
              <a:t>President</a:t>
            </a:r>
            <a:r>
              <a:rPr lang="de-CH" b="0" dirty="0">
                <a:solidFill>
                  <a:schemeClr val="tx1"/>
                </a:solidFill>
              </a:rPr>
              <a:t> Germany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idx="42"/>
          </p:nvPr>
        </p:nvSpPr>
        <p:spPr>
          <a:xfrm>
            <a:off x="2592387" y="4382086"/>
            <a:ext cx="1908175" cy="360361"/>
          </a:xfrm>
        </p:spPr>
        <p:txBody>
          <a:bodyPr/>
          <a:lstStyle/>
          <a:p>
            <a:r>
              <a:rPr lang="de-CH" dirty="0"/>
              <a:t>Philipp Brunner</a:t>
            </a:r>
          </a:p>
          <a:p>
            <a:r>
              <a:rPr lang="de-CH" b="0" dirty="0">
                <a:solidFill>
                  <a:schemeClr val="tx1"/>
                </a:solidFill>
              </a:rPr>
              <a:t>Executive </a:t>
            </a:r>
            <a:r>
              <a:rPr lang="de-CH" b="0" dirty="0" err="1">
                <a:solidFill>
                  <a:schemeClr val="tx1"/>
                </a:solidFill>
              </a:rPr>
              <a:t>Vice</a:t>
            </a:r>
            <a:r>
              <a:rPr lang="de-CH" b="0" dirty="0">
                <a:solidFill>
                  <a:schemeClr val="tx1"/>
                </a:solidFill>
              </a:rPr>
              <a:t> </a:t>
            </a:r>
            <a:r>
              <a:rPr lang="de-CH" b="0" dirty="0" err="1">
                <a:solidFill>
                  <a:schemeClr val="tx1"/>
                </a:solidFill>
              </a:rPr>
              <a:t>President</a:t>
            </a:r>
            <a:r>
              <a:rPr lang="de-CH" b="0" dirty="0">
                <a:solidFill>
                  <a:schemeClr val="tx1"/>
                </a:solidFill>
              </a:rPr>
              <a:t> Central Europe</a:t>
            </a:r>
          </a:p>
          <a:p>
            <a:endParaRPr lang="de-CH" dirty="0"/>
          </a:p>
        </p:txBody>
      </p:sp>
      <p:sp>
        <p:nvSpPr>
          <p:cNvPr id="16" name="Inhaltsplatzhalter 15"/>
          <p:cNvSpPr>
            <a:spLocks noGrp="1"/>
          </p:cNvSpPr>
          <p:nvPr>
            <p:ph idx="43"/>
          </p:nvPr>
        </p:nvSpPr>
        <p:spPr>
          <a:xfrm>
            <a:off x="4643438" y="4382086"/>
            <a:ext cx="1908174" cy="360362"/>
          </a:xfrm>
        </p:spPr>
        <p:txBody>
          <a:bodyPr/>
          <a:lstStyle/>
          <a:p>
            <a:r>
              <a:rPr lang="it-IT" dirty="0" err="1"/>
              <a:t>Iñigo</a:t>
            </a:r>
            <a:r>
              <a:rPr lang="it-IT" dirty="0"/>
              <a:t> Parra</a:t>
            </a:r>
          </a:p>
          <a:p>
            <a:r>
              <a:rPr lang="de-CH" b="0" dirty="0">
                <a:solidFill>
                  <a:schemeClr val="tx1"/>
                </a:solidFill>
              </a:rPr>
              <a:t>Executive </a:t>
            </a:r>
            <a:r>
              <a:rPr lang="de-CH" b="0" dirty="0" err="1">
                <a:solidFill>
                  <a:schemeClr val="tx1"/>
                </a:solidFill>
              </a:rPr>
              <a:t>Vice</a:t>
            </a:r>
            <a:r>
              <a:rPr lang="de-CH" b="0" dirty="0">
                <a:solidFill>
                  <a:schemeClr val="tx1"/>
                </a:solidFill>
              </a:rPr>
              <a:t> </a:t>
            </a:r>
            <a:r>
              <a:rPr lang="de-CH" b="0" dirty="0" err="1">
                <a:solidFill>
                  <a:schemeClr val="tx1"/>
                </a:solidFill>
              </a:rPr>
              <a:t>President</a:t>
            </a:r>
            <a:r>
              <a:rPr lang="de-CH" b="0" dirty="0">
                <a:solidFill>
                  <a:schemeClr val="tx1"/>
                </a:solidFill>
              </a:rPr>
              <a:t> Spain</a:t>
            </a:r>
          </a:p>
          <a:p>
            <a:endParaRPr lang="de-CH" dirty="0"/>
          </a:p>
        </p:txBody>
      </p:sp>
      <p:sp>
        <p:nvSpPr>
          <p:cNvPr id="17" name="Inhaltsplatzhalter 16"/>
          <p:cNvSpPr>
            <a:spLocks noGrp="1"/>
          </p:cNvSpPr>
          <p:nvPr>
            <p:ph idx="44"/>
          </p:nvPr>
        </p:nvSpPr>
        <p:spPr>
          <a:xfrm>
            <a:off x="2581404" y="5946508"/>
            <a:ext cx="1908175" cy="360361"/>
          </a:xfrm>
        </p:spPr>
        <p:txBody>
          <a:bodyPr/>
          <a:lstStyle/>
          <a:p>
            <a:r>
              <a:rPr lang="de-CH" dirty="0"/>
              <a:t>Christian Spichiger</a:t>
            </a:r>
          </a:p>
          <a:p>
            <a:r>
              <a:rPr lang="de-CH" b="0" dirty="0">
                <a:solidFill>
                  <a:schemeClr val="tx1"/>
                </a:solidFill>
              </a:rPr>
              <a:t>Executive </a:t>
            </a:r>
            <a:r>
              <a:rPr lang="de-CH" b="0" dirty="0" err="1">
                <a:solidFill>
                  <a:schemeClr val="tx1"/>
                </a:solidFill>
              </a:rPr>
              <a:t>Vice</a:t>
            </a:r>
            <a:r>
              <a:rPr lang="de-CH" b="0" dirty="0">
                <a:solidFill>
                  <a:schemeClr val="tx1"/>
                </a:solidFill>
              </a:rPr>
              <a:t> </a:t>
            </a:r>
            <a:r>
              <a:rPr lang="de-CH" b="0" dirty="0" err="1">
                <a:solidFill>
                  <a:schemeClr val="tx1"/>
                </a:solidFill>
              </a:rPr>
              <a:t>President</a:t>
            </a:r>
            <a:r>
              <a:rPr lang="de-CH" b="0" dirty="0">
                <a:solidFill>
                  <a:schemeClr val="tx1"/>
                </a:solidFill>
              </a:rPr>
              <a:t> Components</a:t>
            </a:r>
          </a:p>
          <a:p>
            <a:endParaRPr lang="de-CH" dirty="0"/>
          </a:p>
        </p:txBody>
      </p:sp>
      <p:sp>
        <p:nvSpPr>
          <p:cNvPr id="21" name="Inhaltsplatzhalter 20"/>
          <p:cNvSpPr>
            <a:spLocks noGrp="1"/>
          </p:cNvSpPr>
          <p:nvPr>
            <p:ph idx="48"/>
          </p:nvPr>
        </p:nvSpPr>
        <p:spPr>
          <a:xfrm>
            <a:off x="538098" y="5946508"/>
            <a:ext cx="1908175" cy="358775"/>
          </a:xfrm>
        </p:spPr>
        <p:txBody>
          <a:bodyPr/>
          <a:lstStyle/>
          <a:p>
            <a:r>
              <a:rPr lang="de-CH" dirty="0"/>
              <a:t>Daniel Baer</a:t>
            </a:r>
          </a:p>
          <a:p>
            <a:r>
              <a:rPr lang="de-CH" b="0" dirty="0">
                <a:solidFill>
                  <a:schemeClr val="tx1"/>
                </a:solidFill>
              </a:rPr>
              <a:t>Executive </a:t>
            </a:r>
            <a:r>
              <a:rPr lang="de-CH" b="0" dirty="0" err="1">
                <a:solidFill>
                  <a:schemeClr val="tx1"/>
                </a:solidFill>
              </a:rPr>
              <a:t>Vice</a:t>
            </a:r>
            <a:r>
              <a:rPr lang="de-CH" b="0" dirty="0">
                <a:solidFill>
                  <a:schemeClr val="tx1"/>
                </a:solidFill>
              </a:rPr>
              <a:t> </a:t>
            </a:r>
            <a:r>
              <a:rPr lang="de-CH" b="0" dirty="0" err="1">
                <a:solidFill>
                  <a:schemeClr val="tx1"/>
                </a:solidFill>
              </a:rPr>
              <a:t>President</a:t>
            </a:r>
            <a:r>
              <a:rPr lang="de-CH" b="0" dirty="0">
                <a:solidFill>
                  <a:schemeClr val="tx1"/>
                </a:solidFill>
              </a:rPr>
              <a:t> Service</a:t>
            </a:r>
          </a:p>
          <a:p>
            <a:endParaRPr lang="de-CH" dirty="0"/>
          </a:p>
        </p:txBody>
      </p:sp>
      <p:sp>
        <p:nvSpPr>
          <p:cNvPr id="23" name="Inhaltsplatzhalter 22"/>
          <p:cNvSpPr>
            <a:spLocks noGrp="1"/>
          </p:cNvSpPr>
          <p:nvPr>
            <p:ph idx="50"/>
          </p:nvPr>
        </p:nvSpPr>
        <p:spPr>
          <a:xfrm>
            <a:off x="6696076" y="4382880"/>
            <a:ext cx="1908174" cy="358774"/>
          </a:xfrm>
        </p:spPr>
        <p:txBody>
          <a:bodyPr/>
          <a:lstStyle/>
          <a:p>
            <a:r>
              <a:rPr lang="de-CH" dirty="0"/>
              <a:t>Marc Trippel</a:t>
            </a:r>
          </a:p>
          <a:p>
            <a:r>
              <a:rPr lang="de-CH" b="0" dirty="0">
                <a:solidFill>
                  <a:schemeClr val="tx1"/>
                </a:solidFill>
              </a:rPr>
              <a:t>Head </a:t>
            </a:r>
            <a:r>
              <a:rPr lang="de-CH" b="0" dirty="0" err="1">
                <a:solidFill>
                  <a:schemeClr val="tx1"/>
                </a:solidFill>
              </a:rPr>
              <a:t>of</a:t>
            </a:r>
            <a:r>
              <a:rPr lang="de-CH" b="0" dirty="0">
                <a:solidFill>
                  <a:schemeClr val="tx1"/>
                </a:solidFill>
              </a:rPr>
              <a:t> Division Signalling</a:t>
            </a:r>
          </a:p>
        </p:txBody>
      </p:sp>
      <p:sp>
        <p:nvSpPr>
          <p:cNvPr id="24" name="Inhaltsplatzhalter 23"/>
          <p:cNvSpPr>
            <a:spLocks noGrp="1"/>
          </p:cNvSpPr>
          <p:nvPr>
            <p:ph idx="51"/>
          </p:nvPr>
        </p:nvSpPr>
        <p:spPr>
          <a:xfrm>
            <a:off x="4643437" y="5915211"/>
            <a:ext cx="1908175" cy="358774"/>
          </a:xfrm>
        </p:spPr>
        <p:txBody>
          <a:bodyPr/>
          <a:lstStyle/>
          <a:p>
            <a:endParaRPr lang="de-CH"/>
          </a:p>
        </p:txBody>
      </p:sp>
      <p:sp>
        <p:nvSpPr>
          <p:cNvPr id="25" name="Inhaltsplatzhalter 24"/>
          <p:cNvSpPr>
            <a:spLocks noGrp="1"/>
          </p:cNvSpPr>
          <p:nvPr>
            <p:ph idx="52"/>
          </p:nvPr>
        </p:nvSpPr>
        <p:spPr>
          <a:xfrm>
            <a:off x="6696074" y="5915210"/>
            <a:ext cx="1908175" cy="358774"/>
          </a:xfrm>
        </p:spPr>
        <p:txBody>
          <a:bodyPr/>
          <a:lstStyle/>
          <a:p>
            <a:endParaRPr lang="de-CH"/>
          </a:p>
        </p:txBody>
      </p:sp>
      <p:sp>
        <p:nvSpPr>
          <p:cNvPr id="27" name="Bildplatzhalter 26"/>
          <p:cNvSpPr>
            <a:spLocks noGrp="1"/>
          </p:cNvSpPr>
          <p:nvPr>
            <p:ph type="pic" sz="quarter" idx="54"/>
          </p:nvPr>
        </p:nvSpPr>
        <p:spPr>
          <a:xfrm>
            <a:off x="4643438" y="4832858"/>
            <a:ext cx="1908175" cy="1081087"/>
          </a:xfrm>
        </p:spPr>
      </p:sp>
      <p:sp>
        <p:nvSpPr>
          <p:cNvPr id="28" name="Bildplatzhalter 27"/>
          <p:cNvSpPr>
            <a:spLocks noGrp="1"/>
          </p:cNvSpPr>
          <p:nvPr>
            <p:ph type="pic" sz="quarter" idx="55"/>
          </p:nvPr>
        </p:nvSpPr>
        <p:spPr>
          <a:xfrm>
            <a:off x="6691366" y="4822801"/>
            <a:ext cx="1908174" cy="1081087"/>
          </a:xfrm>
        </p:spPr>
      </p:sp>
      <p:sp>
        <p:nvSpPr>
          <p:cNvPr id="29" name="Titel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GROUP EXECUTIVE BOARD</a:t>
            </a:r>
            <a:endParaRPr lang="de-CH" dirty="0"/>
          </a:p>
        </p:txBody>
      </p:sp>
      <p:pic>
        <p:nvPicPr>
          <p:cNvPr id="39" name="Bildplatzhalter 29">
            <a:extLst>
              <a:ext uri="{FF2B5EF4-FFF2-40B4-BE49-F238E27FC236}">
                <a16:creationId xmlns:a16="http://schemas.microsoft.com/office/drawing/2014/main" id="{1DDE8EE9-4CD6-4A25-AE30-6CE6CBEE8A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2" t="3645" r="2979" b="31346"/>
          <a:stretch/>
        </p:blipFill>
        <p:spPr>
          <a:xfrm>
            <a:off x="2592388" y="1736725"/>
            <a:ext cx="1908175" cy="1006959"/>
          </a:xfrm>
          <a:prstGeom prst="rect">
            <a:avLst/>
          </a:prstGeom>
        </p:spPr>
      </p:pic>
      <p:pic>
        <p:nvPicPr>
          <p:cNvPr id="40" name="Bildplatzhalter 33">
            <a:extLst>
              <a:ext uri="{FF2B5EF4-FFF2-40B4-BE49-F238E27FC236}">
                <a16:creationId xmlns:a16="http://schemas.microsoft.com/office/drawing/2014/main" id="{46231C0F-9905-492A-A23F-BEDD59709D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4" t="5069" r="14678" b="30371"/>
          <a:stretch/>
        </p:blipFill>
        <p:spPr>
          <a:xfrm>
            <a:off x="4643438" y="1736725"/>
            <a:ext cx="1908175" cy="1006959"/>
          </a:xfrm>
          <a:prstGeom prst="rect">
            <a:avLst/>
          </a:prstGeom>
        </p:spPr>
      </p:pic>
      <p:pic>
        <p:nvPicPr>
          <p:cNvPr id="48" name="Bildplatzhalter 35">
            <a:extLst>
              <a:ext uri="{FF2B5EF4-FFF2-40B4-BE49-F238E27FC236}">
                <a16:creationId xmlns:a16="http://schemas.microsoft.com/office/drawing/2014/main" id="{F19EB359-84C9-45AD-92BD-42EF5E59394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4" t="3653" r="11787" b="31444"/>
          <a:stretch/>
        </p:blipFill>
        <p:spPr>
          <a:xfrm>
            <a:off x="538727" y="3331084"/>
            <a:ext cx="1909198" cy="1006959"/>
          </a:xfrm>
          <a:prstGeom prst="rect">
            <a:avLst/>
          </a:prstGeom>
        </p:spPr>
      </p:pic>
      <p:pic>
        <p:nvPicPr>
          <p:cNvPr id="51" name="Bildplatzhalter 45">
            <a:extLst>
              <a:ext uri="{FF2B5EF4-FFF2-40B4-BE49-F238E27FC236}">
                <a16:creationId xmlns:a16="http://schemas.microsoft.com/office/drawing/2014/main" id="{1D677D73-1C77-43E3-956A-905A0760E54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8572" y="3331084"/>
            <a:ext cx="1908052" cy="1008890"/>
          </a:xfrm>
          <a:prstGeom prst="rect">
            <a:avLst/>
          </a:prstGeom>
        </p:spPr>
      </p:pic>
      <p:pic>
        <p:nvPicPr>
          <p:cNvPr id="52" name="Bildplatzhalter 37">
            <a:extLst>
              <a:ext uri="{FF2B5EF4-FFF2-40B4-BE49-F238E27FC236}">
                <a16:creationId xmlns:a16="http://schemas.microsoft.com/office/drawing/2014/main" id="{2C9F7C18-6B2A-4918-8F5B-BCF53B5F26D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8" t="3137" r="13698" b="32877"/>
          <a:stretch/>
        </p:blipFill>
        <p:spPr>
          <a:xfrm>
            <a:off x="4643438" y="3331084"/>
            <a:ext cx="1908175" cy="1006959"/>
          </a:xfrm>
          <a:prstGeom prst="rect">
            <a:avLst/>
          </a:prstGeom>
        </p:spPr>
      </p:pic>
      <p:pic>
        <p:nvPicPr>
          <p:cNvPr id="54" name="Bildplatzhalter 9">
            <a:extLst>
              <a:ext uri="{FF2B5EF4-FFF2-40B4-BE49-F238E27FC236}">
                <a16:creationId xmlns:a16="http://schemas.microsoft.com/office/drawing/2014/main" id="{691E8007-0D36-463A-9CF9-A8E649820E7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" t="1577" r="16926" b="34029"/>
          <a:stretch/>
        </p:blipFill>
        <p:spPr>
          <a:xfrm>
            <a:off x="6691365" y="3331084"/>
            <a:ext cx="1908175" cy="1005079"/>
          </a:xfrm>
          <a:prstGeom prst="rect">
            <a:avLst/>
          </a:prstGeom>
        </p:spPr>
      </p:pic>
      <p:pic>
        <p:nvPicPr>
          <p:cNvPr id="55" name="Bildplatzhalter 38">
            <a:extLst>
              <a:ext uri="{FF2B5EF4-FFF2-40B4-BE49-F238E27FC236}">
                <a16:creationId xmlns:a16="http://schemas.microsoft.com/office/drawing/2014/main" id="{05E1253C-A131-4410-AA8C-241CA94CC7F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539766" y="4893799"/>
            <a:ext cx="1908052" cy="1008890"/>
          </a:xfrm>
          <a:prstGeom prst="rect">
            <a:avLst/>
          </a:prstGeom>
        </p:spPr>
      </p:pic>
      <p:pic>
        <p:nvPicPr>
          <p:cNvPr id="56" name="Bildplatzhalter 36">
            <a:extLst>
              <a:ext uri="{FF2B5EF4-FFF2-40B4-BE49-F238E27FC236}">
                <a16:creationId xmlns:a16="http://schemas.microsoft.com/office/drawing/2014/main" id="{C0EB35B1-EB19-4D2B-A304-8915C1BD58C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592387" y="4897364"/>
            <a:ext cx="1908052" cy="1008890"/>
          </a:xfrm>
          <a:prstGeom prst="rect">
            <a:avLst/>
          </a:prstGeom>
        </p:spPr>
      </p:pic>
      <p:pic>
        <p:nvPicPr>
          <p:cNvPr id="30" name="Bildplatzhalter 34">
            <a:extLst>
              <a:ext uri="{FF2B5EF4-FFF2-40B4-BE49-F238E27FC236}">
                <a16:creationId xmlns:a16="http://schemas.microsoft.com/office/drawing/2014/main" id="{80D3A024-15B9-4BA3-8F98-32870B43FFF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3" t="1581" r="14060" b="31828"/>
          <a:stretch/>
        </p:blipFill>
        <p:spPr>
          <a:xfrm>
            <a:off x="538097" y="1742221"/>
            <a:ext cx="1908176" cy="100695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F338DA61-76E5-484A-BD68-94D8385F41E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365" y="1743398"/>
            <a:ext cx="1908000" cy="1006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106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ichtungspfeil 99"/>
          <p:cNvSpPr/>
          <p:nvPr/>
        </p:nvSpPr>
        <p:spPr>
          <a:xfrm>
            <a:off x="1568042" y="3739527"/>
            <a:ext cx="7325825" cy="283658"/>
          </a:xfrm>
          <a:prstGeom prst="homePlate">
            <a:avLst>
              <a:gd name="adj" fmla="val 44685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8" name="Gruppieren 87"/>
          <p:cNvGrpSpPr/>
          <p:nvPr/>
        </p:nvGrpSpPr>
        <p:grpSpPr>
          <a:xfrm>
            <a:off x="1631480" y="3906676"/>
            <a:ext cx="1370916" cy="1330864"/>
            <a:chOff x="6501395" y="3690000"/>
            <a:chExt cx="1398714" cy="1330864"/>
          </a:xfrm>
        </p:grpSpPr>
        <p:cxnSp>
          <p:nvCxnSpPr>
            <p:cNvPr id="34" name="Gerade Verbindung 33"/>
            <p:cNvCxnSpPr/>
            <p:nvPr/>
          </p:nvCxnSpPr>
          <p:spPr>
            <a:xfrm>
              <a:off x="6623972" y="3690000"/>
              <a:ext cx="0" cy="180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/>
            <p:cNvSpPr txBox="1"/>
            <p:nvPr/>
          </p:nvSpPr>
          <p:spPr>
            <a:xfrm>
              <a:off x="6501395" y="3906000"/>
              <a:ext cx="1237500" cy="432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sz="2650" spc="-270">
                  <a:solidFill>
                    <a:schemeClr val="tx2"/>
                  </a:solidFill>
                </a:rPr>
                <a:t>1</a:t>
              </a:r>
              <a:r>
                <a:rPr sz="2650">
                  <a:solidFill>
                    <a:schemeClr val="tx2"/>
                  </a:solidFill>
                </a:rPr>
                <a:t>989</a:t>
              </a:r>
              <a:endParaRPr lang="de-DE" sz="2650" dirty="0">
                <a:solidFill>
                  <a:schemeClr val="tx2"/>
                </a:solidFill>
              </a:endParaRP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6692896" y="4360438"/>
              <a:ext cx="1207213" cy="6604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r>
                <a:t>Peter Spuhler takes over </a:t>
              </a:r>
            </a:p>
            <a:p>
              <a:r>
                <a:t>Stadler Fahrzeuge AG and its 18 employees.</a:t>
              </a:r>
              <a:endParaRPr lang="en-US" dirty="0"/>
            </a:p>
          </p:txBody>
        </p:sp>
        <p:cxnSp>
          <p:nvCxnSpPr>
            <p:cNvPr id="43" name="Gerade Verbindung 42"/>
            <p:cNvCxnSpPr/>
            <p:nvPr/>
          </p:nvCxnSpPr>
          <p:spPr>
            <a:xfrm>
              <a:off x="6587237" y="4385876"/>
              <a:ext cx="1" cy="410624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b" anchorCtr="0"/>
          <a:lstStyle/>
          <a:p>
            <a:fld id="{E864D508-2976-42EB-80D4-95D99DF51E08}" type="slidenum">
              <a:rPr lang="de-CH">
                <a:solidFill>
                  <a:schemeClr val="tx2"/>
                </a:solidFill>
              </a:rPr>
              <a:pPr/>
              <a:t>7</a:t>
            </a:fld>
            <a:endParaRPr lang="de-CH" dirty="0">
              <a:solidFill>
                <a:schemeClr val="tx2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39750" y="793607"/>
            <a:ext cx="8064500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sz="2800" cap="all"/>
              <a:t>STADLER RAIL GROUP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cap="al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A SOLID BASIS FOR THE FUTURE</a:t>
            </a:r>
            <a:endParaRPr lang="en-US" dirty="0"/>
          </a:p>
        </p:txBody>
      </p:sp>
      <p:sp>
        <p:nvSpPr>
          <p:cNvPr id="9" name="Ellipse 8"/>
          <p:cNvSpPr/>
          <p:nvPr/>
        </p:nvSpPr>
        <p:spPr>
          <a:xfrm>
            <a:off x="542925" y="3345533"/>
            <a:ext cx="1065600" cy="1065600"/>
          </a:xfrm>
          <a:prstGeom prst="ellips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feld 9"/>
          <p:cNvSpPr txBox="1"/>
          <p:nvPr/>
        </p:nvSpPr>
        <p:spPr>
          <a:xfrm>
            <a:off x="542925" y="3348984"/>
            <a:ext cx="1065600" cy="106214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/>
            <a:r>
              <a:rPr b="1" spc="-80" dirty="0">
                <a:solidFill>
                  <a:schemeClr val="bg1"/>
                </a:solidFill>
              </a:rPr>
              <a:t>1</a:t>
            </a:r>
            <a:r>
              <a:rPr b="1" dirty="0">
                <a:solidFill>
                  <a:schemeClr val="bg1"/>
                </a:solidFill>
              </a:rPr>
              <a:t>942</a:t>
            </a:r>
          </a:p>
          <a:p>
            <a:pPr algn="ctr"/>
            <a:r>
              <a:rPr sz="1050" b="1" dirty="0">
                <a:solidFill>
                  <a:schemeClr val="bg1"/>
                </a:solidFill>
              </a:rPr>
              <a:t>TO</a:t>
            </a:r>
          </a:p>
          <a:p>
            <a:pPr algn="ctr"/>
            <a:r>
              <a:rPr b="1" dirty="0">
                <a:solidFill>
                  <a:schemeClr val="bg1"/>
                </a:solidFill>
              </a:rPr>
              <a:t>202</a:t>
            </a:r>
            <a:r>
              <a:rPr lang="de-CH" b="1" dirty="0">
                <a:solidFill>
                  <a:schemeClr val="bg1"/>
                </a:solidFill>
              </a:rPr>
              <a:t>1</a:t>
            </a:r>
            <a:endParaRPr lang="en-US" b="1" dirty="0">
              <a:solidFill>
                <a:schemeClr val="bg1"/>
              </a:solidFill>
            </a:endParaRPr>
          </a:p>
        </p:txBody>
      </p:sp>
      <p:cxnSp>
        <p:nvCxnSpPr>
          <p:cNvPr id="52" name="Gerade Verbindung 51"/>
          <p:cNvCxnSpPr/>
          <p:nvPr/>
        </p:nvCxnSpPr>
        <p:spPr>
          <a:xfrm>
            <a:off x="1568042" y="2395892"/>
            <a:ext cx="0" cy="7992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/>
        </p:nvCxnSpPr>
        <p:spPr>
          <a:xfrm>
            <a:off x="1619672" y="3663414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686782" y="2403004"/>
            <a:ext cx="725546" cy="46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rPr dirty="0"/>
              <a:t>Ernst Stadler </a:t>
            </a:r>
            <a:r>
              <a:rPr lang="en-US" dirty="0"/>
              <a:t>opens</a:t>
            </a:r>
            <a:r>
              <a:rPr dirty="0"/>
              <a:t> an engineering office in Zurich.</a:t>
            </a:r>
            <a:endParaRPr lang="de-DE" dirty="0"/>
          </a:p>
        </p:txBody>
      </p:sp>
      <p:sp>
        <p:nvSpPr>
          <p:cNvPr id="56" name="Textfeld 55"/>
          <p:cNvSpPr txBox="1"/>
          <p:nvPr/>
        </p:nvSpPr>
        <p:spPr>
          <a:xfrm>
            <a:off x="1475656" y="3245218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1942</a:t>
            </a:r>
            <a:endParaRPr lang="de-DE" sz="2650" dirty="0">
              <a:solidFill>
                <a:schemeClr val="tx2"/>
              </a:solidFill>
            </a:endParaRPr>
          </a:p>
        </p:txBody>
      </p:sp>
      <p:cxnSp>
        <p:nvCxnSpPr>
          <p:cNvPr id="71" name="Gerade Verbindung 70"/>
          <p:cNvCxnSpPr/>
          <p:nvPr/>
        </p:nvCxnSpPr>
        <p:spPr>
          <a:xfrm flipH="1">
            <a:off x="3701079" y="2821577"/>
            <a:ext cx="1105" cy="37351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feld 71"/>
          <p:cNvSpPr txBox="1"/>
          <p:nvPr/>
        </p:nvSpPr>
        <p:spPr>
          <a:xfrm>
            <a:off x="3808524" y="2810912"/>
            <a:ext cx="1058867" cy="5820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t>Stadler Polska Sp. z o.o. is launched.</a:t>
            </a:r>
            <a:endParaRPr lang="de-DE" dirty="0"/>
          </a:p>
        </p:txBody>
      </p:sp>
      <p:cxnSp>
        <p:nvCxnSpPr>
          <p:cNvPr id="28" name="Gerade Verbindung 27"/>
          <p:cNvCxnSpPr/>
          <p:nvPr/>
        </p:nvCxnSpPr>
        <p:spPr>
          <a:xfrm>
            <a:off x="2519779" y="2662312"/>
            <a:ext cx="0" cy="53254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2568183" y="2662212"/>
            <a:ext cx="828234" cy="46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rPr dirty="0"/>
              <a:t>The first GTW 2/6</a:t>
            </a:r>
            <a:r>
              <a:rPr lang="de-CH" dirty="0"/>
              <a:t> </a:t>
            </a:r>
            <a:r>
              <a:rPr dirty="0"/>
              <a:t>is introduced.</a:t>
            </a:r>
          </a:p>
          <a:p>
            <a:endParaRPr lang="de-DE" dirty="0"/>
          </a:p>
        </p:txBody>
      </p:sp>
      <p:sp>
        <p:nvSpPr>
          <p:cNvPr id="31" name="Textfeld 30"/>
          <p:cNvSpPr txBox="1"/>
          <p:nvPr/>
        </p:nvSpPr>
        <p:spPr>
          <a:xfrm>
            <a:off x="2429833" y="3245862"/>
            <a:ext cx="774015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 spc="-270">
                <a:solidFill>
                  <a:schemeClr val="tx2"/>
                </a:solidFill>
              </a:rPr>
              <a:t>1</a:t>
            </a:r>
            <a:r>
              <a:rPr sz="2650">
                <a:solidFill>
                  <a:schemeClr val="tx2"/>
                </a:solidFill>
              </a:rPr>
              <a:t>995</a:t>
            </a:r>
            <a:endParaRPr lang="de-DE" sz="2650" dirty="0">
              <a:solidFill>
                <a:schemeClr val="tx2"/>
              </a:solidFill>
            </a:endParaRPr>
          </a:p>
        </p:txBody>
      </p:sp>
      <p:cxnSp>
        <p:nvCxnSpPr>
          <p:cNvPr id="77" name="Gerade Verbindung 76"/>
          <p:cNvCxnSpPr/>
          <p:nvPr/>
        </p:nvCxnSpPr>
        <p:spPr>
          <a:xfrm>
            <a:off x="6264188" y="2672916"/>
            <a:ext cx="0" cy="5221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6230630" y="3667160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feld 90"/>
          <p:cNvSpPr txBox="1"/>
          <p:nvPr/>
        </p:nvSpPr>
        <p:spPr>
          <a:xfrm>
            <a:off x="6371633" y="2662312"/>
            <a:ext cx="1157026" cy="5506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aking</a:t>
            </a:r>
            <a:r>
              <a:rPr dirty="0"/>
              <a:t> only 23 months </a:t>
            </a:r>
            <a:r>
              <a:rPr lang="en-US" dirty="0"/>
              <a:t>to build</a:t>
            </a:r>
            <a:r>
              <a:rPr dirty="0"/>
              <a:t>, the SMILE is presented at InnoTrans. </a:t>
            </a:r>
            <a:endParaRPr lang="en-US" dirty="0"/>
          </a:p>
        </p:txBody>
      </p:sp>
      <p:sp>
        <p:nvSpPr>
          <p:cNvPr id="92" name="Textfeld 91"/>
          <p:cNvSpPr txBox="1"/>
          <p:nvPr/>
        </p:nvSpPr>
        <p:spPr>
          <a:xfrm>
            <a:off x="6228184" y="3248964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016</a:t>
            </a:r>
            <a:endParaRPr lang="de-DE" sz="2650" dirty="0">
              <a:solidFill>
                <a:schemeClr val="tx2"/>
              </a:solidFill>
            </a:endParaRPr>
          </a:p>
        </p:txBody>
      </p:sp>
      <p:grpSp>
        <p:nvGrpSpPr>
          <p:cNvPr id="57" name="Gruppieren 56"/>
          <p:cNvGrpSpPr/>
          <p:nvPr/>
        </p:nvGrpSpPr>
        <p:grpSpPr>
          <a:xfrm>
            <a:off x="3034009" y="3905765"/>
            <a:ext cx="1177951" cy="1500224"/>
            <a:chOff x="1212157" y="3689089"/>
            <a:chExt cx="1326843" cy="1500224"/>
          </a:xfrm>
        </p:grpSpPr>
        <p:cxnSp>
          <p:nvCxnSpPr>
            <p:cNvPr id="59" name="Gerade Verbindung 58"/>
            <p:cNvCxnSpPr/>
            <p:nvPr/>
          </p:nvCxnSpPr>
          <p:spPr>
            <a:xfrm>
              <a:off x="1228010" y="3689089"/>
              <a:ext cx="0" cy="180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feld 60"/>
            <p:cNvSpPr txBox="1"/>
            <p:nvPr/>
          </p:nvSpPr>
          <p:spPr>
            <a:xfrm>
              <a:off x="1324162" y="4384678"/>
              <a:ext cx="1214838" cy="6887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r>
                <a:t>The first FLIRT for SBB goes into operation. </a:t>
              </a:r>
              <a:endParaRPr lang="de-DE" dirty="0"/>
            </a:p>
          </p:txBody>
        </p:sp>
        <p:cxnSp>
          <p:nvCxnSpPr>
            <p:cNvPr id="62" name="Gerade Verbindung 61"/>
            <p:cNvCxnSpPr/>
            <p:nvPr/>
          </p:nvCxnSpPr>
          <p:spPr>
            <a:xfrm>
              <a:off x="1212157" y="4390113"/>
              <a:ext cx="0" cy="79920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Gerade Verbindung 100"/>
          <p:cNvCxnSpPr/>
          <p:nvPr/>
        </p:nvCxnSpPr>
        <p:spPr>
          <a:xfrm>
            <a:off x="7110503" y="3901527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feld 101"/>
          <p:cNvSpPr txBox="1"/>
          <p:nvPr/>
        </p:nvSpPr>
        <p:spPr>
          <a:xfrm>
            <a:off x="7020272" y="4117527"/>
            <a:ext cx="826365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019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103" name="Textfeld 102"/>
          <p:cNvSpPr txBox="1"/>
          <p:nvPr/>
        </p:nvSpPr>
        <p:spPr>
          <a:xfrm>
            <a:off x="7227682" y="4617132"/>
            <a:ext cx="1371858" cy="6967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t>Stadler goes public. On 12 April, the shares of Stadler Rail AG are listed on the SIX Swiss Exchange. </a:t>
            </a:r>
            <a:endParaRPr lang="de-DE" dirty="0"/>
          </a:p>
        </p:txBody>
      </p:sp>
      <p:cxnSp>
        <p:nvCxnSpPr>
          <p:cNvPr id="104" name="Gerade Verbindung 103"/>
          <p:cNvCxnSpPr/>
          <p:nvPr/>
        </p:nvCxnSpPr>
        <p:spPr>
          <a:xfrm>
            <a:off x="7125718" y="4602552"/>
            <a:ext cx="0" cy="94299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Gerade Verbindung 119"/>
          <p:cNvCxnSpPr/>
          <p:nvPr/>
        </p:nvCxnSpPr>
        <p:spPr>
          <a:xfrm>
            <a:off x="4446141" y="3907766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feld 120"/>
          <p:cNvSpPr txBox="1"/>
          <p:nvPr/>
        </p:nvSpPr>
        <p:spPr>
          <a:xfrm>
            <a:off x="4446233" y="4123128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</a:t>
            </a:r>
            <a:r>
              <a:rPr sz="2650" spc="-70">
                <a:solidFill>
                  <a:schemeClr val="tx2"/>
                </a:solidFill>
              </a:rPr>
              <a:t>008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122" name="Textfeld 121"/>
          <p:cNvSpPr txBox="1"/>
          <p:nvPr/>
        </p:nvSpPr>
        <p:spPr>
          <a:xfrm>
            <a:off x="4589152" y="4626515"/>
            <a:ext cx="1081125" cy="57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t>Stadler receives the first order from SBB for KISS double-decker trains.</a:t>
            </a:r>
            <a:endParaRPr lang="en-US" dirty="0"/>
          </a:p>
        </p:txBody>
      </p:sp>
      <p:cxnSp>
        <p:nvCxnSpPr>
          <p:cNvPr id="123" name="Gerade Verbindung 122"/>
          <p:cNvCxnSpPr/>
          <p:nvPr/>
        </p:nvCxnSpPr>
        <p:spPr>
          <a:xfrm flipH="1">
            <a:off x="4475833" y="4642536"/>
            <a:ext cx="2282" cy="6041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119"/>
          <p:cNvCxnSpPr/>
          <p:nvPr/>
        </p:nvCxnSpPr>
        <p:spPr>
          <a:xfrm>
            <a:off x="2483768" y="3645024"/>
            <a:ext cx="0" cy="19839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extfeld 109"/>
          <p:cNvSpPr txBox="1"/>
          <p:nvPr/>
        </p:nvSpPr>
        <p:spPr>
          <a:xfrm>
            <a:off x="3059924" y="4123128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</a:t>
            </a:r>
            <a:r>
              <a:rPr sz="2650" spc="-70">
                <a:solidFill>
                  <a:schemeClr val="tx2"/>
                </a:solidFill>
              </a:rPr>
              <a:t>004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111" name="Textfeld 110"/>
          <p:cNvSpPr txBox="1"/>
          <p:nvPr/>
        </p:nvSpPr>
        <p:spPr>
          <a:xfrm>
            <a:off x="3671900" y="3248010"/>
            <a:ext cx="821178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006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80" name="Ellipse 57"/>
          <p:cNvSpPr/>
          <p:nvPr/>
        </p:nvSpPr>
        <p:spPr>
          <a:xfrm>
            <a:off x="2389718" y="1207295"/>
            <a:ext cx="1062000" cy="1062000"/>
          </a:xfrm>
          <a:prstGeom prst="ellipse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2" name="Ellipse 59"/>
          <p:cNvSpPr>
            <a:spLocks/>
          </p:cNvSpPr>
          <p:nvPr/>
        </p:nvSpPr>
        <p:spPr>
          <a:xfrm>
            <a:off x="3667996" y="1215347"/>
            <a:ext cx="1047766" cy="1043527"/>
          </a:xfrm>
          <a:prstGeom prst="ellipse">
            <a:avLst/>
          </a:prstGeom>
          <a:blipFill dpi="0" rotWithShape="0">
            <a:blip r:embed="rId8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3" name="Ellipse 7"/>
          <p:cNvSpPr/>
          <p:nvPr/>
        </p:nvSpPr>
        <p:spPr>
          <a:xfrm>
            <a:off x="1481659" y="5436057"/>
            <a:ext cx="1062000" cy="1062000"/>
          </a:xfrm>
          <a:prstGeom prst="ellipse">
            <a:avLst/>
          </a:prstGeom>
          <a:blipFill dpi="0" rotWithShape="0">
            <a:blip r:embed="rId9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4" name="Ellipse 59"/>
          <p:cNvSpPr/>
          <p:nvPr/>
        </p:nvSpPr>
        <p:spPr>
          <a:xfrm>
            <a:off x="3010396" y="5405989"/>
            <a:ext cx="1062000" cy="1062000"/>
          </a:xfrm>
          <a:prstGeom prst="ellipse">
            <a:avLst/>
          </a:prstGeom>
          <a:blipFill dpi="0" rotWithShape="0">
            <a:blip r:embed="rId10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6" name="Ellipse 57"/>
          <p:cNvSpPr/>
          <p:nvPr/>
        </p:nvSpPr>
        <p:spPr>
          <a:xfrm>
            <a:off x="6228184" y="1233997"/>
            <a:ext cx="1062000" cy="1062000"/>
          </a:xfrm>
          <a:prstGeom prst="ellipse">
            <a:avLst/>
          </a:prstGeom>
          <a:blipFill dpi="0" rotWithShape="0">
            <a:blip r:embed="rId11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3" name="Gruppieren 2"/>
          <p:cNvGrpSpPr/>
          <p:nvPr/>
        </p:nvGrpSpPr>
        <p:grpSpPr>
          <a:xfrm>
            <a:off x="4932040" y="1232756"/>
            <a:ext cx="1118570" cy="2613450"/>
            <a:chOff x="5112060" y="1232756"/>
            <a:chExt cx="1118570" cy="2613450"/>
          </a:xfrm>
        </p:grpSpPr>
        <p:cxnSp>
          <p:nvCxnSpPr>
            <p:cNvPr id="126" name="Gerade Verbindung 125"/>
            <p:cNvCxnSpPr/>
            <p:nvPr/>
          </p:nvCxnSpPr>
          <p:spPr>
            <a:xfrm>
              <a:off x="5142874" y="2393479"/>
              <a:ext cx="0" cy="79920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/>
            <p:cNvCxnSpPr/>
            <p:nvPr/>
          </p:nvCxnSpPr>
          <p:spPr>
            <a:xfrm>
              <a:off x="5142874" y="3666206"/>
              <a:ext cx="0" cy="18000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Textfeld 127"/>
            <p:cNvSpPr txBox="1"/>
            <p:nvPr/>
          </p:nvSpPr>
          <p:spPr>
            <a:xfrm>
              <a:off x="5230934" y="2403004"/>
              <a:ext cx="999696" cy="468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>
              <a:defPPr>
                <a:defRPr lang="de-DE"/>
              </a:defPPr>
              <a:lvl1pPr>
                <a:defRPr sz="880">
                  <a:solidFill>
                    <a:schemeClr val="tx2"/>
                  </a:solidFill>
                </a:defRPr>
              </a:lvl1pPr>
            </a:lstStyle>
            <a:p>
              <a:r>
                <a:t>Stadler Szolnok Vasúti Járműgyártó Kft. and Stadler Praha s.r.o. are founded. </a:t>
              </a:r>
              <a:endParaRPr lang="de-DE" dirty="0"/>
            </a:p>
          </p:txBody>
        </p:sp>
        <p:sp>
          <p:nvSpPr>
            <p:cNvPr id="129" name="Textfeld 128"/>
            <p:cNvSpPr txBox="1"/>
            <p:nvPr/>
          </p:nvSpPr>
          <p:spPr>
            <a:xfrm>
              <a:off x="5118971" y="3248010"/>
              <a:ext cx="821177" cy="432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sz="2650">
                  <a:solidFill>
                    <a:schemeClr val="tx2"/>
                  </a:solidFill>
                </a:rPr>
                <a:t>2009</a:t>
              </a:r>
              <a:endParaRPr lang="de-DE" sz="2650" dirty="0">
                <a:solidFill>
                  <a:schemeClr val="tx2"/>
                </a:solidFill>
              </a:endParaRPr>
            </a:p>
          </p:txBody>
        </p:sp>
        <p:sp>
          <p:nvSpPr>
            <p:cNvPr id="105" name="Ellipse 62"/>
            <p:cNvSpPr/>
            <p:nvPr/>
          </p:nvSpPr>
          <p:spPr>
            <a:xfrm>
              <a:off x="5112060" y="1232756"/>
              <a:ext cx="1062000" cy="1062000"/>
            </a:xfrm>
            <a:prstGeom prst="ellipse">
              <a:avLst/>
            </a:prstGeom>
            <a:blipFill dpi="0" rotWithShape="0">
              <a:blip r:embed="rId12"/>
              <a:srcRect/>
              <a:stretch>
                <a:fillRect/>
              </a:stretch>
            </a:blip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106" name="Ellipse 61"/>
          <p:cNvSpPr/>
          <p:nvPr/>
        </p:nvSpPr>
        <p:spPr>
          <a:xfrm>
            <a:off x="7183643" y="5437620"/>
            <a:ext cx="1062000" cy="1062000"/>
          </a:xfrm>
          <a:prstGeom prst="ellipse">
            <a:avLst/>
          </a:prstGeom>
          <a:blipFill dpi="0"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95" name="Gerade Verbindung 94"/>
          <p:cNvCxnSpPr/>
          <p:nvPr/>
        </p:nvCxnSpPr>
        <p:spPr>
          <a:xfrm>
            <a:off x="5796136" y="3907766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feld 95"/>
          <p:cNvSpPr txBox="1"/>
          <p:nvPr/>
        </p:nvSpPr>
        <p:spPr>
          <a:xfrm>
            <a:off x="5796136" y="4123128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012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97" name="Textfeld 96"/>
          <p:cNvSpPr txBox="1"/>
          <p:nvPr/>
        </p:nvSpPr>
        <p:spPr>
          <a:xfrm>
            <a:off x="5940152" y="4627785"/>
            <a:ext cx="1081125" cy="57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t>Stadler invests in Belarus and founds CJSC Stadler Minsk.</a:t>
            </a:r>
            <a:endParaRPr lang="de-DE" dirty="0"/>
          </a:p>
        </p:txBody>
      </p:sp>
      <p:cxnSp>
        <p:nvCxnSpPr>
          <p:cNvPr id="98" name="Gerade Verbindung 97"/>
          <p:cNvCxnSpPr/>
          <p:nvPr/>
        </p:nvCxnSpPr>
        <p:spPr>
          <a:xfrm>
            <a:off x="5832140" y="4608791"/>
            <a:ext cx="0" cy="7992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Ellipse 61"/>
          <p:cNvSpPr/>
          <p:nvPr/>
        </p:nvSpPr>
        <p:spPr>
          <a:xfrm>
            <a:off x="4431835" y="5436057"/>
            <a:ext cx="1062038" cy="1062037"/>
          </a:xfrm>
          <a:prstGeom prst="ellipse">
            <a:avLst/>
          </a:prstGeom>
          <a:blipFill dpi="0" rotWithShape="0">
            <a:blip r:embed="rId14"/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CH"/>
          </a:p>
        </p:txBody>
      </p:sp>
      <p:cxnSp>
        <p:nvCxnSpPr>
          <p:cNvPr id="74" name="Gerade Verbindung 73"/>
          <p:cNvCxnSpPr/>
          <p:nvPr/>
        </p:nvCxnSpPr>
        <p:spPr>
          <a:xfrm>
            <a:off x="3671900" y="3676444"/>
            <a:ext cx="0" cy="184604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76"/>
          <p:cNvCxnSpPr/>
          <p:nvPr/>
        </p:nvCxnSpPr>
        <p:spPr>
          <a:xfrm>
            <a:off x="7708971" y="2186744"/>
            <a:ext cx="0" cy="101855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78"/>
          <p:cNvCxnSpPr/>
          <p:nvPr/>
        </p:nvCxnSpPr>
        <p:spPr>
          <a:xfrm>
            <a:off x="7675413" y="3677369"/>
            <a:ext cx="0" cy="18000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feld 69"/>
          <p:cNvSpPr txBox="1"/>
          <p:nvPr/>
        </p:nvSpPr>
        <p:spPr>
          <a:xfrm>
            <a:off x="7672967" y="3259173"/>
            <a:ext cx="828000" cy="43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sz="2650">
                <a:solidFill>
                  <a:schemeClr val="tx2"/>
                </a:solidFill>
              </a:rPr>
              <a:t>2020</a:t>
            </a:r>
            <a:endParaRPr lang="de-DE" sz="2650" dirty="0">
              <a:solidFill>
                <a:schemeClr val="tx2"/>
              </a:solidFill>
            </a:endParaRPr>
          </a:p>
        </p:txBody>
      </p:sp>
      <p:sp>
        <p:nvSpPr>
          <p:cNvPr id="76" name="Textfeld 75"/>
          <p:cNvSpPr txBox="1"/>
          <p:nvPr/>
        </p:nvSpPr>
        <p:spPr>
          <a:xfrm>
            <a:off x="7789117" y="2170947"/>
            <a:ext cx="1157026" cy="7795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880">
                <a:solidFill>
                  <a:schemeClr val="tx2"/>
                </a:solidFill>
              </a:defRPr>
            </a:lvl1pPr>
          </a:lstStyle>
          <a:p>
            <a:r>
              <a:rPr dirty="0"/>
              <a:t>Stadler secures another large order in the UK: 4</a:t>
            </a:r>
            <a:r>
              <a:rPr lang="en-US" dirty="0"/>
              <a:t>2</a:t>
            </a:r>
            <a:r>
              <a:rPr dirty="0"/>
              <a:t> METRO trains for Tyne and Wear Metro, including </a:t>
            </a:r>
            <a:r>
              <a:rPr lang="en-US" dirty="0"/>
              <a:t>a </a:t>
            </a:r>
            <a:r>
              <a:rPr dirty="0"/>
              <a:t>35</a:t>
            </a:r>
            <a:r>
              <a:rPr lang="en-US" dirty="0"/>
              <a:t>-</a:t>
            </a:r>
            <a:r>
              <a:rPr dirty="0"/>
              <a:t>year maintenance</a:t>
            </a:r>
            <a:r>
              <a:rPr lang="en-US" dirty="0"/>
              <a:t> contract</a:t>
            </a:r>
            <a:r>
              <a:rPr dirty="0"/>
              <a:t>. </a:t>
            </a:r>
            <a:endParaRPr lang="en-US" dirty="0"/>
          </a:p>
        </p:txBody>
      </p:sp>
      <p:pic>
        <p:nvPicPr>
          <p:cNvPr id="78" name="Picture 7"/>
          <p:cNvPicPr>
            <a:picLocks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32" r="7081" b="10101"/>
          <a:stretch/>
        </p:blipFill>
        <p:spPr>
          <a:xfrm>
            <a:off x="5807758" y="5436057"/>
            <a:ext cx="1062000" cy="1062000"/>
          </a:xfrm>
          <a:prstGeom prst="ellipse">
            <a:avLst/>
          </a:prstGeom>
          <a:ln w="28575">
            <a:solidFill>
              <a:srgbClr val="1E5A9A"/>
            </a:solidFill>
          </a:ln>
        </p:spPr>
      </p:pic>
      <p:sp>
        <p:nvSpPr>
          <p:cNvPr id="67" name="Ellipse 57"/>
          <p:cNvSpPr/>
          <p:nvPr/>
        </p:nvSpPr>
        <p:spPr>
          <a:xfrm>
            <a:off x="7668344" y="1016732"/>
            <a:ext cx="1062000" cy="1062000"/>
          </a:xfrm>
          <a:prstGeom prst="ellipse">
            <a:avLst/>
          </a:prstGeom>
          <a:blipFill dpi="0"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86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olling Stock Market </a:t>
            </a:r>
            <a:r>
              <a:rPr lang="de-CH" dirty="0" err="1"/>
              <a:t>segments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z="750" smtClean="0">
                <a:solidFill>
                  <a:srgbClr val="0B3F75"/>
                </a:solidFill>
              </a:rPr>
              <a:pPr/>
              <a:t>8</a:t>
            </a:fld>
            <a:endParaRPr lang="de-CH" sz="750" dirty="0">
              <a:solidFill>
                <a:srgbClr val="0B3F75"/>
              </a:solidFill>
            </a:endParaRPr>
          </a:p>
        </p:txBody>
      </p:sp>
      <p:sp>
        <p:nvSpPr>
          <p:cNvPr id="88" name="Textfeld 87"/>
          <p:cNvSpPr txBox="1"/>
          <p:nvPr/>
        </p:nvSpPr>
        <p:spPr>
          <a:xfrm>
            <a:off x="541337" y="984013"/>
            <a:ext cx="2592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54000" rIns="0" bIns="0" rtlCol="0" anchor="t" anchorCtr="0">
            <a:noAutofit/>
          </a:bodyPr>
          <a:lstStyle/>
          <a:p>
            <a:r>
              <a:rPr lang="de-CH" sz="900" b="1" dirty="0">
                <a:solidFill>
                  <a:srgbClr val="FFFFFF"/>
                </a:solidFill>
              </a:rPr>
              <a:t>SEGMENTATION</a:t>
            </a:r>
          </a:p>
        </p:txBody>
      </p:sp>
      <p:sp>
        <p:nvSpPr>
          <p:cNvPr id="89" name="Textfeld 88"/>
          <p:cNvSpPr txBox="1"/>
          <p:nvPr/>
        </p:nvSpPr>
        <p:spPr>
          <a:xfrm>
            <a:off x="3277390" y="984013"/>
            <a:ext cx="25920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54000" rIns="0" bIns="0" rtlCol="0" anchor="t" anchorCtr="0">
            <a:noAutofit/>
          </a:bodyPr>
          <a:lstStyle/>
          <a:p>
            <a:r>
              <a:rPr lang="de-CH" sz="900" b="1" dirty="0">
                <a:solidFill>
                  <a:srgbClr val="FFFFFF"/>
                </a:solidFill>
              </a:rPr>
              <a:t>MODULAR CONCEPTS</a:t>
            </a:r>
          </a:p>
          <a:p>
            <a:r>
              <a:rPr lang="de-CH" sz="900" b="1" dirty="0" err="1">
                <a:solidFill>
                  <a:srgbClr val="FFFFFF"/>
                </a:solidFill>
              </a:rPr>
              <a:t>Adhesion</a:t>
            </a:r>
            <a:r>
              <a:rPr lang="de-CH" sz="900" b="1" dirty="0">
                <a:solidFill>
                  <a:srgbClr val="FFFFFF"/>
                </a:solidFill>
              </a:rPr>
              <a:t> </a:t>
            </a:r>
            <a:r>
              <a:rPr lang="de-CH" sz="900" b="1" dirty="0" err="1">
                <a:solidFill>
                  <a:srgbClr val="FFFFFF"/>
                </a:solidFill>
              </a:rPr>
              <a:t>drive</a:t>
            </a:r>
            <a:endParaRPr lang="de-CH" sz="900" b="1" dirty="0">
              <a:solidFill>
                <a:srgbClr val="FFFFFF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6013451" y="984013"/>
            <a:ext cx="2590800" cy="360000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54000" rIns="0" bIns="0" rtlCol="0" anchor="t" anchorCtr="0">
            <a:noAutofit/>
          </a:bodyPr>
          <a:lstStyle/>
          <a:p>
            <a:r>
              <a:rPr lang="en-US" sz="900" b="1" dirty="0">
                <a:solidFill>
                  <a:srgbClr val="FFFFFF"/>
                </a:solidFill>
              </a:rPr>
              <a:t>TAILOR-MADE VEHICLE CONCEPTS</a:t>
            </a:r>
          </a:p>
          <a:p>
            <a:r>
              <a:rPr lang="en-US" sz="900" b="1" dirty="0">
                <a:solidFill>
                  <a:srgbClr val="FFFFFF"/>
                </a:solidFill>
              </a:rPr>
              <a:t>Adhesion drive and rack-and-pinion drive</a:t>
            </a:r>
          </a:p>
        </p:txBody>
      </p:sp>
      <p:sp>
        <p:nvSpPr>
          <p:cNvPr id="91" name="Textfeld 90"/>
          <p:cNvSpPr txBox="1"/>
          <p:nvPr/>
        </p:nvSpPr>
        <p:spPr>
          <a:xfrm>
            <a:off x="542633" y="1376532"/>
            <a:ext cx="8064000" cy="144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URBAN TRANSPORT</a:t>
            </a:r>
          </a:p>
        </p:txBody>
      </p:sp>
      <p:sp>
        <p:nvSpPr>
          <p:cNvPr id="92" name="Textfeld 100"/>
          <p:cNvSpPr txBox="1"/>
          <p:nvPr/>
        </p:nvSpPr>
        <p:spPr>
          <a:xfrm>
            <a:off x="542926" y="1558917"/>
            <a:ext cx="573088" cy="35902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LRV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3" name="Textfeld 101"/>
          <p:cNvSpPr txBox="1"/>
          <p:nvPr/>
        </p:nvSpPr>
        <p:spPr>
          <a:xfrm>
            <a:off x="541933" y="1952580"/>
            <a:ext cx="574081" cy="358775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Metro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4" name="Textfeld 106"/>
          <p:cNvSpPr txBox="1"/>
          <p:nvPr/>
        </p:nvSpPr>
        <p:spPr>
          <a:xfrm>
            <a:off x="1189830" y="1558917"/>
            <a:ext cx="1077913" cy="162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Tram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5" name="Textfeld 107"/>
          <p:cNvSpPr txBox="1"/>
          <p:nvPr/>
        </p:nvSpPr>
        <p:spPr>
          <a:xfrm>
            <a:off x="1191409" y="1755182"/>
            <a:ext cx="1148343" cy="162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Tram Trains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6" name="Textfeld 108"/>
          <p:cNvSpPr txBox="1"/>
          <p:nvPr/>
        </p:nvSpPr>
        <p:spPr>
          <a:xfrm>
            <a:off x="1189830" y="1952580"/>
            <a:ext cx="1149921" cy="358775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Metro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7" name="Textfeld 146"/>
          <p:cNvSpPr txBox="1"/>
          <p:nvPr/>
        </p:nvSpPr>
        <p:spPr>
          <a:xfrm>
            <a:off x="2170102" y="1560506"/>
            <a:ext cx="960434" cy="162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8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8" name="Textfeld 147"/>
          <p:cNvSpPr txBox="1"/>
          <p:nvPr/>
        </p:nvSpPr>
        <p:spPr>
          <a:xfrm>
            <a:off x="2183613" y="1755109"/>
            <a:ext cx="948525" cy="162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10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99" name="Textfeld 148"/>
          <p:cNvSpPr txBox="1"/>
          <p:nvPr/>
        </p:nvSpPr>
        <p:spPr>
          <a:xfrm>
            <a:off x="2185201" y="1953070"/>
            <a:ext cx="946938" cy="356887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10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00" name="Textfeld 99"/>
          <p:cNvSpPr txBox="1"/>
          <p:nvPr/>
        </p:nvSpPr>
        <p:spPr>
          <a:xfrm>
            <a:off x="542131" y="2348624"/>
            <a:ext cx="8064501" cy="144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HEAVY RAIL 	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01" name="Textfeld 102"/>
          <p:cNvSpPr txBox="1"/>
          <p:nvPr/>
        </p:nvSpPr>
        <p:spPr>
          <a:xfrm>
            <a:off x="539948" y="2933259"/>
            <a:ext cx="576000" cy="360179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chemeClr val="tx2"/>
                </a:solidFill>
              </a:rPr>
              <a:t>XMU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102" name="Textfeld 103"/>
          <p:cNvSpPr txBox="1"/>
          <p:nvPr/>
        </p:nvSpPr>
        <p:spPr>
          <a:xfrm>
            <a:off x="542131" y="3320732"/>
            <a:ext cx="576000" cy="1548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EMU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03" name="Textfeld 104"/>
          <p:cNvSpPr txBox="1"/>
          <p:nvPr/>
        </p:nvSpPr>
        <p:spPr>
          <a:xfrm>
            <a:off x="543588" y="5700965"/>
            <a:ext cx="576000" cy="756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 err="1">
                <a:solidFill>
                  <a:srgbClr val="1E5A9A"/>
                </a:solidFill>
              </a:rPr>
              <a:t>Carriage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04" name="Textfeld 105"/>
          <p:cNvSpPr txBox="1"/>
          <p:nvPr/>
        </p:nvSpPr>
        <p:spPr>
          <a:xfrm>
            <a:off x="542131" y="4907373"/>
            <a:ext cx="576000" cy="756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>
                <a:solidFill>
                  <a:srgbClr val="1E5A9A"/>
                </a:solidFill>
              </a:rPr>
              <a:t>Loco-motives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05" name="Textfeld 102"/>
          <p:cNvSpPr txBox="1"/>
          <p:nvPr/>
        </p:nvSpPr>
        <p:spPr>
          <a:xfrm>
            <a:off x="541934" y="2529347"/>
            <a:ext cx="576000" cy="360179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chemeClr val="tx2"/>
                </a:solidFill>
              </a:rPr>
              <a:t>DMU/ BMU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106" name="Textfeld 109"/>
          <p:cNvSpPr txBox="1"/>
          <p:nvPr/>
        </p:nvSpPr>
        <p:spPr>
          <a:xfrm>
            <a:off x="1187647" y="2933259"/>
            <a:ext cx="999411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Regional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r>
              <a:rPr lang="de-CH" sz="900" b="1" dirty="0">
                <a:solidFill>
                  <a:srgbClr val="1E5A9A"/>
                </a:solidFill>
              </a:rPr>
              <a:t>/ suburban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07" name="Textfeld 149"/>
          <p:cNvSpPr txBox="1"/>
          <p:nvPr/>
        </p:nvSpPr>
        <p:spPr>
          <a:xfrm>
            <a:off x="2140950" y="2933259"/>
            <a:ext cx="987822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>
                <a:solidFill>
                  <a:srgbClr val="1E5A9A"/>
                </a:solidFill>
              </a:rPr>
              <a:t>≤160 </a:t>
            </a:r>
            <a:r>
              <a:rPr lang="de-CH" sz="900" b="1" dirty="0">
                <a:solidFill>
                  <a:srgbClr val="1E5A9A"/>
                </a:solidFill>
              </a:rPr>
              <a:t>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08" name="Textfeld 109"/>
          <p:cNvSpPr txBox="1"/>
          <p:nvPr/>
        </p:nvSpPr>
        <p:spPr>
          <a:xfrm>
            <a:off x="1190608" y="2528900"/>
            <a:ext cx="996216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Regional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r>
              <a:rPr lang="de-CH" sz="900" b="1" dirty="0">
                <a:solidFill>
                  <a:srgbClr val="1E5A9A"/>
                </a:solidFill>
              </a:rPr>
              <a:t>/ suburban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09" name="Textfeld 149"/>
          <p:cNvSpPr txBox="1"/>
          <p:nvPr/>
        </p:nvSpPr>
        <p:spPr>
          <a:xfrm>
            <a:off x="2143910" y="2528900"/>
            <a:ext cx="987045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>
                <a:solidFill>
                  <a:srgbClr val="1E5A9A"/>
                </a:solidFill>
              </a:rPr>
              <a:t>≤160 </a:t>
            </a:r>
            <a:r>
              <a:rPr lang="de-CH" sz="900" b="1" dirty="0">
                <a:solidFill>
                  <a:srgbClr val="1E5A9A"/>
                </a:solidFill>
              </a:rPr>
              <a:t>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0" name="Textfeld 111"/>
          <p:cNvSpPr txBox="1"/>
          <p:nvPr/>
        </p:nvSpPr>
        <p:spPr>
          <a:xfrm>
            <a:off x="1191410" y="3716550"/>
            <a:ext cx="990618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Intercity </a:t>
            </a:r>
            <a:r>
              <a:rPr lang="de-CH" sz="900" b="1" dirty="0" err="1">
                <a:solidFill>
                  <a:srgbClr val="1E5A9A"/>
                </a:solidFill>
              </a:rPr>
              <a:t>trains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1" name="Textfeld 112"/>
          <p:cNvSpPr txBox="1"/>
          <p:nvPr/>
        </p:nvSpPr>
        <p:spPr>
          <a:xfrm>
            <a:off x="1190625" y="4112268"/>
            <a:ext cx="996151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Highspeed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2" name="Textfeld 152"/>
          <p:cNvSpPr txBox="1"/>
          <p:nvPr/>
        </p:nvSpPr>
        <p:spPr>
          <a:xfrm>
            <a:off x="2159732" y="4112268"/>
            <a:ext cx="972406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25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3" name="Textfeld 112"/>
          <p:cNvSpPr txBox="1"/>
          <p:nvPr/>
        </p:nvSpPr>
        <p:spPr>
          <a:xfrm>
            <a:off x="1189847" y="4510368"/>
            <a:ext cx="1077896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 err="1">
                <a:solidFill>
                  <a:schemeClr val="tx2"/>
                </a:solidFill>
              </a:rPr>
              <a:t>Very</a:t>
            </a:r>
            <a:r>
              <a:rPr lang="de-CH" sz="900" b="1" dirty="0">
                <a:solidFill>
                  <a:schemeClr val="tx2"/>
                </a:solidFill>
              </a:rPr>
              <a:t> Highspeed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114" name="Textfeld 152"/>
          <p:cNvSpPr txBox="1"/>
          <p:nvPr/>
        </p:nvSpPr>
        <p:spPr>
          <a:xfrm>
            <a:off x="2255885" y="4510368"/>
            <a:ext cx="874651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chemeClr val="tx2"/>
                </a:solidFill>
              </a:rPr>
              <a:t>&gt;250 km/h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115" name="Textfeld 110"/>
          <p:cNvSpPr txBox="1"/>
          <p:nvPr/>
        </p:nvSpPr>
        <p:spPr>
          <a:xfrm>
            <a:off x="1191408" y="3323213"/>
            <a:ext cx="995467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Regional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r>
              <a:rPr lang="de-CH" sz="900" b="1" dirty="0">
                <a:solidFill>
                  <a:srgbClr val="1E5A9A"/>
                </a:solidFill>
              </a:rPr>
              <a:t>/ suburban </a:t>
            </a:r>
            <a:r>
              <a:rPr lang="de-CH" sz="900" b="1" dirty="0" err="1">
                <a:solidFill>
                  <a:srgbClr val="1E5A9A"/>
                </a:solidFill>
              </a:rPr>
              <a:t>rail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16" name="Textfeld 150"/>
          <p:cNvSpPr txBox="1"/>
          <p:nvPr/>
        </p:nvSpPr>
        <p:spPr>
          <a:xfrm>
            <a:off x="2151063" y="3323213"/>
            <a:ext cx="982274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16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7" name="Textfeld 151"/>
          <p:cNvSpPr txBox="1"/>
          <p:nvPr/>
        </p:nvSpPr>
        <p:spPr>
          <a:xfrm>
            <a:off x="2181957" y="3716550"/>
            <a:ext cx="951736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0" tIns="0" rIns="72000" bIns="0" rtlCol="0" anchor="ctr" anchorCtr="0">
            <a:noAutofit/>
          </a:bodyPr>
          <a:lstStyle/>
          <a:p>
            <a:pPr algn="r"/>
            <a:r>
              <a:rPr lang="de-CH" sz="900" b="1" dirty="0">
                <a:solidFill>
                  <a:srgbClr val="1E5A9A"/>
                </a:solidFill>
              </a:rPr>
              <a:t>≤200 km/h</a:t>
            </a:r>
            <a:endParaRPr lang="en-US" sz="900" b="1" dirty="0">
              <a:solidFill>
                <a:srgbClr val="1E5A9A"/>
              </a:solidFill>
            </a:endParaRPr>
          </a:p>
        </p:txBody>
      </p:sp>
      <p:sp>
        <p:nvSpPr>
          <p:cNvPr id="118" name="Textfeld 113"/>
          <p:cNvSpPr txBox="1"/>
          <p:nvPr/>
        </p:nvSpPr>
        <p:spPr>
          <a:xfrm>
            <a:off x="1190834" y="4907441"/>
            <a:ext cx="1944000" cy="361157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Main-</a:t>
            </a:r>
            <a:r>
              <a:rPr lang="de-CH" sz="900" b="1" dirty="0" err="1">
                <a:solidFill>
                  <a:srgbClr val="1E5A9A"/>
                </a:solidFill>
              </a:rPr>
              <a:t>line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locomotives</a:t>
            </a:r>
            <a:br>
              <a:rPr lang="de-CH" sz="900" b="1" dirty="0">
                <a:solidFill>
                  <a:srgbClr val="1E5A9A"/>
                </a:solidFill>
              </a:rPr>
            </a:br>
            <a:r>
              <a:rPr lang="de-CH" sz="900" b="1" dirty="0">
                <a:solidFill>
                  <a:srgbClr val="1E5A9A"/>
                </a:solidFill>
              </a:rPr>
              <a:t>Diesel/dual-power/</a:t>
            </a:r>
            <a:r>
              <a:rPr lang="de-CH" sz="900" b="1" dirty="0" err="1">
                <a:solidFill>
                  <a:srgbClr val="1E5A9A"/>
                </a:solidFill>
              </a:rPr>
              <a:t>electric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19" name="Textfeld 114"/>
          <p:cNvSpPr txBox="1"/>
          <p:nvPr/>
        </p:nvSpPr>
        <p:spPr>
          <a:xfrm>
            <a:off x="1190835" y="5301036"/>
            <a:ext cx="1944000" cy="360363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 err="1">
                <a:solidFill>
                  <a:srgbClr val="1E5A9A"/>
                </a:solidFill>
              </a:rPr>
              <a:t>Shunting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locomotives</a:t>
            </a:r>
            <a:r>
              <a:rPr lang="de-CH" sz="900" b="1" dirty="0">
                <a:solidFill>
                  <a:srgbClr val="1E5A9A"/>
                </a:solidFill>
              </a:rPr>
              <a:t>/</a:t>
            </a:r>
            <a:br>
              <a:rPr lang="de-CH" sz="900" b="1" dirty="0">
                <a:solidFill>
                  <a:srgbClr val="1E5A9A"/>
                </a:solidFill>
              </a:rPr>
            </a:br>
            <a:r>
              <a:rPr lang="de-CH" sz="900" b="1" dirty="0" err="1">
                <a:solidFill>
                  <a:srgbClr val="1E5A9A"/>
                </a:solidFill>
              </a:rPr>
              <a:t>special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vehicles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20" name="Textfeld 116"/>
          <p:cNvSpPr txBox="1"/>
          <p:nvPr/>
        </p:nvSpPr>
        <p:spPr>
          <a:xfrm>
            <a:off x="1190003" y="5701660"/>
            <a:ext cx="1944000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>
                <a:solidFill>
                  <a:srgbClr val="1E5A9A"/>
                </a:solidFill>
              </a:rPr>
              <a:t>Passenger </a:t>
            </a:r>
            <a:r>
              <a:rPr lang="de-CH" sz="900" b="1" dirty="0" err="1">
                <a:solidFill>
                  <a:srgbClr val="1E5A9A"/>
                </a:solidFill>
              </a:rPr>
              <a:t>and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sleeper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carriages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21" name="Textfeld 116"/>
          <p:cNvSpPr txBox="1"/>
          <p:nvPr/>
        </p:nvSpPr>
        <p:spPr>
          <a:xfrm>
            <a:off x="1190004" y="6093080"/>
            <a:ext cx="1944000" cy="360000"/>
          </a:xfrm>
          <a:prstGeom prst="rect">
            <a:avLst/>
          </a:prstGeom>
          <a:solidFill>
            <a:srgbClr val="E6F2F9"/>
          </a:solidFill>
        </p:spPr>
        <p:txBody>
          <a:bodyPr wrap="square" lIns="72000" tIns="0" rIns="0" bIns="0" rtlCol="0" anchor="ctr" anchorCtr="0">
            <a:noAutofit/>
          </a:bodyPr>
          <a:lstStyle/>
          <a:p>
            <a:r>
              <a:rPr lang="de-CH" sz="900" b="1" dirty="0" err="1">
                <a:solidFill>
                  <a:srgbClr val="1E5A9A"/>
                </a:solidFill>
              </a:rPr>
              <a:t>Freight</a:t>
            </a:r>
            <a:r>
              <a:rPr lang="de-CH" sz="900" b="1" dirty="0">
                <a:solidFill>
                  <a:srgbClr val="1E5A9A"/>
                </a:solidFill>
              </a:rPr>
              <a:t> </a:t>
            </a:r>
            <a:r>
              <a:rPr lang="de-CH" sz="900" b="1" dirty="0" err="1">
                <a:solidFill>
                  <a:srgbClr val="1E5A9A"/>
                </a:solidFill>
              </a:rPr>
              <a:t>wagons</a:t>
            </a:r>
            <a:endParaRPr lang="de-CH" sz="900" b="1" dirty="0">
              <a:solidFill>
                <a:srgbClr val="1E5A9A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3280052" y="4507427"/>
            <a:ext cx="2590521" cy="360000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900" dirty="0">
                <a:solidFill>
                  <a:srgbClr val="1E5A9A"/>
                </a:solidFill>
              </a:rPr>
              <a:t>Not a </a:t>
            </a:r>
            <a:r>
              <a:rPr lang="de-CH" sz="900" dirty="0" err="1">
                <a:solidFill>
                  <a:srgbClr val="1E5A9A"/>
                </a:solidFill>
              </a:rPr>
              <a:t>priority</a:t>
            </a:r>
            <a:endParaRPr lang="de-CH" sz="900" dirty="0">
              <a:solidFill>
                <a:srgbClr val="1E5A9A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7380448" y="2937806"/>
            <a:ext cx="1224000" cy="360000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900" dirty="0">
              <a:solidFill>
                <a:srgbClr val="1E5A9A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6014655" y="3713674"/>
            <a:ext cx="2592000" cy="1157570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900" dirty="0">
                <a:solidFill>
                  <a:srgbClr val="1E5A9A"/>
                </a:solidFill>
              </a:rPr>
              <a:t>Not a </a:t>
            </a:r>
            <a:r>
              <a:rPr lang="de-CH" sz="900" dirty="0" err="1">
                <a:solidFill>
                  <a:srgbClr val="1E5A9A"/>
                </a:solidFill>
              </a:rPr>
              <a:t>priority</a:t>
            </a:r>
            <a:endParaRPr lang="de-CH" sz="900" dirty="0">
              <a:solidFill>
                <a:srgbClr val="1E5A9A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018134" y="6093336"/>
            <a:ext cx="2591105" cy="360000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900" dirty="0">
                <a:solidFill>
                  <a:srgbClr val="1E5A9A"/>
                </a:solidFill>
              </a:rPr>
              <a:t>Not a </a:t>
            </a:r>
            <a:r>
              <a:rPr lang="de-CH" sz="900" dirty="0" err="1">
                <a:solidFill>
                  <a:srgbClr val="1E5A9A"/>
                </a:solidFill>
              </a:rPr>
              <a:t>priority</a:t>
            </a:r>
            <a:endParaRPr lang="de-CH" sz="900" dirty="0">
              <a:solidFill>
                <a:srgbClr val="1E5A9A"/>
              </a:solidFill>
            </a:endParaRPr>
          </a:p>
        </p:txBody>
      </p:sp>
      <p:pic>
        <p:nvPicPr>
          <p:cNvPr id="126" name="Grafik 12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50427" y="1559718"/>
            <a:ext cx="1216858" cy="357187"/>
          </a:xfrm>
          <a:prstGeom prst="rect">
            <a:avLst/>
          </a:prstGeom>
        </p:spPr>
      </p:pic>
      <p:pic>
        <p:nvPicPr>
          <p:cNvPr id="127" name="Picture 14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3275856" y="1559861"/>
            <a:ext cx="1224000" cy="35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14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3278237" y="1955149"/>
            <a:ext cx="1224000" cy="35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Grafik 12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46389" y="1955148"/>
            <a:ext cx="1224000" cy="359283"/>
          </a:xfrm>
          <a:prstGeom prst="rect">
            <a:avLst/>
          </a:prstGeom>
        </p:spPr>
      </p:pic>
      <p:pic>
        <p:nvPicPr>
          <p:cNvPr id="130" name="Picture 150" descr="Bildergebnis fÃ¼r stadler wil bahn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06" t="37013" r="10579" b="29227"/>
          <a:stretch/>
        </p:blipFill>
        <p:spPr bwMode="auto">
          <a:xfrm>
            <a:off x="6015037" y="1559718"/>
            <a:ext cx="1223964" cy="35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Grafik 13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205" y="1955149"/>
            <a:ext cx="1224000" cy="359283"/>
          </a:xfrm>
          <a:prstGeom prst="rect">
            <a:avLst/>
          </a:prstGeom>
        </p:spPr>
      </p:pic>
      <p:pic>
        <p:nvPicPr>
          <p:cNvPr id="132" name="Picture 15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1838" y="1955149"/>
            <a:ext cx="1224000" cy="35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5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82693" y="1559867"/>
            <a:ext cx="1223962" cy="35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" name="Picture 16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5819" y="2531363"/>
            <a:ext cx="1223962" cy="35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170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3278982" y="2531359"/>
            <a:ext cx="1224000" cy="359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" name="Grafik 13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977" y="4115593"/>
            <a:ext cx="2584396" cy="358774"/>
          </a:xfrm>
          <a:prstGeom prst="rect">
            <a:avLst/>
          </a:prstGeom>
        </p:spPr>
      </p:pic>
      <p:pic>
        <p:nvPicPr>
          <p:cNvPr id="139" name="Picture 17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76600" y="3321992"/>
            <a:ext cx="1223963" cy="35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180" descr="Bildergebnis fÃ¼r stadler sob doppelstock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04" t="47227" r="30566" b="26245"/>
          <a:stretch/>
        </p:blipFill>
        <p:spPr bwMode="auto">
          <a:xfrm flipH="1">
            <a:off x="4645818" y="3324225"/>
            <a:ext cx="1223958" cy="35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Grafik 140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278944" y="3719655"/>
            <a:ext cx="1224000" cy="359283"/>
          </a:xfrm>
          <a:prstGeom prst="rect">
            <a:avLst/>
          </a:prstGeom>
        </p:spPr>
      </p:pic>
      <p:pic>
        <p:nvPicPr>
          <p:cNvPr id="142" name="Picture 205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4645818" y="3719661"/>
            <a:ext cx="1223962" cy="35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Grafik 142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052" y="4907899"/>
            <a:ext cx="1224000" cy="359283"/>
          </a:xfrm>
          <a:prstGeom prst="rect">
            <a:avLst/>
          </a:prstGeom>
        </p:spPr>
      </p:pic>
      <p:pic>
        <p:nvPicPr>
          <p:cNvPr id="144" name="Grafik 143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8981" y="5303191"/>
            <a:ext cx="1223963" cy="359272"/>
          </a:xfrm>
          <a:prstGeom prst="rect">
            <a:avLst/>
          </a:prstGeom>
        </p:spPr>
      </p:pic>
      <p:pic>
        <p:nvPicPr>
          <p:cNvPr id="145" name="Grafik 14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075" y="5702444"/>
            <a:ext cx="1224000" cy="359283"/>
          </a:xfrm>
          <a:prstGeom prst="rect">
            <a:avLst/>
          </a:prstGeom>
        </p:spPr>
      </p:pic>
      <p:pic>
        <p:nvPicPr>
          <p:cNvPr id="146" name="Grafik 145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45819" y="4907905"/>
            <a:ext cx="1223962" cy="359272"/>
          </a:xfrm>
          <a:prstGeom prst="rect">
            <a:avLst/>
          </a:prstGeom>
        </p:spPr>
      </p:pic>
      <p:pic>
        <p:nvPicPr>
          <p:cNvPr id="147" name="Grafik 146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646856" y="5303186"/>
            <a:ext cx="1224000" cy="359283"/>
          </a:xfrm>
          <a:prstGeom prst="rect">
            <a:avLst/>
          </a:prstGeom>
        </p:spPr>
      </p:pic>
      <p:pic>
        <p:nvPicPr>
          <p:cNvPr id="148" name="Grafik 147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014294" y="4908549"/>
            <a:ext cx="1222267" cy="358775"/>
          </a:xfrm>
          <a:prstGeom prst="rect">
            <a:avLst/>
          </a:prstGeom>
        </p:spPr>
      </p:pic>
      <p:pic>
        <p:nvPicPr>
          <p:cNvPr id="149" name="Grafik 148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037" y="5303192"/>
            <a:ext cx="1223963" cy="359272"/>
          </a:xfrm>
          <a:prstGeom prst="rect">
            <a:avLst/>
          </a:prstGeom>
        </p:spPr>
      </p:pic>
      <p:pic>
        <p:nvPicPr>
          <p:cNvPr id="150" name="Grafik 149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2860" y="4908029"/>
            <a:ext cx="1224000" cy="755104"/>
          </a:xfrm>
          <a:prstGeom prst="rect">
            <a:avLst/>
          </a:prstGeom>
        </p:spPr>
      </p:pic>
      <p:pic>
        <p:nvPicPr>
          <p:cNvPr id="151" name="Grafik 150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6691" y="5702299"/>
            <a:ext cx="1222270" cy="358776"/>
          </a:xfrm>
          <a:prstGeom prst="rect">
            <a:avLst/>
          </a:prstGeom>
        </p:spPr>
      </p:pic>
      <p:pic>
        <p:nvPicPr>
          <p:cNvPr id="152" name="Picture 225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H="1">
            <a:off x="6015035" y="3324372"/>
            <a:ext cx="1223963" cy="359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" name="Picture 228" descr="Bildergebnis fÃ¼r stadler mob"/>
          <p:cNvPicPr>
            <a:picLocks noChangeAspect="1" noChangeArrowheads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78" t="46281" r="27056" b="26017"/>
          <a:stretch/>
        </p:blipFill>
        <p:spPr bwMode="auto">
          <a:xfrm>
            <a:off x="7381876" y="3324225"/>
            <a:ext cx="1223962" cy="35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4" name="Grafik 5"/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"/>
          <a:stretch/>
        </p:blipFill>
        <p:spPr bwMode="auto">
          <a:xfrm flipH="1">
            <a:off x="6012160" y="2531980"/>
            <a:ext cx="1188132" cy="35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Grafik 154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853" y="2931134"/>
            <a:ext cx="1223963" cy="359272"/>
          </a:xfrm>
          <a:prstGeom prst="rect">
            <a:avLst/>
          </a:prstGeom>
        </p:spPr>
      </p:pic>
      <p:pic>
        <p:nvPicPr>
          <p:cNvPr id="156" name="Grafik 155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9323" y="5700712"/>
            <a:ext cx="2590115" cy="359569"/>
          </a:xfrm>
          <a:prstGeom prst="rect">
            <a:avLst/>
          </a:prstGeom>
        </p:spPr>
      </p:pic>
      <p:pic>
        <p:nvPicPr>
          <p:cNvPr id="157" name="Grafik 156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954" y="2534717"/>
            <a:ext cx="1225296" cy="359664"/>
          </a:xfrm>
          <a:prstGeom prst="rect">
            <a:avLst/>
          </a:prstGeom>
        </p:spPr>
      </p:pic>
      <p:sp>
        <p:nvSpPr>
          <p:cNvPr id="79" name="Rechteck 78"/>
          <p:cNvSpPr/>
          <p:nvPr/>
        </p:nvSpPr>
        <p:spPr>
          <a:xfrm>
            <a:off x="3282977" y="6096965"/>
            <a:ext cx="2591105" cy="360000"/>
          </a:xfrm>
          <a:prstGeom prst="rect">
            <a:avLst/>
          </a:prstGeom>
          <a:pattFill prst="wdUpDiag">
            <a:fgClr>
              <a:schemeClr val="bg1"/>
            </a:fgClr>
            <a:bgClr>
              <a:schemeClr val="bg1">
                <a:lumMod val="85000"/>
              </a:schemeClr>
            </a:bgClr>
          </a:patt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900" dirty="0">
                <a:solidFill>
                  <a:srgbClr val="1E5A9A"/>
                </a:solidFill>
              </a:rPr>
              <a:t>Not a </a:t>
            </a:r>
            <a:r>
              <a:rPr lang="de-CH" sz="900" dirty="0" err="1">
                <a:solidFill>
                  <a:srgbClr val="1E5A9A"/>
                </a:solidFill>
              </a:rPr>
              <a:t>priority</a:t>
            </a:r>
            <a:endParaRPr lang="de-CH" sz="900" dirty="0">
              <a:solidFill>
                <a:srgbClr val="1E5A9A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38"/>
          <a:srcRect t="31912" b="24910"/>
          <a:stretch/>
        </p:blipFill>
        <p:spPr>
          <a:xfrm>
            <a:off x="3280793" y="2934418"/>
            <a:ext cx="1224000" cy="356638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84" b="23753"/>
          <a:stretch/>
        </p:blipFill>
        <p:spPr>
          <a:xfrm>
            <a:off x="4654931" y="2924944"/>
            <a:ext cx="1224000" cy="36004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A85ADA6-58B6-44A2-98C8-79ED62ADD3F6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43588" y="6603308"/>
            <a:ext cx="6175783" cy="207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863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4D508-2976-42EB-80D4-95D99DF51E08}" type="slidenum">
              <a:rPr lang="de-CH" smtClean="0">
                <a:solidFill>
                  <a:schemeClr val="tx2"/>
                </a:solidFill>
              </a:rPr>
              <a:pPr/>
              <a:t>9</a:t>
            </a:fld>
            <a:endParaRPr lang="de-CH" dirty="0">
              <a:solidFill>
                <a:schemeClr val="tx2"/>
              </a:solidFill>
            </a:endParaRPr>
          </a:p>
        </p:txBody>
      </p:sp>
      <p:pic>
        <p:nvPicPr>
          <p:cNvPr id="42" name="Bildplatzhalter 1545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" b="15"/>
          <a:stretch>
            <a:fillRect/>
          </a:stretch>
        </p:blipFill>
        <p:spPr>
          <a:xfrm>
            <a:off x="0" y="-27384"/>
            <a:ext cx="9144000" cy="6612335"/>
          </a:xfrm>
          <a:solidFill>
            <a:schemeClr val="tx2"/>
          </a:solidFill>
        </p:spPr>
      </p:pic>
      <p:sp>
        <p:nvSpPr>
          <p:cNvPr id="43" name="AutoShape 19"/>
          <p:cNvSpPr>
            <a:spLocks noChangeAspect="1" noChangeArrowheads="1" noTextEdit="1"/>
          </p:cNvSpPr>
          <p:nvPr/>
        </p:nvSpPr>
        <p:spPr bwMode="auto">
          <a:xfrm>
            <a:off x="1712" y="0"/>
            <a:ext cx="9144000" cy="6584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4" name="Freeform 21"/>
          <p:cNvSpPr>
            <a:spLocks/>
          </p:cNvSpPr>
          <p:nvPr/>
        </p:nvSpPr>
        <p:spPr bwMode="auto">
          <a:xfrm>
            <a:off x="2592512" y="6442076"/>
            <a:ext cx="561975" cy="142875"/>
          </a:xfrm>
          <a:custGeom>
            <a:avLst/>
            <a:gdLst>
              <a:gd name="T0" fmla="*/ 46 w 59"/>
              <a:gd name="T1" fmla="*/ 10 h 15"/>
              <a:gd name="T2" fmla="*/ 39 w 59"/>
              <a:gd name="T3" fmla="*/ 6 h 15"/>
              <a:gd name="T4" fmla="*/ 31 w 59"/>
              <a:gd name="T5" fmla="*/ 6 h 15"/>
              <a:gd name="T6" fmla="*/ 19 w 59"/>
              <a:gd name="T7" fmla="*/ 6 h 15"/>
              <a:gd name="T8" fmla="*/ 5 w 59"/>
              <a:gd name="T9" fmla="*/ 0 h 15"/>
              <a:gd name="T10" fmla="*/ 5 w 59"/>
              <a:gd name="T11" fmla="*/ 5 h 15"/>
              <a:gd name="T12" fmla="*/ 4 w 59"/>
              <a:gd name="T13" fmla="*/ 12 h 15"/>
              <a:gd name="T14" fmla="*/ 2 w 59"/>
              <a:gd name="T15" fmla="*/ 14 h 15"/>
              <a:gd name="T16" fmla="*/ 0 w 59"/>
              <a:gd name="T17" fmla="*/ 15 h 15"/>
              <a:gd name="T18" fmla="*/ 59 w 59"/>
              <a:gd name="T19" fmla="*/ 15 h 15"/>
              <a:gd name="T20" fmla="*/ 57 w 59"/>
              <a:gd name="T21" fmla="*/ 11 h 15"/>
              <a:gd name="T22" fmla="*/ 46 w 59"/>
              <a:gd name="T23" fmla="*/ 1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5">
                <a:moveTo>
                  <a:pt x="46" y="10"/>
                </a:moveTo>
                <a:cubicBezTo>
                  <a:pt x="41" y="9"/>
                  <a:pt x="43" y="8"/>
                  <a:pt x="39" y="6"/>
                </a:cubicBezTo>
                <a:cubicBezTo>
                  <a:pt x="35" y="5"/>
                  <a:pt x="34" y="6"/>
                  <a:pt x="31" y="6"/>
                </a:cubicBezTo>
                <a:cubicBezTo>
                  <a:pt x="27" y="6"/>
                  <a:pt x="22" y="6"/>
                  <a:pt x="19" y="6"/>
                </a:cubicBezTo>
                <a:cubicBezTo>
                  <a:pt x="17" y="6"/>
                  <a:pt x="8" y="1"/>
                  <a:pt x="5" y="0"/>
                </a:cubicBezTo>
                <a:cubicBezTo>
                  <a:pt x="5" y="2"/>
                  <a:pt x="5" y="3"/>
                  <a:pt x="5" y="5"/>
                </a:cubicBezTo>
                <a:cubicBezTo>
                  <a:pt x="5" y="8"/>
                  <a:pt x="5" y="11"/>
                  <a:pt x="4" y="12"/>
                </a:cubicBezTo>
                <a:cubicBezTo>
                  <a:pt x="4" y="13"/>
                  <a:pt x="3" y="14"/>
                  <a:pt x="2" y="14"/>
                </a:cubicBezTo>
                <a:cubicBezTo>
                  <a:pt x="1" y="14"/>
                  <a:pt x="1" y="14"/>
                  <a:pt x="0" y="15"/>
                </a:cubicBezTo>
                <a:cubicBezTo>
                  <a:pt x="59" y="15"/>
                  <a:pt x="59" y="15"/>
                  <a:pt x="59" y="15"/>
                </a:cubicBezTo>
                <a:cubicBezTo>
                  <a:pt x="58" y="13"/>
                  <a:pt x="57" y="12"/>
                  <a:pt x="57" y="11"/>
                </a:cubicBezTo>
                <a:cubicBezTo>
                  <a:pt x="54" y="9"/>
                  <a:pt x="51" y="11"/>
                  <a:pt x="46" y="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5" name="Freeform 22"/>
          <p:cNvSpPr>
            <a:spLocks/>
          </p:cNvSpPr>
          <p:nvPr/>
        </p:nvSpPr>
        <p:spPr bwMode="auto">
          <a:xfrm>
            <a:off x="3821237" y="6470651"/>
            <a:ext cx="400050" cy="114300"/>
          </a:xfrm>
          <a:custGeom>
            <a:avLst/>
            <a:gdLst>
              <a:gd name="T0" fmla="*/ 41 w 42"/>
              <a:gd name="T1" fmla="*/ 6 h 12"/>
              <a:gd name="T2" fmla="*/ 27 w 42"/>
              <a:gd name="T3" fmla="*/ 1 h 12"/>
              <a:gd name="T4" fmla="*/ 5 w 42"/>
              <a:gd name="T5" fmla="*/ 7 h 12"/>
              <a:gd name="T6" fmla="*/ 0 w 42"/>
              <a:gd name="T7" fmla="*/ 12 h 12"/>
              <a:gd name="T8" fmla="*/ 41 w 42"/>
              <a:gd name="T9" fmla="*/ 12 h 12"/>
              <a:gd name="T10" fmla="*/ 41 w 42"/>
              <a:gd name="T1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12">
                <a:moveTo>
                  <a:pt x="41" y="6"/>
                </a:moveTo>
                <a:cubicBezTo>
                  <a:pt x="40" y="5"/>
                  <a:pt x="33" y="2"/>
                  <a:pt x="27" y="1"/>
                </a:cubicBezTo>
                <a:cubicBezTo>
                  <a:pt x="20" y="0"/>
                  <a:pt x="8" y="6"/>
                  <a:pt x="5" y="7"/>
                </a:cubicBezTo>
                <a:cubicBezTo>
                  <a:pt x="4" y="7"/>
                  <a:pt x="2" y="9"/>
                  <a:pt x="0" y="12"/>
                </a:cubicBezTo>
                <a:cubicBezTo>
                  <a:pt x="41" y="12"/>
                  <a:pt x="41" y="12"/>
                  <a:pt x="41" y="12"/>
                </a:cubicBezTo>
                <a:cubicBezTo>
                  <a:pt x="39" y="10"/>
                  <a:pt x="42" y="7"/>
                  <a:pt x="41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6" name="Freeform 23"/>
          <p:cNvSpPr>
            <a:spLocks/>
          </p:cNvSpPr>
          <p:nvPr/>
        </p:nvSpPr>
        <p:spPr bwMode="auto">
          <a:xfrm>
            <a:off x="2087687" y="5784851"/>
            <a:ext cx="533400" cy="800100"/>
          </a:xfrm>
          <a:custGeom>
            <a:avLst/>
            <a:gdLst>
              <a:gd name="T0" fmla="*/ 54 w 56"/>
              <a:gd name="T1" fmla="*/ 82 h 84"/>
              <a:gd name="T2" fmla="*/ 56 w 56"/>
              <a:gd name="T3" fmla="*/ 80 h 84"/>
              <a:gd name="T4" fmla="*/ 56 w 56"/>
              <a:gd name="T5" fmla="*/ 74 h 84"/>
              <a:gd name="T6" fmla="*/ 56 w 56"/>
              <a:gd name="T7" fmla="*/ 69 h 84"/>
              <a:gd name="T8" fmla="*/ 53 w 56"/>
              <a:gd name="T9" fmla="*/ 69 h 84"/>
              <a:gd name="T10" fmla="*/ 50 w 56"/>
              <a:gd name="T11" fmla="*/ 62 h 84"/>
              <a:gd name="T12" fmla="*/ 45 w 56"/>
              <a:gd name="T13" fmla="*/ 64 h 84"/>
              <a:gd name="T14" fmla="*/ 45 w 56"/>
              <a:gd name="T15" fmla="*/ 60 h 84"/>
              <a:gd name="T16" fmla="*/ 42 w 56"/>
              <a:gd name="T17" fmla="*/ 62 h 84"/>
              <a:gd name="T18" fmla="*/ 38 w 56"/>
              <a:gd name="T19" fmla="*/ 59 h 84"/>
              <a:gd name="T20" fmla="*/ 34 w 56"/>
              <a:gd name="T21" fmla="*/ 52 h 84"/>
              <a:gd name="T22" fmla="*/ 45 w 56"/>
              <a:gd name="T23" fmla="*/ 44 h 84"/>
              <a:gd name="T24" fmla="*/ 51 w 56"/>
              <a:gd name="T25" fmla="*/ 35 h 84"/>
              <a:gd name="T26" fmla="*/ 50 w 56"/>
              <a:gd name="T27" fmla="*/ 29 h 84"/>
              <a:gd name="T28" fmla="*/ 44 w 56"/>
              <a:gd name="T29" fmla="*/ 26 h 84"/>
              <a:gd name="T30" fmla="*/ 41 w 56"/>
              <a:gd name="T31" fmla="*/ 21 h 84"/>
              <a:gd name="T32" fmla="*/ 43 w 56"/>
              <a:gd name="T33" fmla="*/ 16 h 84"/>
              <a:gd name="T34" fmla="*/ 47 w 56"/>
              <a:gd name="T35" fmla="*/ 14 h 84"/>
              <a:gd name="T36" fmla="*/ 51 w 56"/>
              <a:gd name="T37" fmla="*/ 9 h 84"/>
              <a:gd name="T38" fmla="*/ 50 w 56"/>
              <a:gd name="T39" fmla="*/ 4 h 84"/>
              <a:gd name="T40" fmla="*/ 45 w 56"/>
              <a:gd name="T41" fmla="*/ 8 h 84"/>
              <a:gd name="T42" fmla="*/ 39 w 56"/>
              <a:gd name="T43" fmla="*/ 10 h 84"/>
              <a:gd name="T44" fmla="*/ 40 w 56"/>
              <a:gd name="T45" fmla="*/ 8 h 84"/>
              <a:gd name="T46" fmla="*/ 39 w 56"/>
              <a:gd name="T47" fmla="*/ 6 h 84"/>
              <a:gd name="T48" fmla="*/ 36 w 56"/>
              <a:gd name="T49" fmla="*/ 2 h 84"/>
              <a:gd name="T50" fmla="*/ 33 w 56"/>
              <a:gd name="T51" fmla="*/ 3 h 84"/>
              <a:gd name="T52" fmla="*/ 30 w 56"/>
              <a:gd name="T53" fmla="*/ 1 h 84"/>
              <a:gd name="T54" fmla="*/ 24 w 56"/>
              <a:gd name="T55" fmla="*/ 2 h 84"/>
              <a:gd name="T56" fmla="*/ 19 w 56"/>
              <a:gd name="T57" fmla="*/ 6 h 84"/>
              <a:gd name="T58" fmla="*/ 14 w 56"/>
              <a:gd name="T59" fmla="*/ 7 h 84"/>
              <a:gd name="T60" fmla="*/ 10 w 56"/>
              <a:gd name="T61" fmla="*/ 13 h 84"/>
              <a:gd name="T62" fmla="*/ 11 w 56"/>
              <a:gd name="T63" fmla="*/ 15 h 84"/>
              <a:gd name="T64" fmla="*/ 13 w 56"/>
              <a:gd name="T65" fmla="*/ 18 h 84"/>
              <a:gd name="T66" fmla="*/ 12 w 56"/>
              <a:gd name="T67" fmla="*/ 22 h 84"/>
              <a:gd name="T68" fmla="*/ 12 w 56"/>
              <a:gd name="T69" fmla="*/ 24 h 84"/>
              <a:gd name="T70" fmla="*/ 12 w 56"/>
              <a:gd name="T71" fmla="*/ 26 h 84"/>
              <a:gd name="T72" fmla="*/ 15 w 56"/>
              <a:gd name="T73" fmla="*/ 35 h 84"/>
              <a:gd name="T74" fmla="*/ 12 w 56"/>
              <a:gd name="T75" fmla="*/ 42 h 84"/>
              <a:gd name="T76" fmla="*/ 10 w 56"/>
              <a:gd name="T77" fmla="*/ 47 h 84"/>
              <a:gd name="T78" fmla="*/ 10 w 56"/>
              <a:gd name="T79" fmla="*/ 47 h 84"/>
              <a:gd name="T80" fmla="*/ 7 w 56"/>
              <a:gd name="T81" fmla="*/ 49 h 84"/>
              <a:gd name="T82" fmla="*/ 1 w 56"/>
              <a:gd name="T83" fmla="*/ 53 h 84"/>
              <a:gd name="T84" fmla="*/ 0 w 56"/>
              <a:gd name="T85" fmla="*/ 56 h 84"/>
              <a:gd name="T86" fmla="*/ 0 w 56"/>
              <a:gd name="T87" fmla="*/ 58 h 84"/>
              <a:gd name="T88" fmla="*/ 3 w 56"/>
              <a:gd name="T89" fmla="*/ 64 h 84"/>
              <a:gd name="T90" fmla="*/ 3 w 56"/>
              <a:gd name="T91" fmla="*/ 65 h 84"/>
              <a:gd name="T92" fmla="*/ 7 w 56"/>
              <a:gd name="T93" fmla="*/ 69 h 84"/>
              <a:gd name="T94" fmla="*/ 11 w 56"/>
              <a:gd name="T95" fmla="*/ 74 h 84"/>
              <a:gd name="T96" fmla="*/ 11 w 56"/>
              <a:gd name="T97" fmla="*/ 76 h 84"/>
              <a:gd name="T98" fmla="*/ 12 w 56"/>
              <a:gd name="T99" fmla="*/ 79 h 84"/>
              <a:gd name="T100" fmla="*/ 19 w 56"/>
              <a:gd name="T101" fmla="*/ 84 h 84"/>
              <a:gd name="T102" fmla="*/ 51 w 56"/>
              <a:gd name="T103" fmla="*/ 84 h 84"/>
              <a:gd name="T104" fmla="*/ 51 w 56"/>
              <a:gd name="T105" fmla="*/ 83 h 84"/>
              <a:gd name="T106" fmla="*/ 54 w 56"/>
              <a:gd name="T107" fmla="*/ 82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6" h="84">
                <a:moveTo>
                  <a:pt x="54" y="82"/>
                </a:moveTo>
                <a:cubicBezTo>
                  <a:pt x="55" y="81"/>
                  <a:pt x="56" y="81"/>
                  <a:pt x="56" y="80"/>
                </a:cubicBezTo>
                <a:cubicBezTo>
                  <a:pt x="56" y="80"/>
                  <a:pt x="56" y="77"/>
                  <a:pt x="56" y="74"/>
                </a:cubicBezTo>
                <a:cubicBezTo>
                  <a:pt x="56" y="72"/>
                  <a:pt x="56" y="70"/>
                  <a:pt x="56" y="69"/>
                </a:cubicBezTo>
                <a:cubicBezTo>
                  <a:pt x="54" y="69"/>
                  <a:pt x="55" y="69"/>
                  <a:pt x="53" y="69"/>
                </a:cubicBezTo>
                <a:cubicBezTo>
                  <a:pt x="49" y="68"/>
                  <a:pt x="51" y="63"/>
                  <a:pt x="50" y="62"/>
                </a:cubicBezTo>
                <a:cubicBezTo>
                  <a:pt x="50" y="60"/>
                  <a:pt x="47" y="63"/>
                  <a:pt x="45" y="64"/>
                </a:cubicBezTo>
                <a:cubicBezTo>
                  <a:pt x="43" y="65"/>
                  <a:pt x="45" y="62"/>
                  <a:pt x="45" y="60"/>
                </a:cubicBezTo>
                <a:cubicBezTo>
                  <a:pt x="45" y="58"/>
                  <a:pt x="43" y="61"/>
                  <a:pt x="42" y="62"/>
                </a:cubicBezTo>
                <a:cubicBezTo>
                  <a:pt x="41" y="63"/>
                  <a:pt x="40" y="60"/>
                  <a:pt x="38" y="59"/>
                </a:cubicBezTo>
                <a:cubicBezTo>
                  <a:pt x="36" y="57"/>
                  <a:pt x="35" y="53"/>
                  <a:pt x="34" y="52"/>
                </a:cubicBezTo>
                <a:cubicBezTo>
                  <a:pt x="34" y="51"/>
                  <a:pt x="43" y="45"/>
                  <a:pt x="45" y="44"/>
                </a:cubicBezTo>
                <a:cubicBezTo>
                  <a:pt x="47" y="43"/>
                  <a:pt x="51" y="36"/>
                  <a:pt x="51" y="35"/>
                </a:cubicBezTo>
                <a:cubicBezTo>
                  <a:pt x="51" y="33"/>
                  <a:pt x="51" y="30"/>
                  <a:pt x="50" y="29"/>
                </a:cubicBezTo>
                <a:cubicBezTo>
                  <a:pt x="49" y="27"/>
                  <a:pt x="46" y="28"/>
                  <a:pt x="44" y="26"/>
                </a:cubicBezTo>
                <a:cubicBezTo>
                  <a:pt x="41" y="24"/>
                  <a:pt x="41" y="22"/>
                  <a:pt x="41" y="21"/>
                </a:cubicBezTo>
                <a:cubicBezTo>
                  <a:pt x="41" y="19"/>
                  <a:pt x="42" y="17"/>
                  <a:pt x="43" y="16"/>
                </a:cubicBezTo>
                <a:cubicBezTo>
                  <a:pt x="43" y="14"/>
                  <a:pt x="45" y="15"/>
                  <a:pt x="47" y="14"/>
                </a:cubicBezTo>
                <a:cubicBezTo>
                  <a:pt x="49" y="13"/>
                  <a:pt x="50" y="10"/>
                  <a:pt x="51" y="9"/>
                </a:cubicBezTo>
                <a:cubicBezTo>
                  <a:pt x="52" y="8"/>
                  <a:pt x="51" y="4"/>
                  <a:pt x="50" y="4"/>
                </a:cubicBezTo>
                <a:cubicBezTo>
                  <a:pt x="49" y="4"/>
                  <a:pt x="48" y="5"/>
                  <a:pt x="45" y="8"/>
                </a:cubicBezTo>
                <a:cubicBezTo>
                  <a:pt x="41" y="11"/>
                  <a:pt x="42" y="11"/>
                  <a:pt x="39" y="10"/>
                </a:cubicBezTo>
                <a:cubicBezTo>
                  <a:pt x="37" y="9"/>
                  <a:pt x="39" y="9"/>
                  <a:pt x="40" y="8"/>
                </a:cubicBezTo>
                <a:cubicBezTo>
                  <a:pt x="40" y="7"/>
                  <a:pt x="40" y="7"/>
                  <a:pt x="39" y="6"/>
                </a:cubicBezTo>
                <a:cubicBezTo>
                  <a:pt x="38" y="4"/>
                  <a:pt x="38" y="3"/>
                  <a:pt x="36" y="2"/>
                </a:cubicBezTo>
                <a:cubicBezTo>
                  <a:pt x="35" y="1"/>
                  <a:pt x="35" y="3"/>
                  <a:pt x="33" y="3"/>
                </a:cubicBezTo>
                <a:cubicBezTo>
                  <a:pt x="30" y="4"/>
                  <a:pt x="31" y="1"/>
                  <a:pt x="30" y="1"/>
                </a:cubicBezTo>
                <a:cubicBezTo>
                  <a:pt x="30" y="0"/>
                  <a:pt x="28" y="2"/>
                  <a:pt x="24" y="2"/>
                </a:cubicBezTo>
                <a:cubicBezTo>
                  <a:pt x="20" y="3"/>
                  <a:pt x="20" y="5"/>
                  <a:pt x="19" y="6"/>
                </a:cubicBezTo>
                <a:cubicBezTo>
                  <a:pt x="18" y="7"/>
                  <a:pt x="17" y="7"/>
                  <a:pt x="14" y="7"/>
                </a:cubicBezTo>
                <a:cubicBezTo>
                  <a:pt x="12" y="10"/>
                  <a:pt x="10" y="13"/>
                  <a:pt x="10" y="13"/>
                </a:cubicBezTo>
                <a:cubicBezTo>
                  <a:pt x="10" y="14"/>
                  <a:pt x="11" y="15"/>
                  <a:pt x="11" y="15"/>
                </a:cubicBezTo>
                <a:cubicBezTo>
                  <a:pt x="12" y="16"/>
                  <a:pt x="13" y="17"/>
                  <a:pt x="13" y="18"/>
                </a:cubicBezTo>
                <a:cubicBezTo>
                  <a:pt x="13" y="19"/>
                  <a:pt x="13" y="20"/>
                  <a:pt x="12" y="22"/>
                </a:cubicBezTo>
                <a:cubicBezTo>
                  <a:pt x="12" y="23"/>
                  <a:pt x="12" y="24"/>
                  <a:pt x="12" y="24"/>
                </a:cubicBezTo>
                <a:cubicBezTo>
                  <a:pt x="12" y="25"/>
                  <a:pt x="12" y="25"/>
                  <a:pt x="12" y="26"/>
                </a:cubicBezTo>
                <a:cubicBezTo>
                  <a:pt x="13" y="28"/>
                  <a:pt x="15" y="34"/>
                  <a:pt x="15" y="35"/>
                </a:cubicBezTo>
                <a:cubicBezTo>
                  <a:pt x="15" y="35"/>
                  <a:pt x="14" y="39"/>
                  <a:pt x="12" y="42"/>
                </a:cubicBezTo>
                <a:cubicBezTo>
                  <a:pt x="11" y="45"/>
                  <a:pt x="10" y="47"/>
                  <a:pt x="10" y="47"/>
                </a:cubicBezTo>
                <a:cubicBezTo>
                  <a:pt x="10" y="47"/>
                  <a:pt x="10" y="47"/>
                  <a:pt x="10" y="47"/>
                </a:cubicBezTo>
                <a:cubicBezTo>
                  <a:pt x="10" y="47"/>
                  <a:pt x="9" y="48"/>
                  <a:pt x="7" y="49"/>
                </a:cubicBezTo>
                <a:cubicBezTo>
                  <a:pt x="4" y="51"/>
                  <a:pt x="1" y="53"/>
                  <a:pt x="1" y="53"/>
                </a:cubicBezTo>
                <a:cubicBezTo>
                  <a:pt x="0" y="54"/>
                  <a:pt x="0" y="55"/>
                  <a:pt x="0" y="56"/>
                </a:cubicBezTo>
                <a:cubicBezTo>
                  <a:pt x="0" y="57"/>
                  <a:pt x="0" y="58"/>
                  <a:pt x="0" y="58"/>
                </a:cubicBezTo>
                <a:cubicBezTo>
                  <a:pt x="0" y="59"/>
                  <a:pt x="2" y="62"/>
                  <a:pt x="3" y="64"/>
                </a:cubicBezTo>
                <a:cubicBezTo>
                  <a:pt x="3" y="64"/>
                  <a:pt x="3" y="65"/>
                  <a:pt x="3" y="65"/>
                </a:cubicBezTo>
                <a:cubicBezTo>
                  <a:pt x="4" y="65"/>
                  <a:pt x="5" y="67"/>
                  <a:pt x="7" y="69"/>
                </a:cubicBezTo>
                <a:cubicBezTo>
                  <a:pt x="9" y="71"/>
                  <a:pt x="11" y="73"/>
                  <a:pt x="11" y="74"/>
                </a:cubicBezTo>
                <a:cubicBezTo>
                  <a:pt x="11" y="74"/>
                  <a:pt x="11" y="75"/>
                  <a:pt x="11" y="76"/>
                </a:cubicBezTo>
                <a:cubicBezTo>
                  <a:pt x="11" y="77"/>
                  <a:pt x="11" y="78"/>
                  <a:pt x="12" y="79"/>
                </a:cubicBezTo>
                <a:cubicBezTo>
                  <a:pt x="14" y="80"/>
                  <a:pt x="16" y="82"/>
                  <a:pt x="19" y="84"/>
                </a:cubicBezTo>
                <a:cubicBezTo>
                  <a:pt x="51" y="84"/>
                  <a:pt x="51" y="84"/>
                  <a:pt x="51" y="84"/>
                </a:cubicBezTo>
                <a:cubicBezTo>
                  <a:pt x="51" y="84"/>
                  <a:pt x="51" y="83"/>
                  <a:pt x="51" y="83"/>
                </a:cubicBezTo>
                <a:cubicBezTo>
                  <a:pt x="52" y="82"/>
                  <a:pt x="53" y="82"/>
                  <a:pt x="54" y="8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7" name="Freeform 24"/>
          <p:cNvSpPr>
            <a:spLocks/>
          </p:cNvSpPr>
          <p:nvPr/>
        </p:nvSpPr>
        <p:spPr bwMode="auto">
          <a:xfrm>
            <a:off x="2525837" y="6299201"/>
            <a:ext cx="57150" cy="47625"/>
          </a:xfrm>
          <a:custGeom>
            <a:avLst/>
            <a:gdLst>
              <a:gd name="T0" fmla="*/ 3 w 6"/>
              <a:gd name="T1" fmla="*/ 0 h 5"/>
              <a:gd name="T2" fmla="*/ 1 w 6"/>
              <a:gd name="T3" fmla="*/ 2 h 5"/>
              <a:gd name="T4" fmla="*/ 2 w 6"/>
              <a:gd name="T5" fmla="*/ 3 h 5"/>
              <a:gd name="T6" fmla="*/ 6 w 6"/>
              <a:gd name="T7" fmla="*/ 4 h 5"/>
              <a:gd name="T8" fmla="*/ 3 w 6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5">
                <a:moveTo>
                  <a:pt x="3" y="0"/>
                </a:moveTo>
                <a:cubicBezTo>
                  <a:pt x="2" y="0"/>
                  <a:pt x="0" y="0"/>
                  <a:pt x="1" y="2"/>
                </a:cubicBezTo>
                <a:cubicBezTo>
                  <a:pt x="2" y="2"/>
                  <a:pt x="0" y="3"/>
                  <a:pt x="2" y="3"/>
                </a:cubicBezTo>
                <a:cubicBezTo>
                  <a:pt x="4" y="4"/>
                  <a:pt x="6" y="5"/>
                  <a:pt x="6" y="4"/>
                </a:cubicBezTo>
                <a:cubicBezTo>
                  <a:pt x="6" y="3"/>
                  <a:pt x="4" y="1"/>
                  <a:pt x="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8" name="Freeform 25"/>
          <p:cNvSpPr>
            <a:spLocks/>
          </p:cNvSpPr>
          <p:nvPr/>
        </p:nvSpPr>
        <p:spPr bwMode="auto">
          <a:xfrm>
            <a:off x="1277768" y="4899320"/>
            <a:ext cx="76200" cy="47625"/>
          </a:xfrm>
          <a:custGeom>
            <a:avLst/>
            <a:gdLst>
              <a:gd name="T0" fmla="*/ 1 w 8"/>
              <a:gd name="T1" fmla="*/ 1 h 5"/>
              <a:gd name="T2" fmla="*/ 0 w 8"/>
              <a:gd name="T3" fmla="*/ 1 h 5"/>
              <a:gd name="T4" fmla="*/ 0 w 8"/>
              <a:gd name="T5" fmla="*/ 5 h 5"/>
              <a:gd name="T6" fmla="*/ 3 w 8"/>
              <a:gd name="T7" fmla="*/ 4 h 5"/>
              <a:gd name="T8" fmla="*/ 6 w 8"/>
              <a:gd name="T9" fmla="*/ 3 h 5"/>
              <a:gd name="T10" fmla="*/ 8 w 8"/>
              <a:gd name="T11" fmla="*/ 1 h 5"/>
              <a:gd name="T12" fmla="*/ 4 w 8"/>
              <a:gd name="T13" fmla="*/ 0 h 5"/>
              <a:gd name="T14" fmla="*/ 1 w 8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5">
                <a:moveTo>
                  <a:pt x="1" y="1"/>
                </a:moveTo>
                <a:cubicBezTo>
                  <a:pt x="0" y="1"/>
                  <a:pt x="0" y="1"/>
                  <a:pt x="0" y="1"/>
                </a:cubicBezTo>
                <a:cubicBezTo>
                  <a:pt x="0" y="2"/>
                  <a:pt x="0" y="4"/>
                  <a:pt x="0" y="5"/>
                </a:cubicBezTo>
                <a:cubicBezTo>
                  <a:pt x="1" y="5"/>
                  <a:pt x="2" y="4"/>
                  <a:pt x="3" y="4"/>
                </a:cubicBezTo>
                <a:cubicBezTo>
                  <a:pt x="5" y="4"/>
                  <a:pt x="6" y="4"/>
                  <a:pt x="6" y="3"/>
                </a:cubicBezTo>
                <a:cubicBezTo>
                  <a:pt x="7" y="3"/>
                  <a:pt x="8" y="2"/>
                  <a:pt x="8" y="1"/>
                </a:cubicBezTo>
                <a:cubicBezTo>
                  <a:pt x="7" y="1"/>
                  <a:pt x="6" y="0"/>
                  <a:pt x="4" y="0"/>
                </a:cubicBezTo>
                <a:cubicBezTo>
                  <a:pt x="2" y="0"/>
                  <a:pt x="1" y="0"/>
                  <a:pt x="1" y="1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9" name="Freeform 26"/>
          <p:cNvSpPr>
            <a:spLocks/>
          </p:cNvSpPr>
          <p:nvPr/>
        </p:nvSpPr>
        <p:spPr bwMode="auto">
          <a:xfrm>
            <a:off x="1840037" y="3630613"/>
            <a:ext cx="95250" cy="114300"/>
          </a:xfrm>
          <a:custGeom>
            <a:avLst/>
            <a:gdLst>
              <a:gd name="T0" fmla="*/ 5 w 10"/>
              <a:gd name="T1" fmla="*/ 0 h 12"/>
              <a:gd name="T2" fmla="*/ 4 w 10"/>
              <a:gd name="T3" fmla="*/ 0 h 12"/>
              <a:gd name="T4" fmla="*/ 3 w 10"/>
              <a:gd name="T5" fmla="*/ 0 h 12"/>
              <a:gd name="T6" fmla="*/ 3 w 10"/>
              <a:gd name="T7" fmla="*/ 0 h 12"/>
              <a:gd name="T8" fmla="*/ 1 w 10"/>
              <a:gd name="T9" fmla="*/ 5 h 12"/>
              <a:gd name="T10" fmla="*/ 2 w 10"/>
              <a:gd name="T11" fmla="*/ 6 h 12"/>
              <a:gd name="T12" fmla="*/ 3 w 10"/>
              <a:gd name="T13" fmla="*/ 8 h 12"/>
              <a:gd name="T14" fmla="*/ 3 w 10"/>
              <a:gd name="T15" fmla="*/ 11 h 12"/>
              <a:gd name="T16" fmla="*/ 4 w 10"/>
              <a:gd name="T17" fmla="*/ 11 h 12"/>
              <a:gd name="T18" fmla="*/ 7 w 10"/>
              <a:gd name="T19" fmla="*/ 12 h 12"/>
              <a:gd name="T20" fmla="*/ 8 w 10"/>
              <a:gd name="T21" fmla="*/ 11 h 12"/>
              <a:gd name="T22" fmla="*/ 9 w 10"/>
              <a:gd name="T23" fmla="*/ 9 h 12"/>
              <a:gd name="T24" fmla="*/ 10 w 10"/>
              <a:gd name="T25" fmla="*/ 8 h 12"/>
              <a:gd name="T26" fmla="*/ 10 w 10"/>
              <a:gd name="T27" fmla="*/ 6 h 12"/>
              <a:gd name="T28" fmla="*/ 8 w 10"/>
              <a:gd name="T29" fmla="*/ 5 h 12"/>
              <a:gd name="T30" fmla="*/ 5 w 10"/>
              <a:gd name="T31" fmla="*/ 3 h 12"/>
              <a:gd name="T32" fmla="*/ 5 w 10"/>
              <a:gd name="T33" fmla="*/ 3 h 12"/>
              <a:gd name="T34" fmla="*/ 5 w 10"/>
              <a:gd name="T3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12">
                <a:moveTo>
                  <a:pt x="5" y="0"/>
                </a:moveTo>
                <a:cubicBezTo>
                  <a:pt x="4" y="0"/>
                  <a:pt x="4" y="0"/>
                  <a:pt x="4" y="0"/>
                </a:cubicBezTo>
                <a:cubicBezTo>
                  <a:pt x="4" y="0"/>
                  <a:pt x="3" y="0"/>
                  <a:pt x="3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1"/>
                  <a:pt x="0" y="3"/>
                  <a:pt x="1" y="5"/>
                </a:cubicBezTo>
                <a:cubicBezTo>
                  <a:pt x="1" y="6"/>
                  <a:pt x="2" y="6"/>
                  <a:pt x="2" y="6"/>
                </a:cubicBezTo>
                <a:cubicBezTo>
                  <a:pt x="2" y="7"/>
                  <a:pt x="2" y="7"/>
                  <a:pt x="3" y="8"/>
                </a:cubicBezTo>
                <a:cubicBezTo>
                  <a:pt x="3" y="9"/>
                  <a:pt x="3" y="10"/>
                  <a:pt x="3" y="11"/>
                </a:cubicBezTo>
                <a:cubicBezTo>
                  <a:pt x="3" y="11"/>
                  <a:pt x="4" y="11"/>
                  <a:pt x="4" y="11"/>
                </a:cubicBezTo>
                <a:cubicBezTo>
                  <a:pt x="5" y="11"/>
                  <a:pt x="6" y="11"/>
                  <a:pt x="7" y="12"/>
                </a:cubicBezTo>
                <a:cubicBezTo>
                  <a:pt x="7" y="11"/>
                  <a:pt x="8" y="11"/>
                  <a:pt x="8" y="11"/>
                </a:cubicBezTo>
                <a:cubicBezTo>
                  <a:pt x="8" y="11"/>
                  <a:pt x="9" y="10"/>
                  <a:pt x="9" y="9"/>
                </a:cubicBezTo>
                <a:cubicBezTo>
                  <a:pt x="9" y="9"/>
                  <a:pt x="10" y="8"/>
                  <a:pt x="10" y="8"/>
                </a:cubicBezTo>
                <a:cubicBezTo>
                  <a:pt x="10" y="7"/>
                  <a:pt x="10" y="7"/>
                  <a:pt x="10" y="6"/>
                </a:cubicBezTo>
                <a:cubicBezTo>
                  <a:pt x="9" y="6"/>
                  <a:pt x="9" y="5"/>
                  <a:pt x="8" y="5"/>
                </a:cubicBezTo>
                <a:cubicBezTo>
                  <a:pt x="7" y="5"/>
                  <a:pt x="6" y="4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5" y="1"/>
                  <a:pt x="5" y="0"/>
                  <a:pt x="5" y="0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0" name="Rectangle 27"/>
          <p:cNvSpPr>
            <a:spLocks noChangeArrowheads="1"/>
          </p:cNvSpPr>
          <p:nvPr/>
        </p:nvSpPr>
        <p:spPr bwMode="auto">
          <a:xfrm>
            <a:off x="2478212" y="4116388"/>
            <a:ext cx="1588" cy="1588"/>
          </a:xfrm>
          <a:prstGeom prst="rect">
            <a:avLst/>
          </a:pr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1" name="Freeform 28"/>
          <p:cNvSpPr>
            <a:spLocks/>
          </p:cNvSpPr>
          <p:nvPr/>
        </p:nvSpPr>
        <p:spPr bwMode="auto">
          <a:xfrm>
            <a:off x="2716337" y="3459163"/>
            <a:ext cx="904875" cy="438150"/>
          </a:xfrm>
          <a:custGeom>
            <a:avLst/>
            <a:gdLst>
              <a:gd name="T0" fmla="*/ 5 w 95"/>
              <a:gd name="T1" fmla="*/ 24 h 46"/>
              <a:gd name="T2" fmla="*/ 4 w 95"/>
              <a:gd name="T3" fmla="*/ 25 h 46"/>
              <a:gd name="T4" fmla="*/ 7 w 95"/>
              <a:gd name="T5" fmla="*/ 29 h 46"/>
              <a:gd name="T6" fmla="*/ 12 w 95"/>
              <a:gd name="T7" fmla="*/ 33 h 46"/>
              <a:gd name="T8" fmla="*/ 18 w 95"/>
              <a:gd name="T9" fmla="*/ 39 h 46"/>
              <a:gd name="T10" fmla="*/ 24 w 95"/>
              <a:gd name="T11" fmla="*/ 42 h 46"/>
              <a:gd name="T12" fmla="*/ 27 w 95"/>
              <a:gd name="T13" fmla="*/ 44 h 46"/>
              <a:gd name="T14" fmla="*/ 33 w 95"/>
              <a:gd name="T15" fmla="*/ 46 h 46"/>
              <a:gd name="T16" fmla="*/ 37 w 95"/>
              <a:gd name="T17" fmla="*/ 45 h 46"/>
              <a:gd name="T18" fmla="*/ 38 w 95"/>
              <a:gd name="T19" fmla="*/ 44 h 46"/>
              <a:gd name="T20" fmla="*/ 42 w 95"/>
              <a:gd name="T21" fmla="*/ 39 h 46"/>
              <a:gd name="T22" fmla="*/ 49 w 95"/>
              <a:gd name="T23" fmla="*/ 40 h 46"/>
              <a:gd name="T24" fmla="*/ 59 w 95"/>
              <a:gd name="T25" fmla="*/ 44 h 46"/>
              <a:gd name="T26" fmla="*/ 63 w 95"/>
              <a:gd name="T27" fmla="*/ 42 h 46"/>
              <a:gd name="T28" fmla="*/ 68 w 95"/>
              <a:gd name="T29" fmla="*/ 45 h 46"/>
              <a:gd name="T30" fmla="*/ 72 w 95"/>
              <a:gd name="T31" fmla="*/ 40 h 46"/>
              <a:gd name="T32" fmla="*/ 77 w 95"/>
              <a:gd name="T33" fmla="*/ 42 h 46"/>
              <a:gd name="T34" fmla="*/ 85 w 95"/>
              <a:gd name="T35" fmla="*/ 38 h 46"/>
              <a:gd name="T36" fmla="*/ 87 w 95"/>
              <a:gd name="T37" fmla="*/ 33 h 46"/>
              <a:gd name="T38" fmla="*/ 93 w 95"/>
              <a:gd name="T39" fmla="*/ 30 h 46"/>
              <a:gd name="T40" fmla="*/ 95 w 95"/>
              <a:gd name="T41" fmla="*/ 27 h 46"/>
              <a:gd name="T42" fmla="*/ 88 w 95"/>
              <a:gd name="T43" fmla="*/ 22 h 46"/>
              <a:gd name="T44" fmla="*/ 84 w 95"/>
              <a:gd name="T45" fmla="*/ 21 h 46"/>
              <a:gd name="T46" fmla="*/ 82 w 95"/>
              <a:gd name="T47" fmla="*/ 22 h 46"/>
              <a:gd name="T48" fmla="*/ 78 w 95"/>
              <a:gd name="T49" fmla="*/ 19 h 46"/>
              <a:gd name="T50" fmla="*/ 80 w 95"/>
              <a:gd name="T51" fmla="*/ 15 h 46"/>
              <a:gd name="T52" fmla="*/ 73 w 95"/>
              <a:gd name="T53" fmla="*/ 13 h 46"/>
              <a:gd name="T54" fmla="*/ 69 w 95"/>
              <a:gd name="T55" fmla="*/ 13 h 46"/>
              <a:gd name="T56" fmla="*/ 70 w 95"/>
              <a:gd name="T57" fmla="*/ 14 h 46"/>
              <a:gd name="T58" fmla="*/ 68 w 95"/>
              <a:gd name="T59" fmla="*/ 17 h 46"/>
              <a:gd name="T60" fmla="*/ 63 w 95"/>
              <a:gd name="T61" fmla="*/ 18 h 46"/>
              <a:gd name="T62" fmla="*/ 60 w 95"/>
              <a:gd name="T63" fmla="*/ 16 h 46"/>
              <a:gd name="T64" fmla="*/ 59 w 95"/>
              <a:gd name="T65" fmla="*/ 13 h 46"/>
              <a:gd name="T66" fmla="*/ 60 w 95"/>
              <a:gd name="T67" fmla="*/ 11 h 46"/>
              <a:gd name="T68" fmla="*/ 60 w 95"/>
              <a:gd name="T69" fmla="*/ 9 h 46"/>
              <a:gd name="T70" fmla="*/ 60 w 95"/>
              <a:gd name="T71" fmla="*/ 9 h 46"/>
              <a:gd name="T72" fmla="*/ 47 w 95"/>
              <a:gd name="T73" fmla="*/ 6 h 46"/>
              <a:gd name="T74" fmla="*/ 44 w 95"/>
              <a:gd name="T75" fmla="*/ 4 h 46"/>
              <a:gd name="T76" fmla="*/ 42 w 95"/>
              <a:gd name="T77" fmla="*/ 1 h 46"/>
              <a:gd name="T78" fmla="*/ 41 w 95"/>
              <a:gd name="T79" fmla="*/ 0 h 46"/>
              <a:gd name="T80" fmla="*/ 38 w 95"/>
              <a:gd name="T81" fmla="*/ 4 h 46"/>
              <a:gd name="T82" fmla="*/ 35 w 95"/>
              <a:gd name="T83" fmla="*/ 3 h 46"/>
              <a:gd name="T84" fmla="*/ 31 w 95"/>
              <a:gd name="T85" fmla="*/ 3 h 46"/>
              <a:gd name="T86" fmla="*/ 31 w 95"/>
              <a:gd name="T87" fmla="*/ 5 h 46"/>
              <a:gd name="T88" fmla="*/ 20 w 95"/>
              <a:gd name="T89" fmla="*/ 8 h 46"/>
              <a:gd name="T90" fmla="*/ 13 w 95"/>
              <a:gd name="T91" fmla="*/ 13 h 46"/>
              <a:gd name="T92" fmla="*/ 7 w 95"/>
              <a:gd name="T93" fmla="*/ 13 h 46"/>
              <a:gd name="T94" fmla="*/ 3 w 95"/>
              <a:gd name="T95" fmla="*/ 16 h 46"/>
              <a:gd name="T96" fmla="*/ 0 w 95"/>
              <a:gd name="T97" fmla="*/ 15 h 46"/>
              <a:gd name="T98" fmla="*/ 1 w 95"/>
              <a:gd name="T99" fmla="*/ 16 h 46"/>
              <a:gd name="T100" fmla="*/ 3 w 95"/>
              <a:gd name="T101" fmla="*/ 20 h 46"/>
              <a:gd name="T102" fmla="*/ 6 w 95"/>
              <a:gd name="T103" fmla="*/ 24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5" h="46">
                <a:moveTo>
                  <a:pt x="6" y="24"/>
                </a:moveTo>
                <a:cubicBezTo>
                  <a:pt x="5" y="24"/>
                  <a:pt x="5" y="24"/>
                  <a:pt x="5" y="24"/>
                </a:cubicBezTo>
                <a:cubicBezTo>
                  <a:pt x="5" y="24"/>
                  <a:pt x="4" y="25"/>
                  <a:pt x="4" y="25"/>
                </a:cubicBezTo>
                <a:cubicBezTo>
                  <a:pt x="4" y="25"/>
                  <a:pt x="4" y="25"/>
                  <a:pt x="4" y="25"/>
                </a:cubicBezTo>
                <a:cubicBezTo>
                  <a:pt x="4" y="25"/>
                  <a:pt x="4" y="26"/>
                  <a:pt x="5" y="27"/>
                </a:cubicBezTo>
                <a:cubicBezTo>
                  <a:pt x="5" y="28"/>
                  <a:pt x="6" y="29"/>
                  <a:pt x="7" y="29"/>
                </a:cubicBezTo>
                <a:cubicBezTo>
                  <a:pt x="7" y="29"/>
                  <a:pt x="7" y="29"/>
                  <a:pt x="7" y="29"/>
                </a:cubicBezTo>
                <a:cubicBezTo>
                  <a:pt x="8" y="30"/>
                  <a:pt x="10" y="31"/>
                  <a:pt x="12" y="33"/>
                </a:cubicBezTo>
                <a:cubicBezTo>
                  <a:pt x="14" y="35"/>
                  <a:pt x="16" y="38"/>
                  <a:pt x="17" y="38"/>
                </a:cubicBezTo>
                <a:cubicBezTo>
                  <a:pt x="17" y="39"/>
                  <a:pt x="18" y="39"/>
                  <a:pt x="18" y="39"/>
                </a:cubicBezTo>
                <a:cubicBezTo>
                  <a:pt x="19" y="39"/>
                  <a:pt x="19" y="39"/>
                  <a:pt x="20" y="39"/>
                </a:cubicBezTo>
                <a:cubicBezTo>
                  <a:pt x="21" y="40"/>
                  <a:pt x="23" y="41"/>
                  <a:pt x="24" y="42"/>
                </a:cubicBezTo>
                <a:cubicBezTo>
                  <a:pt x="24" y="43"/>
                  <a:pt x="24" y="43"/>
                  <a:pt x="24" y="43"/>
                </a:cubicBezTo>
                <a:cubicBezTo>
                  <a:pt x="24" y="43"/>
                  <a:pt x="25" y="44"/>
                  <a:pt x="27" y="44"/>
                </a:cubicBezTo>
                <a:cubicBezTo>
                  <a:pt x="28" y="45"/>
                  <a:pt x="30" y="46"/>
                  <a:pt x="30" y="46"/>
                </a:cubicBezTo>
                <a:cubicBezTo>
                  <a:pt x="31" y="46"/>
                  <a:pt x="32" y="46"/>
                  <a:pt x="33" y="46"/>
                </a:cubicBezTo>
                <a:cubicBezTo>
                  <a:pt x="34" y="46"/>
                  <a:pt x="35" y="46"/>
                  <a:pt x="36" y="46"/>
                </a:cubicBezTo>
                <a:cubicBezTo>
                  <a:pt x="36" y="46"/>
                  <a:pt x="37" y="46"/>
                  <a:pt x="37" y="45"/>
                </a:cubicBezTo>
                <a:cubicBezTo>
                  <a:pt x="38" y="45"/>
                  <a:pt x="38" y="44"/>
                  <a:pt x="38" y="44"/>
                </a:cubicBezTo>
                <a:cubicBezTo>
                  <a:pt x="38" y="44"/>
                  <a:pt x="38" y="44"/>
                  <a:pt x="38" y="44"/>
                </a:cubicBezTo>
                <a:cubicBezTo>
                  <a:pt x="38" y="44"/>
                  <a:pt x="39" y="43"/>
                  <a:pt x="39" y="43"/>
                </a:cubicBezTo>
                <a:cubicBezTo>
                  <a:pt x="39" y="41"/>
                  <a:pt x="39" y="39"/>
                  <a:pt x="42" y="39"/>
                </a:cubicBezTo>
                <a:cubicBezTo>
                  <a:pt x="44" y="39"/>
                  <a:pt x="45" y="40"/>
                  <a:pt x="47" y="40"/>
                </a:cubicBezTo>
                <a:cubicBezTo>
                  <a:pt x="48" y="40"/>
                  <a:pt x="49" y="40"/>
                  <a:pt x="49" y="40"/>
                </a:cubicBezTo>
                <a:cubicBezTo>
                  <a:pt x="50" y="40"/>
                  <a:pt x="52" y="41"/>
                  <a:pt x="53" y="41"/>
                </a:cubicBezTo>
                <a:cubicBezTo>
                  <a:pt x="56" y="42"/>
                  <a:pt x="58" y="44"/>
                  <a:pt x="59" y="44"/>
                </a:cubicBezTo>
                <a:cubicBezTo>
                  <a:pt x="60" y="45"/>
                  <a:pt x="61" y="44"/>
                  <a:pt x="61" y="44"/>
                </a:cubicBezTo>
                <a:cubicBezTo>
                  <a:pt x="62" y="43"/>
                  <a:pt x="63" y="43"/>
                  <a:pt x="63" y="42"/>
                </a:cubicBezTo>
                <a:cubicBezTo>
                  <a:pt x="64" y="42"/>
                  <a:pt x="65" y="43"/>
                  <a:pt x="66" y="43"/>
                </a:cubicBezTo>
                <a:cubicBezTo>
                  <a:pt x="67" y="44"/>
                  <a:pt x="67" y="44"/>
                  <a:pt x="68" y="45"/>
                </a:cubicBezTo>
                <a:cubicBezTo>
                  <a:pt x="68" y="44"/>
                  <a:pt x="69" y="44"/>
                  <a:pt x="69" y="43"/>
                </a:cubicBezTo>
                <a:cubicBezTo>
                  <a:pt x="70" y="42"/>
                  <a:pt x="71" y="40"/>
                  <a:pt x="72" y="40"/>
                </a:cubicBezTo>
                <a:cubicBezTo>
                  <a:pt x="72" y="40"/>
                  <a:pt x="73" y="41"/>
                  <a:pt x="74" y="41"/>
                </a:cubicBezTo>
                <a:cubicBezTo>
                  <a:pt x="75" y="41"/>
                  <a:pt x="76" y="42"/>
                  <a:pt x="77" y="42"/>
                </a:cubicBezTo>
                <a:cubicBezTo>
                  <a:pt x="77" y="41"/>
                  <a:pt x="80" y="41"/>
                  <a:pt x="82" y="40"/>
                </a:cubicBezTo>
                <a:cubicBezTo>
                  <a:pt x="83" y="39"/>
                  <a:pt x="84" y="38"/>
                  <a:pt x="85" y="38"/>
                </a:cubicBezTo>
                <a:cubicBezTo>
                  <a:pt x="85" y="38"/>
                  <a:pt x="85" y="38"/>
                  <a:pt x="85" y="37"/>
                </a:cubicBezTo>
                <a:cubicBezTo>
                  <a:pt x="85" y="36"/>
                  <a:pt x="85" y="35"/>
                  <a:pt x="87" y="33"/>
                </a:cubicBezTo>
                <a:cubicBezTo>
                  <a:pt x="88" y="32"/>
                  <a:pt x="90" y="31"/>
                  <a:pt x="92" y="31"/>
                </a:cubicBezTo>
                <a:cubicBezTo>
                  <a:pt x="93" y="30"/>
                  <a:pt x="93" y="30"/>
                  <a:pt x="93" y="30"/>
                </a:cubicBezTo>
                <a:cubicBezTo>
                  <a:pt x="94" y="30"/>
                  <a:pt x="95" y="29"/>
                  <a:pt x="95" y="28"/>
                </a:cubicBezTo>
                <a:cubicBezTo>
                  <a:pt x="95" y="28"/>
                  <a:pt x="95" y="28"/>
                  <a:pt x="95" y="27"/>
                </a:cubicBezTo>
                <a:cubicBezTo>
                  <a:pt x="94" y="26"/>
                  <a:pt x="93" y="26"/>
                  <a:pt x="93" y="25"/>
                </a:cubicBezTo>
                <a:cubicBezTo>
                  <a:pt x="92" y="25"/>
                  <a:pt x="90" y="23"/>
                  <a:pt x="88" y="22"/>
                </a:cubicBezTo>
                <a:cubicBezTo>
                  <a:pt x="86" y="21"/>
                  <a:pt x="85" y="21"/>
                  <a:pt x="85" y="21"/>
                </a:cubicBezTo>
                <a:cubicBezTo>
                  <a:pt x="85" y="21"/>
                  <a:pt x="85" y="21"/>
                  <a:pt x="84" y="21"/>
                </a:cubicBezTo>
                <a:cubicBezTo>
                  <a:pt x="84" y="22"/>
                  <a:pt x="83" y="22"/>
                  <a:pt x="82" y="22"/>
                </a:cubicBezTo>
                <a:cubicBezTo>
                  <a:pt x="82" y="22"/>
                  <a:pt x="82" y="22"/>
                  <a:pt x="82" y="22"/>
                </a:cubicBezTo>
                <a:cubicBezTo>
                  <a:pt x="81" y="22"/>
                  <a:pt x="80" y="21"/>
                  <a:pt x="79" y="20"/>
                </a:cubicBezTo>
                <a:cubicBezTo>
                  <a:pt x="79" y="20"/>
                  <a:pt x="78" y="19"/>
                  <a:pt x="78" y="19"/>
                </a:cubicBezTo>
                <a:cubicBezTo>
                  <a:pt x="78" y="18"/>
                  <a:pt x="78" y="17"/>
                  <a:pt x="79" y="17"/>
                </a:cubicBezTo>
                <a:cubicBezTo>
                  <a:pt x="79" y="16"/>
                  <a:pt x="80" y="15"/>
                  <a:pt x="80" y="15"/>
                </a:cubicBezTo>
                <a:cubicBezTo>
                  <a:pt x="80" y="15"/>
                  <a:pt x="80" y="15"/>
                  <a:pt x="80" y="15"/>
                </a:cubicBezTo>
                <a:cubicBezTo>
                  <a:pt x="80" y="15"/>
                  <a:pt x="76" y="14"/>
                  <a:pt x="73" y="13"/>
                </a:cubicBezTo>
                <a:cubicBezTo>
                  <a:pt x="72" y="13"/>
                  <a:pt x="71" y="13"/>
                  <a:pt x="70" y="13"/>
                </a:cubicBezTo>
                <a:cubicBezTo>
                  <a:pt x="70" y="13"/>
                  <a:pt x="69" y="13"/>
                  <a:pt x="69" y="13"/>
                </a:cubicBezTo>
                <a:cubicBezTo>
                  <a:pt x="69" y="13"/>
                  <a:pt x="70" y="13"/>
                  <a:pt x="70" y="14"/>
                </a:cubicBezTo>
                <a:cubicBezTo>
                  <a:pt x="70" y="14"/>
                  <a:pt x="70" y="14"/>
                  <a:pt x="70" y="14"/>
                </a:cubicBezTo>
                <a:cubicBezTo>
                  <a:pt x="70" y="15"/>
                  <a:pt x="70" y="16"/>
                  <a:pt x="69" y="16"/>
                </a:cubicBezTo>
                <a:cubicBezTo>
                  <a:pt x="69" y="17"/>
                  <a:pt x="68" y="17"/>
                  <a:pt x="68" y="17"/>
                </a:cubicBezTo>
                <a:cubicBezTo>
                  <a:pt x="66" y="18"/>
                  <a:pt x="64" y="19"/>
                  <a:pt x="63" y="18"/>
                </a:cubicBezTo>
                <a:cubicBezTo>
                  <a:pt x="63" y="18"/>
                  <a:pt x="63" y="18"/>
                  <a:pt x="63" y="18"/>
                </a:cubicBezTo>
                <a:cubicBezTo>
                  <a:pt x="63" y="18"/>
                  <a:pt x="63" y="18"/>
                  <a:pt x="63" y="18"/>
                </a:cubicBezTo>
                <a:cubicBezTo>
                  <a:pt x="62" y="18"/>
                  <a:pt x="61" y="17"/>
                  <a:pt x="60" y="16"/>
                </a:cubicBezTo>
                <a:cubicBezTo>
                  <a:pt x="59" y="15"/>
                  <a:pt x="58" y="14"/>
                  <a:pt x="59" y="13"/>
                </a:cubicBezTo>
                <a:cubicBezTo>
                  <a:pt x="59" y="13"/>
                  <a:pt x="59" y="13"/>
                  <a:pt x="59" y="13"/>
                </a:cubicBezTo>
                <a:cubicBezTo>
                  <a:pt x="59" y="13"/>
                  <a:pt x="59" y="13"/>
                  <a:pt x="59" y="13"/>
                </a:cubicBezTo>
                <a:cubicBezTo>
                  <a:pt x="59" y="12"/>
                  <a:pt x="59" y="12"/>
                  <a:pt x="60" y="11"/>
                </a:cubicBezTo>
                <a:cubicBezTo>
                  <a:pt x="60" y="11"/>
                  <a:pt x="60" y="11"/>
                  <a:pt x="60" y="10"/>
                </a:cubicBezTo>
                <a:cubicBezTo>
                  <a:pt x="60" y="10"/>
                  <a:pt x="60" y="9"/>
                  <a:pt x="60" y="9"/>
                </a:cubicBezTo>
                <a:cubicBezTo>
                  <a:pt x="60" y="9"/>
                  <a:pt x="60" y="9"/>
                  <a:pt x="60" y="9"/>
                </a:cubicBezTo>
                <a:cubicBezTo>
                  <a:pt x="61" y="9"/>
                  <a:pt x="60" y="9"/>
                  <a:pt x="60" y="9"/>
                </a:cubicBezTo>
                <a:cubicBezTo>
                  <a:pt x="59" y="8"/>
                  <a:pt x="58" y="8"/>
                  <a:pt x="56" y="8"/>
                </a:cubicBezTo>
                <a:cubicBezTo>
                  <a:pt x="53" y="7"/>
                  <a:pt x="48" y="7"/>
                  <a:pt x="47" y="6"/>
                </a:cubicBezTo>
                <a:cubicBezTo>
                  <a:pt x="47" y="6"/>
                  <a:pt x="46" y="6"/>
                  <a:pt x="46" y="6"/>
                </a:cubicBezTo>
                <a:cubicBezTo>
                  <a:pt x="45" y="5"/>
                  <a:pt x="45" y="5"/>
                  <a:pt x="44" y="4"/>
                </a:cubicBezTo>
                <a:cubicBezTo>
                  <a:pt x="43" y="3"/>
                  <a:pt x="43" y="2"/>
                  <a:pt x="42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2" y="1"/>
                  <a:pt x="42" y="1"/>
                  <a:pt x="42" y="1"/>
                </a:cubicBezTo>
                <a:cubicBezTo>
                  <a:pt x="42" y="0"/>
                  <a:pt x="42" y="0"/>
                  <a:pt x="41" y="0"/>
                </a:cubicBezTo>
                <a:cubicBezTo>
                  <a:pt x="41" y="1"/>
                  <a:pt x="40" y="2"/>
                  <a:pt x="40" y="2"/>
                </a:cubicBezTo>
                <a:cubicBezTo>
                  <a:pt x="40" y="3"/>
                  <a:pt x="39" y="3"/>
                  <a:pt x="38" y="4"/>
                </a:cubicBezTo>
                <a:cubicBezTo>
                  <a:pt x="38" y="4"/>
                  <a:pt x="38" y="4"/>
                  <a:pt x="38" y="4"/>
                </a:cubicBezTo>
                <a:cubicBezTo>
                  <a:pt x="37" y="4"/>
                  <a:pt x="36" y="3"/>
                  <a:pt x="35" y="3"/>
                </a:cubicBezTo>
                <a:cubicBezTo>
                  <a:pt x="33" y="2"/>
                  <a:pt x="32" y="1"/>
                  <a:pt x="31" y="1"/>
                </a:cubicBezTo>
                <a:cubicBezTo>
                  <a:pt x="31" y="1"/>
                  <a:pt x="31" y="2"/>
                  <a:pt x="31" y="3"/>
                </a:cubicBezTo>
                <a:cubicBezTo>
                  <a:pt x="31" y="4"/>
                  <a:pt x="31" y="4"/>
                  <a:pt x="31" y="5"/>
                </a:cubicBezTo>
                <a:cubicBezTo>
                  <a:pt x="31" y="5"/>
                  <a:pt x="31" y="5"/>
                  <a:pt x="31" y="5"/>
                </a:cubicBezTo>
                <a:cubicBezTo>
                  <a:pt x="31" y="5"/>
                  <a:pt x="28" y="6"/>
                  <a:pt x="25" y="7"/>
                </a:cubicBezTo>
                <a:cubicBezTo>
                  <a:pt x="23" y="7"/>
                  <a:pt x="21" y="8"/>
                  <a:pt x="20" y="8"/>
                </a:cubicBezTo>
                <a:cubicBezTo>
                  <a:pt x="19" y="8"/>
                  <a:pt x="18" y="10"/>
                  <a:pt x="16" y="11"/>
                </a:cubicBezTo>
                <a:cubicBezTo>
                  <a:pt x="15" y="12"/>
                  <a:pt x="14" y="13"/>
                  <a:pt x="13" y="13"/>
                </a:cubicBezTo>
                <a:cubicBezTo>
                  <a:pt x="11" y="14"/>
                  <a:pt x="10" y="14"/>
                  <a:pt x="9" y="13"/>
                </a:cubicBezTo>
                <a:cubicBezTo>
                  <a:pt x="8" y="13"/>
                  <a:pt x="8" y="13"/>
                  <a:pt x="7" y="13"/>
                </a:cubicBezTo>
                <a:cubicBezTo>
                  <a:pt x="6" y="13"/>
                  <a:pt x="6" y="14"/>
                  <a:pt x="5" y="15"/>
                </a:cubicBezTo>
                <a:cubicBezTo>
                  <a:pt x="5" y="15"/>
                  <a:pt x="4" y="16"/>
                  <a:pt x="3" y="16"/>
                </a:cubicBezTo>
                <a:cubicBezTo>
                  <a:pt x="3" y="16"/>
                  <a:pt x="2" y="16"/>
                  <a:pt x="1" y="15"/>
                </a:cubicBezTo>
                <a:cubicBezTo>
                  <a:pt x="1" y="15"/>
                  <a:pt x="0" y="15"/>
                  <a:pt x="0" y="15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5"/>
                  <a:pt x="0" y="16"/>
                  <a:pt x="1" y="16"/>
                </a:cubicBezTo>
                <a:cubicBezTo>
                  <a:pt x="1" y="17"/>
                  <a:pt x="1" y="17"/>
                  <a:pt x="1" y="18"/>
                </a:cubicBezTo>
                <a:cubicBezTo>
                  <a:pt x="2" y="19"/>
                  <a:pt x="2" y="19"/>
                  <a:pt x="3" y="20"/>
                </a:cubicBezTo>
                <a:cubicBezTo>
                  <a:pt x="4" y="20"/>
                  <a:pt x="5" y="21"/>
                  <a:pt x="5" y="21"/>
                </a:cubicBezTo>
                <a:cubicBezTo>
                  <a:pt x="6" y="22"/>
                  <a:pt x="6" y="23"/>
                  <a:pt x="6" y="24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2" name="Freeform 29"/>
          <p:cNvSpPr>
            <a:spLocks/>
          </p:cNvSpPr>
          <p:nvPr/>
        </p:nvSpPr>
        <p:spPr bwMode="auto">
          <a:xfrm>
            <a:off x="3706937" y="4489451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3" name="Freeform 30"/>
          <p:cNvSpPr>
            <a:spLocks/>
          </p:cNvSpPr>
          <p:nvPr/>
        </p:nvSpPr>
        <p:spPr bwMode="auto">
          <a:xfrm>
            <a:off x="3811712" y="4822826"/>
            <a:ext cx="219075" cy="219075"/>
          </a:xfrm>
          <a:custGeom>
            <a:avLst/>
            <a:gdLst>
              <a:gd name="T0" fmla="*/ 0 w 23"/>
              <a:gd name="T1" fmla="*/ 10 h 23"/>
              <a:gd name="T2" fmla="*/ 0 w 23"/>
              <a:gd name="T3" fmla="*/ 12 h 23"/>
              <a:gd name="T4" fmla="*/ 0 w 23"/>
              <a:gd name="T5" fmla="*/ 13 h 23"/>
              <a:gd name="T6" fmla="*/ 0 w 23"/>
              <a:gd name="T7" fmla="*/ 14 h 23"/>
              <a:gd name="T8" fmla="*/ 1 w 23"/>
              <a:gd name="T9" fmla="*/ 14 h 23"/>
              <a:gd name="T10" fmla="*/ 5 w 23"/>
              <a:gd name="T11" fmla="*/ 17 h 23"/>
              <a:gd name="T12" fmla="*/ 6 w 23"/>
              <a:gd name="T13" fmla="*/ 18 h 23"/>
              <a:gd name="T14" fmla="*/ 6 w 23"/>
              <a:gd name="T15" fmla="*/ 22 h 23"/>
              <a:gd name="T16" fmla="*/ 6 w 23"/>
              <a:gd name="T17" fmla="*/ 23 h 23"/>
              <a:gd name="T18" fmla="*/ 9 w 23"/>
              <a:gd name="T19" fmla="*/ 21 h 23"/>
              <a:gd name="T20" fmla="*/ 11 w 23"/>
              <a:gd name="T21" fmla="*/ 19 h 23"/>
              <a:gd name="T22" fmla="*/ 13 w 23"/>
              <a:gd name="T23" fmla="*/ 18 h 23"/>
              <a:gd name="T24" fmla="*/ 15 w 23"/>
              <a:gd name="T25" fmla="*/ 19 h 23"/>
              <a:gd name="T26" fmla="*/ 17 w 23"/>
              <a:gd name="T27" fmla="*/ 20 h 23"/>
              <a:gd name="T28" fmla="*/ 18 w 23"/>
              <a:gd name="T29" fmla="*/ 19 h 23"/>
              <a:gd name="T30" fmla="*/ 20 w 23"/>
              <a:gd name="T31" fmla="*/ 16 h 23"/>
              <a:gd name="T32" fmla="*/ 20 w 23"/>
              <a:gd name="T33" fmla="*/ 16 h 23"/>
              <a:gd name="T34" fmla="*/ 20 w 23"/>
              <a:gd name="T35" fmla="*/ 15 h 23"/>
              <a:gd name="T36" fmla="*/ 22 w 23"/>
              <a:gd name="T37" fmla="*/ 12 h 23"/>
              <a:gd name="T38" fmla="*/ 23 w 23"/>
              <a:gd name="T39" fmla="*/ 11 h 23"/>
              <a:gd name="T40" fmla="*/ 21 w 23"/>
              <a:gd name="T41" fmla="*/ 11 h 23"/>
              <a:gd name="T42" fmla="*/ 19 w 23"/>
              <a:gd name="T43" fmla="*/ 10 h 23"/>
              <a:gd name="T44" fmla="*/ 17 w 23"/>
              <a:gd name="T45" fmla="*/ 6 h 23"/>
              <a:gd name="T46" fmla="*/ 16 w 23"/>
              <a:gd name="T47" fmla="*/ 5 h 23"/>
              <a:gd name="T48" fmla="*/ 14 w 23"/>
              <a:gd name="T49" fmla="*/ 2 h 23"/>
              <a:gd name="T50" fmla="*/ 12 w 23"/>
              <a:gd name="T51" fmla="*/ 1 h 23"/>
              <a:gd name="T52" fmla="*/ 9 w 23"/>
              <a:gd name="T53" fmla="*/ 1 h 23"/>
              <a:gd name="T54" fmla="*/ 8 w 23"/>
              <a:gd name="T55" fmla="*/ 2 h 23"/>
              <a:gd name="T56" fmla="*/ 7 w 23"/>
              <a:gd name="T57" fmla="*/ 3 h 23"/>
              <a:gd name="T58" fmla="*/ 7 w 23"/>
              <a:gd name="T59" fmla="*/ 5 h 23"/>
              <a:gd name="T60" fmla="*/ 5 w 23"/>
              <a:gd name="T61" fmla="*/ 7 h 23"/>
              <a:gd name="T62" fmla="*/ 5 w 23"/>
              <a:gd name="T63" fmla="*/ 7 h 23"/>
              <a:gd name="T64" fmla="*/ 4 w 23"/>
              <a:gd name="T65" fmla="*/ 8 h 23"/>
              <a:gd name="T66" fmla="*/ 3 w 23"/>
              <a:gd name="T67" fmla="*/ 8 h 23"/>
              <a:gd name="T68" fmla="*/ 0 w 23"/>
              <a:gd name="T69" fmla="*/ 1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3" h="23">
                <a:moveTo>
                  <a:pt x="0" y="10"/>
                </a:moveTo>
                <a:cubicBezTo>
                  <a:pt x="0" y="10"/>
                  <a:pt x="0" y="11"/>
                  <a:pt x="0" y="12"/>
                </a:cubicBezTo>
                <a:cubicBezTo>
                  <a:pt x="0" y="12"/>
                  <a:pt x="0" y="13"/>
                  <a:pt x="0" y="13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14"/>
                  <a:pt x="1" y="14"/>
                  <a:pt x="1" y="14"/>
                </a:cubicBezTo>
                <a:cubicBezTo>
                  <a:pt x="3" y="15"/>
                  <a:pt x="4" y="16"/>
                  <a:pt x="5" y="17"/>
                </a:cubicBezTo>
                <a:cubicBezTo>
                  <a:pt x="5" y="18"/>
                  <a:pt x="5" y="18"/>
                  <a:pt x="6" y="18"/>
                </a:cubicBezTo>
                <a:cubicBezTo>
                  <a:pt x="7" y="19"/>
                  <a:pt x="7" y="21"/>
                  <a:pt x="6" y="22"/>
                </a:cubicBezTo>
                <a:cubicBezTo>
                  <a:pt x="6" y="23"/>
                  <a:pt x="6" y="23"/>
                  <a:pt x="6" y="23"/>
                </a:cubicBezTo>
                <a:cubicBezTo>
                  <a:pt x="7" y="23"/>
                  <a:pt x="8" y="22"/>
                  <a:pt x="9" y="21"/>
                </a:cubicBezTo>
                <a:cubicBezTo>
                  <a:pt x="10" y="20"/>
                  <a:pt x="10" y="20"/>
                  <a:pt x="11" y="19"/>
                </a:cubicBezTo>
                <a:cubicBezTo>
                  <a:pt x="12" y="19"/>
                  <a:pt x="12" y="18"/>
                  <a:pt x="13" y="18"/>
                </a:cubicBezTo>
                <a:cubicBezTo>
                  <a:pt x="14" y="18"/>
                  <a:pt x="15" y="19"/>
                  <a:pt x="15" y="19"/>
                </a:cubicBezTo>
                <a:cubicBezTo>
                  <a:pt x="16" y="20"/>
                  <a:pt x="17" y="20"/>
                  <a:pt x="17" y="20"/>
                </a:cubicBezTo>
                <a:cubicBezTo>
                  <a:pt x="17" y="20"/>
                  <a:pt x="18" y="19"/>
                  <a:pt x="18" y="19"/>
                </a:cubicBezTo>
                <a:cubicBezTo>
                  <a:pt x="19" y="18"/>
                  <a:pt x="19" y="17"/>
                  <a:pt x="20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20" y="16"/>
                  <a:pt x="20" y="15"/>
                  <a:pt x="20" y="15"/>
                </a:cubicBezTo>
                <a:cubicBezTo>
                  <a:pt x="20" y="14"/>
                  <a:pt x="21" y="13"/>
                  <a:pt x="22" y="12"/>
                </a:cubicBezTo>
                <a:cubicBezTo>
                  <a:pt x="22" y="12"/>
                  <a:pt x="23" y="11"/>
                  <a:pt x="23" y="11"/>
                </a:cubicBezTo>
                <a:cubicBezTo>
                  <a:pt x="23" y="11"/>
                  <a:pt x="22" y="11"/>
                  <a:pt x="21" y="11"/>
                </a:cubicBezTo>
                <a:cubicBezTo>
                  <a:pt x="21" y="11"/>
                  <a:pt x="20" y="10"/>
                  <a:pt x="19" y="10"/>
                </a:cubicBezTo>
                <a:cubicBezTo>
                  <a:pt x="17" y="9"/>
                  <a:pt x="17" y="8"/>
                  <a:pt x="17" y="6"/>
                </a:cubicBezTo>
                <a:cubicBezTo>
                  <a:pt x="17" y="6"/>
                  <a:pt x="17" y="5"/>
                  <a:pt x="16" y="5"/>
                </a:cubicBezTo>
                <a:cubicBezTo>
                  <a:pt x="16" y="3"/>
                  <a:pt x="15" y="3"/>
                  <a:pt x="14" y="2"/>
                </a:cubicBezTo>
                <a:cubicBezTo>
                  <a:pt x="13" y="2"/>
                  <a:pt x="13" y="1"/>
                  <a:pt x="12" y="1"/>
                </a:cubicBezTo>
                <a:cubicBezTo>
                  <a:pt x="10" y="0"/>
                  <a:pt x="10" y="0"/>
                  <a:pt x="9" y="1"/>
                </a:cubicBezTo>
                <a:cubicBezTo>
                  <a:pt x="8" y="1"/>
                  <a:pt x="8" y="2"/>
                  <a:pt x="8" y="2"/>
                </a:cubicBezTo>
                <a:cubicBezTo>
                  <a:pt x="7" y="3"/>
                  <a:pt x="7" y="3"/>
                  <a:pt x="7" y="3"/>
                </a:cubicBezTo>
                <a:cubicBezTo>
                  <a:pt x="7" y="4"/>
                  <a:pt x="7" y="4"/>
                  <a:pt x="7" y="5"/>
                </a:cubicBezTo>
                <a:cubicBezTo>
                  <a:pt x="7" y="6"/>
                  <a:pt x="6" y="7"/>
                  <a:pt x="5" y="7"/>
                </a:cubicBezTo>
                <a:cubicBezTo>
                  <a:pt x="5" y="7"/>
                  <a:pt x="5" y="7"/>
                  <a:pt x="5" y="7"/>
                </a:cubicBezTo>
                <a:cubicBezTo>
                  <a:pt x="5" y="7"/>
                  <a:pt x="4" y="7"/>
                  <a:pt x="4" y="8"/>
                </a:cubicBezTo>
                <a:cubicBezTo>
                  <a:pt x="4" y="8"/>
                  <a:pt x="3" y="8"/>
                  <a:pt x="3" y="8"/>
                </a:cubicBezTo>
                <a:cubicBezTo>
                  <a:pt x="1" y="9"/>
                  <a:pt x="0" y="9"/>
                  <a:pt x="0" y="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4" name="Freeform 31"/>
          <p:cNvSpPr>
            <a:spLocks/>
          </p:cNvSpPr>
          <p:nvPr/>
        </p:nvSpPr>
        <p:spPr bwMode="auto">
          <a:xfrm>
            <a:off x="3868862" y="4975226"/>
            <a:ext cx="323850" cy="238125"/>
          </a:xfrm>
          <a:custGeom>
            <a:avLst/>
            <a:gdLst>
              <a:gd name="T0" fmla="*/ 0 w 34"/>
              <a:gd name="T1" fmla="*/ 20 h 25"/>
              <a:gd name="T2" fmla="*/ 0 w 34"/>
              <a:gd name="T3" fmla="*/ 20 h 25"/>
              <a:gd name="T4" fmla="*/ 1 w 34"/>
              <a:gd name="T5" fmla="*/ 21 h 25"/>
              <a:gd name="T6" fmla="*/ 3 w 34"/>
              <a:gd name="T7" fmla="*/ 22 h 25"/>
              <a:gd name="T8" fmla="*/ 6 w 34"/>
              <a:gd name="T9" fmla="*/ 25 h 25"/>
              <a:gd name="T10" fmla="*/ 6 w 34"/>
              <a:gd name="T11" fmla="*/ 25 h 25"/>
              <a:gd name="T12" fmla="*/ 6 w 34"/>
              <a:gd name="T13" fmla="*/ 25 h 25"/>
              <a:gd name="T14" fmla="*/ 9 w 34"/>
              <a:gd name="T15" fmla="*/ 25 h 25"/>
              <a:gd name="T16" fmla="*/ 16 w 34"/>
              <a:gd name="T17" fmla="*/ 24 h 25"/>
              <a:gd name="T18" fmla="*/ 17 w 34"/>
              <a:gd name="T19" fmla="*/ 23 h 25"/>
              <a:gd name="T20" fmla="*/ 18 w 34"/>
              <a:gd name="T21" fmla="*/ 21 h 25"/>
              <a:gd name="T22" fmla="*/ 20 w 34"/>
              <a:gd name="T23" fmla="*/ 20 h 25"/>
              <a:gd name="T24" fmla="*/ 23 w 34"/>
              <a:gd name="T25" fmla="*/ 19 h 25"/>
              <a:gd name="T26" fmla="*/ 25 w 34"/>
              <a:gd name="T27" fmla="*/ 20 h 25"/>
              <a:gd name="T28" fmla="*/ 26 w 34"/>
              <a:gd name="T29" fmla="*/ 21 h 25"/>
              <a:gd name="T30" fmla="*/ 26 w 34"/>
              <a:gd name="T31" fmla="*/ 21 h 25"/>
              <a:gd name="T32" fmla="*/ 26 w 34"/>
              <a:gd name="T33" fmla="*/ 21 h 25"/>
              <a:gd name="T34" fmla="*/ 26 w 34"/>
              <a:gd name="T35" fmla="*/ 21 h 25"/>
              <a:gd name="T36" fmla="*/ 29 w 34"/>
              <a:gd name="T37" fmla="*/ 21 h 25"/>
              <a:gd name="T38" fmla="*/ 30 w 34"/>
              <a:gd name="T39" fmla="*/ 18 h 25"/>
              <a:gd name="T40" fmla="*/ 32 w 34"/>
              <a:gd name="T41" fmla="*/ 17 h 25"/>
              <a:gd name="T42" fmla="*/ 33 w 34"/>
              <a:gd name="T43" fmla="*/ 17 h 25"/>
              <a:gd name="T44" fmla="*/ 34 w 34"/>
              <a:gd name="T45" fmla="*/ 11 h 25"/>
              <a:gd name="T46" fmla="*/ 33 w 34"/>
              <a:gd name="T47" fmla="*/ 9 h 25"/>
              <a:gd name="T48" fmla="*/ 33 w 34"/>
              <a:gd name="T49" fmla="*/ 9 h 25"/>
              <a:gd name="T50" fmla="*/ 32 w 34"/>
              <a:gd name="T51" fmla="*/ 8 h 25"/>
              <a:gd name="T52" fmla="*/ 29 w 34"/>
              <a:gd name="T53" fmla="*/ 4 h 25"/>
              <a:gd name="T54" fmla="*/ 26 w 34"/>
              <a:gd name="T55" fmla="*/ 1 h 25"/>
              <a:gd name="T56" fmla="*/ 26 w 34"/>
              <a:gd name="T57" fmla="*/ 1 h 25"/>
              <a:gd name="T58" fmla="*/ 25 w 34"/>
              <a:gd name="T59" fmla="*/ 1 h 25"/>
              <a:gd name="T60" fmla="*/ 22 w 34"/>
              <a:gd name="T61" fmla="*/ 1 h 25"/>
              <a:gd name="T62" fmla="*/ 19 w 34"/>
              <a:gd name="T63" fmla="*/ 1 h 25"/>
              <a:gd name="T64" fmla="*/ 15 w 34"/>
              <a:gd name="T65" fmla="*/ 2 h 25"/>
              <a:gd name="T66" fmla="*/ 13 w 34"/>
              <a:gd name="T67" fmla="*/ 3 h 25"/>
              <a:gd name="T68" fmla="*/ 11 w 34"/>
              <a:gd name="T69" fmla="*/ 5 h 25"/>
              <a:gd name="T70" fmla="*/ 9 w 34"/>
              <a:gd name="T71" fmla="*/ 4 h 25"/>
              <a:gd name="T72" fmla="*/ 7 w 34"/>
              <a:gd name="T73" fmla="*/ 4 h 25"/>
              <a:gd name="T74" fmla="*/ 6 w 34"/>
              <a:gd name="T75" fmla="*/ 4 h 25"/>
              <a:gd name="T76" fmla="*/ 4 w 34"/>
              <a:gd name="T77" fmla="*/ 6 h 25"/>
              <a:gd name="T78" fmla="*/ 0 w 34"/>
              <a:gd name="T79" fmla="*/ 8 h 25"/>
              <a:gd name="T80" fmla="*/ 0 w 34"/>
              <a:gd name="T81" fmla="*/ 14 h 25"/>
              <a:gd name="T82" fmla="*/ 0 w 34"/>
              <a:gd name="T83" fmla="*/ 15 h 25"/>
              <a:gd name="T84" fmla="*/ 1 w 34"/>
              <a:gd name="T85" fmla="*/ 16 h 25"/>
              <a:gd name="T86" fmla="*/ 0 w 34"/>
              <a:gd name="T87" fmla="*/ 19 h 25"/>
              <a:gd name="T88" fmla="*/ 0 w 34"/>
              <a:gd name="T89" fmla="*/ 2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4" h="25">
                <a:moveTo>
                  <a:pt x="0" y="20"/>
                </a:moveTo>
                <a:cubicBezTo>
                  <a:pt x="0" y="20"/>
                  <a:pt x="0" y="20"/>
                  <a:pt x="0" y="20"/>
                </a:cubicBezTo>
                <a:cubicBezTo>
                  <a:pt x="0" y="20"/>
                  <a:pt x="0" y="20"/>
                  <a:pt x="1" y="21"/>
                </a:cubicBezTo>
                <a:cubicBezTo>
                  <a:pt x="2" y="21"/>
                  <a:pt x="2" y="22"/>
                  <a:pt x="3" y="22"/>
                </a:cubicBezTo>
                <a:cubicBezTo>
                  <a:pt x="4" y="22"/>
                  <a:pt x="6" y="24"/>
                  <a:pt x="6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7" y="25"/>
                  <a:pt x="8" y="25"/>
                  <a:pt x="9" y="25"/>
                </a:cubicBezTo>
                <a:cubicBezTo>
                  <a:pt x="12" y="25"/>
                  <a:pt x="16" y="25"/>
                  <a:pt x="16" y="24"/>
                </a:cubicBezTo>
                <a:cubicBezTo>
                  <a:pt x="16" y="24"/>
                  <a:pt x="17" y="23"/>
                  <a:pt x="17" y="23"/>
                </a:cubicBezTo>
                <a:cubicBezTo>
                  <a:pt x="17" y="22"/>
                  <a:pt x="18" y="22"/>
                  <a:pt x="18" y="21"/>
                </a:cubicBezTo>
                <a:cubicBezTo>
                  <a:pt x="18" y="21"/>
                  <a:pt x="19" y="21"/>
                  <a:pt x="20" y="20"/>
                </a:cubicBezTo>
                <a:cubicBezTo>
                  <a:pt x="21" y="20"/>
                  <a:pt x="22" y="20"/>
                  <a:pt x="23" y="19"/>
                </a:cubicBezTo>
                <a:cubicBezTo>
                  <a:pt x="24" y="19"/>
                  <a:pt x="24" y="20"/>
                  <a:pt x="25" y="20"/>
                </a:cubicBezTo>
                <a:cubicBezTo>
                  <a:pt x="25" y="20"/>
                  <a:pt x="26" y="21"/>
                  <a:pt x="26" y="21"/>
                </a:cubicBezTo>
                <a:cubicBezTo>
                  <a:pt x="26" y="21"/>
                  <a:pt x="26" y="21"/>
                  <a:pt x="26" y="21"/>
                </a:cubicBezTo>
                <a:cubicBezTo>
                  <a:pt x="26" y="21"/>
                  <a:pt x="26" y="21"/>
                  <a:pt x="26" y="21"/>
                </a:cubicBezTo>
                <a:cubicBezTo>
                  <a:pt x="26" y="21"/>
                  <a:pt x="26" y="21"/>
                  <a:pt x="26" y="21"/>
                </a:cubicBezTo>
                <a:cubicBezTo>
                  <a:pt x="27" y="21"/>
                  <a:pt x="29" y="21"/>
                  <a:pt x="29" y="21"/>
                </a:cubicBezTo>
                <a:cubicBezTo>
                  <a:pt x="29" y="20"/>
                  <a:pt x="29" y="19"/>
                  <a:pt x="30" y="18"/>
                </a:cubicBezTo>
                <a:cubicBezTo>
                  <a:pt x="31" y="18"/>
                  <a:pt x="31" y="17"/>
                  <a:pt x="32" y="17"/>
                </a:cubicBezTo>
                <a:cubicBezTo>
                  <a:pt x="32" y="17"/>
                  <a:pt x="32" y="17"/>
                  <a:pt x="33" y="17"/>
                </a:cubicBezTo>
                <a:cubicBezTo>
                  <a:pt x="33" y="16"/>
                  <a:pt x="34" y="12"/>
                  <a:pt x="34" y="11"/>
                </a:cubicBezTo>
                <a:cubicBezTo>
                  <a:pt x="34" y="10"/>
                  <a:pt x="34" y="9"/>
                  <a:pt x="33" y="9"/>
                </a:cubicBezTo>
                <a:cubicBezTo>
                  <a:pt x="33" y="9"/>
                  <a:pt x="33" y="9"/>
                  <a:pt x="33" y="9"/>
                </a:cubicBezTo>
                <a:cubicBezTo>
                  <a:pt x="33" y="8"/>
                  <a:pt x="32" y="8"/>
                  <a:pt x="32" y="8"/>
                </a:cubicBezTo>
                <a:cubicBezTo>
                  <a:pt x="31" y="7"/>
                  <a:pt x="30" y="5"/>
                  <a:pt x="29" y="4"/>
                </a:cubicBezTo>
                <a:cubicBezTo>
                  <a:pt x="27" y="2"/>
                  <a:pt x="26" y="1"/>
                  <a:pt x="26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25" y="1"/>
                  <a:pt x="25" y="1"/>
                  <a:pt x="25" y="1"/>
                </a:cubicBezTo>
                <a:cubicBezTo>
                  <a:pt x="24" y="0"/>
                  <a:pt x="23" y="0"/>
                  <a:pt x="22" y="1"/>
                </a:cubicBezTo>
                <a:cubicBezTo>
                  <a:pt x="21" y="1"/>
                  <a:pt x="20" y="1"/>
                  <a:pt x="19" y="1"/>
                </a:cubicBezTo>
                <a:cubicBezTo>
                  <a:pt x="17" y="1"/>
                  <a:pt x="15" y="1"/>
                  <a:pt x="15" y="2"/>
                </a:cubicBezTo>
                <a:cubicBezTo>
                  <a:pt x="14" y="2"/>
                  <a:pt x="14" y="3"/>
                  <a:pt x="13" y="3"/>
                </a:cubicBezTo>
                <a:cubicBezTo>
                  <a:pt x="12" y="4"/>
                  <a:pt x="12" y="5"/>
                  <a:pt x="11" y="5"/>
                </a:cubicBezTo>
                <a:cubicBezTo>
                  <a:pt x="10" y="5"/>
                  <a:pt x="10" y="5"/>
                  <a:pt x="9" y="4"/>
                </a:cubicBezTo>
                <a:cubicBezTo>
                  <a:pt x="8" y="4"/>
                  <a:pt x="8" y="4"/>
                  <a:pt x="7" y="4"/>
                </a:cubicBezTo>
                <a:cubicBezTo>
                  <a:pt x="7" y="4"/>
                  <a:pt x="6" y="4"/>
                  <a:pt x="6" y="4"/>
                </a:cubicBezTo>
                <a:cubicBezTo>
                  <a:pt x="5" y="5"/>
                  <a:pt x="5" y="5"/>
                  <a:pt x="4" y="6"/>
                </a:cubicBezTo>
                <a:cubicBezTo>
                  <a:pt x="3" y="8"/>
                  <a:pt x="1" y="8"/>
                  <a:pt x="0" y="8"/>
                </a:cubicBezTo>
                <a:cubicBezTo>
                  <a:pt x="0" y="10"/>
                  <a:pt x="0" y="13"/>
                  <a:pt x="0" y="14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16"/>
                  <a:pt x="1" y="16"/>
                  <a:pt x="1" y="16"/>
                </a:cubicBezTo>
                <a:cubicBezTo>
                  <a:pt x="1" y="17"/>
                  <a:pt x="1" y="18"/>
                  <a:pt x="0" y="19"/>
                </a:cubicBezTo>
                <a:cubicBezTo>
                  <a:pt x="0" y="19"/>
                  <a:pt x="0" y="20"/>
                  <a:pt x="0" y="2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5" name="Freeform 32"/>
          <p:cNvSpPr>
            <a:spLocks/>
          </p:cNvSpPr>
          <p:nvPr/>
        </p:nvSpPr>
        <p:spPr bwMode="auto">
          <a:xfrm>
            <a:off x="3649787" y="4325938"/>
            <a:ext cx="542925" cy="649288"/>
          </a:xfrm>
          <a:custGeom>
            <a:avLst/>
            <a:gdLst>
              <a:gd name="T0" fmla="*/ 10 w 57"/>
              <a:gd name="T1" fmla="*/ 50 h 68"/>
              <a:gd name="T2" fmla="*/ 19 w 57"/>
              <a:gd name="T3" fmla="*/ 59 h 68"/>
              <a:gd name="T4" fmla="*/ 21 w 57"/>
              <a:gd name="T5" fmla="*/ 58 h 68"/>
              <a:gd name="T6" fmla="*/ 23 w 57"/>
              <a:gd name="T7" fmla="*/ 57 h 68"/>
              <a:gd name="T8" fmla="*/ 24 w 57"/>
              <a:gd name="T9" fmla="*/ 53 h 68"/>
              <a:gd name="T10" fmla="*/ 30 w 57"/>
              <a:gd name="T11" fmla="*/ 52 h 68"/>
              <a:gd name="T12" fmla="*/ 35 w 57"/>
              <a:gd name="T13" fmla="*/ 57 h 68"/>
              <a:gd name="T14" fmla="*/ 35 w 57"/>
              <a:gd name="T15" fmla="*/ 58 h 68"/>
              <a:gd name="T16" fmla="*/ 39 w 57"/>
              <a:gd name="T17" fmla="*/ 61 h 68"/>
              <a:gd name="T18" fmla="*/ 40 w 57"/>
              <a:gd name="T19" fmla="*/ 65 h 68"/>
              <a:gd name="T20" fmla="*/ 39 w 57"/>
              <a:gd name="T21" fmla="*/ 68 h 68"/>
              <a:gd name="T22" fmla="*/ 44 w 57"/>
              <a:gd name="T23" fmla="*/ 67 h 68"/>
              <a:gd name="T24" fmla="*/ 48 w 57"/>
              <a:gd name="T25" fmla="*/ 67 h 68"/>
              <a:gd name="T26" fmla="*/ 48 w 57"/>
              <a:gd name="T27" fmla="*/ 67 h 68"/>
              <a:gd name="T28" fmla="*/ 50 w 57"/>
              <a:gd name="T29" fmla="*/ 66 h 68"/>
              <a:gd name="T30" fmla="*/ 51 w 57"/>
              <a:gd name="T31" fmla="*/ 65 h 68"/>
              <a:gd name="T32" fmla="*/ 50 w 57"/>
              <a:gd name="T33" fmla="*/ 65 h 68"/>
              <a:gd name="T34" fmla="*/ 49 w 57"/>
              <a:gd name="T35" fmla="*/ 64 h 68"/>
              <a:gd name="T36" fmla="*/ 50 w 57"/>
              <a:gd name="T37" fmla="*/ 59 h 68"/>
              <a:gd name="T38" fmla="*/ 57 w 57"/>
              <a:gd name="T39" fmla="*/ 53 h 68"/>
              <a:gd name="T40" fmla="*/ 51 w 57"/>
              <a:gd name="T41" fmla="*/ 49 h 68"/>
              <a:gd name="T42" fmla="*/ 49 w 57"/>
              <a:gd name="T43" fmla="*/ 46 h 68"/>
              <a:gd name="T44" fmla="*/ 50 w 57"/>
              <a:gd name="T45" fmla="*/ 39 h 68"/>
              <a:gd name="T46" fmla="*/ 52 w 57"/>
              <a:gd name="T47" fmla="*/ 36 h 68"/>
              <a:gd name="T48" fmla="*/ 53 w 57"/>
              <a:gd name="T49" fmla="*/ 29 h 68"/>
              <a:gd name="T50" fmla="*/ 53 w 57"/>
              <a:gd name="T51" fmla="*/ 29 h 68"/>
              <a:gd name="T52" fmla="*/ 52 w 57"/>
              <a:gd name="T53" fmla="*/ 28 h 68"/>
              <a:gd name="T54" fmla="*/ 50 w 57"/>
              <a:gd name="T55" fmla="*/ 27 h 68"/>
              <a:gd name="T56" fmla="*/ 46 w 57"/>
              <a:gd name="T57" fmla="*/ 31 h 68"/>
              <a:gd name="T58" fmla="*/ 41 w 57"/>
              <a:gd name="T59" fmla="*/ 28 h 68"/>
              <a:gd name="T60" fmla="*/ 34 w 57"/>
              <a:gd name="T61" fmla="*/ 25 h 68"/>
              <a:gd name="T62" fmla="*/ 37 w 57"/>
              <a:gd name="T63" fmla="*/ 22 h 68"/>
              <a:gd name="T64" fmla="*/ 30 w 57"/>
              <a:gd name="T65" fmla="*/ 16 h 68"/>
              <a:gd name="T66" fmla="*/ 25 w 57"/>
              <a:gd name="T67" fmla="*/ 12 h 68"/>
              <a:gd name="T68" fmla="*/ 24 w 57"/>
              <a:gd name="T69" fmla="*/ 9 h 68"/>
              <a:gd name="T70" fmla="*/ 14 w 57"/>
              <a:gd name="T71" fmla="*/ 1 h 68"/>
              <a:gd name="T72" fmla="*/ 8 w 57"/>
              <a:gd name="T73" fmla="*/ 1 h 68"/>
              <a:gd name="T74" fmla="*/ 4 w 57"/>
              <a:gd name="T75" fmla="*/ 3 h 68"/>
              <a:gd name="T76" fmla="*/ 0 w 57"/>
              <a:gd name="T77" fmla="*/ 8 h 68"/>
              <a:gd name="T78" fmla="*/ 2 w 57"/>
              <a:gd name="T79" fmla="*/ 12 h 68"/>
              <a:gd name="T80" fmla="*/ 6 w 57"/>
              <a:gd name="T81" fmla="*/ 15 h 68"/>
              <a:gd name="T82" fmla="*/ 6 w 57"/>
              <a:gd name="T83" fmla="*/ 18 h 68"/>
              <a:gd name="T84" fmla="*/ 3 w 57"/>
              <a:gd name="T85" fmla="*/ 20 h 68"/>
              <a:gd name="T86" fmla="*/ 2 w 57"/>
              <a:gd name="T87" fmla="*/ 23 h 68"/>
              <a:gd name="T88" fmla="*/ 5 w 57"/>
              <a:gd name="T89" fmla="*/ 29 h 68"/>
              <a:gd name="T90" fmla="*/ 7 w 57"/>
              <a:gd name="T91" fmla="*/ 35 h 68"/>
              <a:gd name="T92" fmla="*/ 9 w 57"/>
              <a:gd name="T93" fmla="*/ 39 h 68"/>
              <a:gd name="T94" fmla="*/ 5 w 57"/>
              <a:gd name="T95" fmla="*/ 41 h 68"/>
              <a:gd name="T96" fmla="*/ 8 w 57"/>
              <a:gd name="T97" fmla="*/ 45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7" h="68">
                <a:moveTo>
                  <a:pt x="5" y="47"/>
                </a:moveTo>
                <a:cubicBezTo>
                  <a:pt x="7" y="48"/>
                  <a:pt x="9" y="49"/>
                  <a:pt x="10" y="50"/>
                </a:cubicBezTo>
                <a:cubicBezTo>
                  <a:pt x="11" y="51"/>
                  <a:pt x="13" y="53"/>
                  <a:pt x="15" y="55"/>
                </a:cubicBezTo>
                <a:cubicBezTo>
                  <a:pt x="17" y="56"/>
                  <a:pt x="19" y="58"/>
                  <a:pt x="19" y="59"/>
                </a:cubicBezTo>
                <a:cubicBezTo>
                  <a:pt x="20" y="59"/>
                  <a:pt x="20" y="58"/>
                  <a:pt x="21" y="58"/>
                </a:cubicBezTo>
                <a:cubicBezTo>
                  <a:pt x="21" y="58"/>
                  <a:pt x="21" y="58"/>
                  <a:pt x="21" y="58"/>
                </a:cubicBezTo>
                <a:cubicBezTo>
                  <a:pt x="21" y="58"/>
                  <a:pt x="21" y="58"/>
                  <a:pt x="21" y="58"/>
                </a:cubicBezTo>
                <a:cubicBezTo>
                  <a:pt x="22" y="58"/>
                  <a:pt x="23" y="57"/>
                  <a:pt x="23" y="57"/>
                </a:cubicBezTo>
                <a:cubicBezTo>
                  <a:pt x="23" y="56"/>
                  <a:pt x="23" y="56"/>
                  <a:pt x="23" y="56"/>
                </a:cubicBezTo>
                <a:cubicBezTo>
                  <a:pt x="23" y="55"/>
                  <a:pt x="22" y="54"/>
                  <a:pt x="24" y="53"/>
                </a:cubicBezTo>
                <a:cubicBezTo>
                  <a:pt x="24" y="53"/>
                  <a:pt x="24" y="52"/>
                  <a:pt x="25" y="52"/>
                </a:cubicBezTo>
                <a:cubicBezTo>
                  <a:pt x="26" y="51"/>
                  <a:pt x="27" y="50"/>
                  <a:pt x="30" y="52"/>
                </a:cubicBezTo>
                <a:cubicBezTo>
                  <a:pt x="30" y="52"/>
                  <a:pt x="31" y="53"/>
                  <a:pt x="32" y="53"/>
                </a:cubicBezTo>
                <a:cubicBezTo>
                  <a:pt x="33" y="54"/>
                  <a:pt x="35" y="54"/>
                  <a:pt x="35" y="57"/>
                </a:cubicBezTo>
                <a:cubicBezTo>
                  <a:pt x="35" y="57"/>
                  <a:pt x="35" y="57"/>
                  <a:pt x="35" y="58"/>
                </a:cubicBezTo>
                <a:cubicBezTo>
                  <a:pt x="35" y="58"/>
                  <a:pt x="35" y="58"/>
                  <a:pt x="35" y="58"/>
                </a:cubicBezTo>
                <a:cubicBezTo>
                  <a:pt x="35" y="59"/>
                  <a:pt x="35" y="60"/>
                  <a:pt x="36" y="61"/>
                </a:cubicBezTo>
                <a:cubicBezTo>
                  <a:pt x="37" y="61"/>
                  <a:pt x="38" y="61"/>
                  <a:pt x="39" y="61"/>
                </a:cubicBezTo>
                <a:cubicBezTo>
                  <a:pt x="40" y="62"/>
                  <a:pt x="41" y="62"/>
                  <a:pt x="41" y="63"/>
                </a:cubicBezTo>
                <a:cubicBezTo>
                  <a:pt x="41" y="63"/>
                  <a:pt x="40" y="64"/>
                  <a:pt x="40" y="65"/>
                </a:cubicBezTo>
                <a:cubicBezTo>
                  <a:pt x="39" y="66"/>
                  <a:pt x="39" y="66"/>
                  <a:pt x="39" y="67"/>
                </a:cubicBezTo>
                <a:cubicBezTo>
                  <a:pt x="39" y="67"/>
                  <a:pt x="39" y="68"/>
                  <a:pt x="39" y="68"/>
                </a:cubicBezTo>
                <a:cubicBezTo>
                  <a:pt x="40" y="68"/>
                  <a:pt x="41" y="68"/>
                  <a:pt x="42" y="68"/>
                </a:cubicBezTo>
                <a:cubicBezTo>
                  <a:pt x="43" y="68"/>
                  <a:pt x="44" y="68"/>
                  <a:pt x="44" y="67"/>
                </a:cubicBezTo>
                <a:cubicBezTo>
                  <a:pt x="46" y="67"/>
                  <a:pt x="47" y="67"/>
                  <a:pt x="48" y="67"/>
                </a:cubicBezTo>
                <a:cubicBezTo>
                  <a:pt x="48" y="67"/>
                  <a:pt x="48" y="67"/>
                  <a:pt x="48" y="67"/>
                </a:cubicBezTo>
                <a:cubicBezTo>
                  <a:pt x="48" y="67"/>
                  <a:pt x="48" y="67"/>
                  <a:pt x="48" y="67"/>
                </a:cubicBezTo>
                <a:cubicBezTo>
                  <a:pt x="48" y="67"/>
                  <a:pt x="48" y="67"/>
                  <a:pt x="48" y="67"/>
                </a:cubicBezTo>
                <a:cubicBezTo>
                  <a:pt x="48" y="67"/>
                  <a:pt x="48" y="67"/>
                  <a:pt x="48" y="67"/>
                </a:cubicBezTo>
                <a:cubicBezTo>
                  <a:pt x="49" y="66"/>
                  <a:pt x="49" y="66"/>
                  <a:pt x="50" y="66"/>
                </a:cubicBezTo>
                <a:cubicBezTo>
                  <a:pt x="50" y="66"/>
                  <a:pt x="50" y="66"/>
                  <a:pt x="50" y="66"/>
                </a:cubicBezTo>
                <a:cubicBezTo>
                  <a:pt x="50" y="66"/>
                  <a:pt x="51" y="65"/>
                  <a:pt x="51" y="65"/>
                </a:cubicBezTo>
                <a:cubicBezTo>
                  <a:pt x="51" y="65"/>
                  <a:pt x="51" y="65"/>
                  <a:pt x="51" y="65"/>
                </a:cubicBezTo>
                <a:cubicBezTo>
                  <a:pt x="51" y="65"/>
                  <a:pt x="51" y="65"/>
                  <a:pt x="50" y="65"/>
                </a:cubicBezTo>
                <a:cubicBezTo>
                  <a:pt x="50" y="64"/>
                  <a:pt x="50" y="64"/>
                  <a:pt x="49" y="64"/>
                </a:cubicBezTo>
                <a:cubicBezTo>
                  <a:pt x="49" y="64"/>
                  <a:pt x="49" y="64"/>
                  <a:pt x="49" y="64"/>
                </a:cubicBezTo>
                <a:cubicBezTo>
                  <a:pt x="49" y="63"/>
                  <a:pt x="49" y="62"/>
                  <a:pt x="49" y="61"/>
                </a:cubicBezTo>
                <a:cubicBezTo>
                  <a:pt x="49" y="60"/>
                  <a:pt x="50" y="59"/>
                  <a:pt x="50" y="59"/>
                </a:cubicBezTo>
                <a:cubicBezTo>
                  <a:pt x="50" y="58"/>
                  <a:pt x="51" y="58"/>
                  <a:pt x="53" y="57"/>
                </a:cubicBezTo>
                <a:cubicBezTo>
                  <a:pt x="54" y="56"/>
                  <a:pt x="57" y="54"/>
                  <a:pt x="57" y="53"/>
                </a:cubicBezTo>
                <a:cubicBezTo>
                  <a:pt x="57" y="52"/>
                  <a:pt x="54" y="51"/>
                  <a:pt x="52" y="50"/>
                </a:cubicBezTo>
                <a:cubicBezTo>
                  <a:pt x="52" y="50"/>
                  <a:pt x="51" y="49"/>
                  <a:pt x="51" y="49"/>
                </a:cubicBezTo>
                <a:cubicBezTo>
                  <a:pt x="51" y="49"/>
                  <a:pt x="51" y="49"/>
                  <a:pt x="51" y="49"/>
                </a:cubicBezTo>
                <a:cubicBezTo>
                  <a:pt x="50" y="49"/>
                  <a:pt x="50" y="48"/>
                  <a:pt x="49" y="46"/>
                </a:cubicBezTo>
                <a:cubicBezTo>
                  <a:pt x="48" y="44"/>
                  <a:pt x="48" y="42"/>
                  <a:pt x="48" y="42"/>
                </a:cubicBezTo>
                <a:cubicBezTo>
                  <a:pt x="48" y="41"/>
                  <a:pt x="49" y="40"/>
                  <a:pt x="50" y="39"/>
                </a:cubicBezTo>
                <a:cubicBezTo>
                  <a:pt x="51" y="38"/>
                  <a:pt x="52" y="36"/>
                  <a:pt x="52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6"/>
                  <a:pt x="50" y="34"/>
                  <a:pt x="50" y="32"/>
                </a:cubicBezTo>
                <a:cubicBezTo>
                  <a:pt x="50" y="31"/>
                  <a:pt x="52" y="30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3" y="28"/>
                  <a:pt x="52" y="28"/>
                  <a:pt x="52" y="28"/>
                </a:cubicBezTo>
                <a:cubicBezTo>
                  <a:pt x="51" y="27"/>
                  <a:pt x="50" y="27"/>
                  <a:pt x="50" y="27"/>
                </a:cubicBezTo>
                <a:cubicBezTo>
                  <a:pt x="50" y="27"/>
                  <a:pt x="50" y="27"/>
                  <a:pt x="50" y="27"/>
                </a:cubicBezTo>
                <a:cubicBezTo>
                  <a:pt x="49" y="27"/>
                  <a:pt x="49" y="28"/>
                  <a:pt x="48" y="28"/>
                </a:cubicBezTo>
                <a:cubicBezTo>
                  <a:pt x="47" y="29"/>
                  <a:pt x="47" y="30"/>
                  <a:pt x="46" y="31"/>
                </a:cubicBezTo>
                <a:cubicBezTo>
                  <a:pt x="45" y="31"/>
                  <a:pt x="44" y="30"/>
                  <a:pt x="43" y="29"/>
                </a:cubicBezTo>
                <a:cubicBezTo>
                  <a:pt x="42" y="29"/>
                  <a:pt x="42" y="28"/>
                  <a:pt x="41" y="28"/>
                </a:cubicBezTo>
                <a:cubicBezTo>
                  <a:pt x="40" y="28"/>
                  <a:pt x="39" y="28"/>
                  <a:pt x="39" y="27"/>
                </a:cubicBezTo>
                <a:cubicBezTo>
                  <a:pt x="37" y="27"/>
                  <a:pt x="34" y="26"/>
                  <a:pt x="34" y="25"/>
                </a:cubicBezTo>
                <a:cubicBezTo>
                  <a:pt x="33" y="25"/>
                  <a:pt x="33" y="24"/>
                  <a:pt x="34" y="24"/>
                </a:cubicBezTo>
                <a:cubicBezTo>
                  <a:pt x="34" y="23"/>
                  <a:pt x="36" y="22"/>
                  <a:pt x="37" y="22"/>
                </a:cubicBezTo>
                <a:cubicBezTo>
                  <a:pt x="37" y="21"/>
                  <a:pt x="36" y="19"/>
                  <a:pt x="36" y="18"/>
                </a:cubicBezTo>
                <a:cubicBezTo>
                  <a:pt x="35" y="18"/>
                  <a:pt x="32" y="17"/>
                  <a:pt x="30" y="16"/>
                </a:cubicBezTo>
                <a:cubicBezTo>
                  <a:pt x="28" y="15"/>
                  <a:pt x="26" y="14"/>
                  <a:pt x="26" y="14"/>
                </a:cubicBezTo>
                <a:cubicBezTo>
                  <a:pt x="25" y="13"/>
                  <a:pt x="25" y="12"/>
                  <a:pt x="25" y="12"/>
                </a:cubicBezTo>
                <a:cubicBezTo>
                  <a:pt x="25" y="11"/>
                  <a:pt x="25" y="11"/>
                  <a:pt x="25" y="10"/>
                </a:cubicBezTo>
                <a:cubicBezTo>
                  <a:pt x="25" y="10"/>
                  <a:pt x="24" y="10"/>
                  <a:pt x="24" y="9"/>
                </a:cubicBezTo>
                <a:cubicBezTo>
                  <a:pt x="22" y="7"/>
                  <a:pt x="19" y="4"/>
                  <a:pt x="18" y="2"/>
                </a:cubicBezTo>
                <a:cubicBezTo>
                  <a:pt x="18" y="2"/>
                  <a:pt x="16" y="1"/>
                  <a:pt x="14" y="1"/>
                </a:cubicBezTo>
                <a:cubicBezTo>
                  <a:pt x="13" y="1"/>
                  <a:pt x="12" y="0"/>
                  <a:pt x="11" y="0"/>
                </a:cubicBezTo>
                <a:cubicBezTo>
                  <a:pt x="10" y="1"/>
                  <a:pt x="9" y="1"/>
                  <a:pt x="8" y="1"/>
                </a:cubicBezTo>
                <a:cubicBezTo>
                  <a:pt x="8" y="1"/>
                  <a:pt x="8" y="1"/>
                  <a:pt x="8" y="1"/>
                </a:cubicBezTo>
                <a:cubicBezTo>
                  <a:pt x="7" y="2"/>
                  <a:pt x="5" y="2"/>
                  <a:pt x="4" y="3"/>
                </a:cubicBezTo>
                <a:cubicBezTo>
                  <a:pt x="3" y="4"/>
                  <a:pt x="1" y="5"/>
                  <a:pt x="0" y="5"/>
                </a:cubicBezTo>
                <a:cubicBezTo>
                  <a:pt x="0" y="6"/>
                  <a:pt x="0" y="7"/>
                  <a:pt x="0" y="8"/>
                </a:cubicBezTo>
                <a:cubicBezTo>
                  <a:pt x="0" y="8"/>
                  <a:pt x="0" y="9"/>
                  <a:pt x="0" y="10"/>
                </a:cubicBezTo>
                <a:cubicBezTo>
                  <a:pt x="0" y="10"/>
                  <a:pt x="1" y="11"/>
                  <a:pt x="2" y="12"/>
                </a:cubicBezTo>
                <a:cubicBezTo>
                  <a:pt x="3" y="13"/>
                  <a:pt x="3" y="13"/>
                  <a:pt x="3" y="13"/>
                </a:cubicBezTo>
                <a:cubicBezTo>
                  <a:pt x="4" y="14"/>
                  <a:pt x="5" y="15"/>
                  <a:pt x="6" y="15"/>
                </a:cubicBezTo>
                <a:cubicBezTo>
                  <a:pt x="6" y="16"/>
                  <a:pt x="7" y="16"/>
                  <a:pt x="7" y="17"/>
                </a:cubicBezTo>
                <a:cubicBezTo>
                  <a:pt x="8" y="17"/>
                  <a:pt x="7" y="18"/>
                  <a:pt x="6" y="18"/>
                </a:cubicBezTo>
                <a:cubicBezTo>
                  <a:pt x="6" y="18"/>
                  <a:pt x="6" y="18"/>
                  <a:pt x="5" y="18"/>
                </a:cubicBezTo>
                <a:cubicBezTo>
                  <a:pt x="4" y="19"/>
                  <a:pt x="3" y="19"/>
                  <a:pt x="3" y="20"/>
                </a:cubicBezTo>
                <a:cubicBezTo>
                  <a:pt x="2" y="20"/>
                  <a:pt x="2" y="21"/>
                  <a:pt x="2" y="22"/>
                </a:cubicBezTo>
                <a:cubicBezTo>
                  <a:pt x="2" y="22"/>
                  <a:pt x="2" y="22"/>
                  <a:pt x="2" y="23"/>
                </a:cubicBezTo>
                <a:cubicBezTo>
                  <a:pt x="3" y="23"/>
                  <a:pt x="5" y="24"/>
                  <a:pt x="6" y="25"/>
                </a:cubicBezTo>
                <a:cubicBezTo>
                  <a:pt x="6" y="26"/>
                  <a:pt x="5" y="27"/>
                  <a:pt x="5" y="29"/>
                </a:cubicBezTo>
                <a:cubicBezTo>
                  <a:pt x="4" y="30"/>
                  <a:pt x="4" y="31"/>
                  <a:pt x="4" y="32"/>
                </a:cubicBezTo>
                <a:cubicBezTo>
                  <a:pt x="3" y="32"/>
                  <a:pt x="5" y="34"/>
                  <a:pt x="7" y="35"/>
                </a:cubicBezTo>
                <a:cubicBezTo>
                  <a:pt x="8" y="36"/>
                  <a:pt x="9" y="37"/>
                  <a:pt x="9" y="38"/>
                </a:cubicBezTo>
                <a:cubicBezTo>
                  <a:pt x="10" y="38"/>
                  <a:pt x="9" y="39"/>
                  <a:pt x="9" y="39"/>
                </a:cubicBezTo>
                <a:cubicBezTo>
                  <a:pt x="8" y="40"/>
                  <a:pt x="8" y="40"/>
                  <a:pt x="7" y="40"/>
                </a:cubicBezTo>
                <a:cubicBezTo>
                  <a:pt x="6" y="40"/>
                  <a:pt x="5" y="41"/>
                  <a:pt x="5" y="41"/>
                </a:cubicBezTo>
                <a:cubicBezTo>
                  <a:pt x="5" y="41"/>
                  <a:pt x="6" y="42"/>
                  <a:pt x="7" y="42"/>
                </a:cubicBezTo>
                <a:cubicBezTo>
                  <a:pt x="7" y="43"/>
                  <a:pt x="8" y="44"/>
                  <a:pt x="8" y="45"/>
                </a:cubicBezTo>
                <a:cubicBezTo>
                  <a:pt x="8" y="46"/>
                  <a:pt x="7" y="46"/>
                  <a:pt x="5" y="4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6" name="Freeform 33"/>
          <p:cNvSpPr>
            <a:spLocks/>
          </p:cNvSpPr>
          <p:nvPr/>
        </p:nvSpPr>
        <p:spPr bwMode="auto">
          <a:xfrm>
            <a:off x="4726112" y="3925888"/>
            <a:ext cx="409575" cy="514350"/>
          </a:xfrm>
          <a:custGeom>
            <a:avLst/>
            <a:gdLst>
              <a:gd name="T0" fmla="*/ 31 w 43"/>
              <a:gd name="T1" fmla="*/ 9 h 54"/>
              <a:gd name="T2" fmla="*/ 25 w 43"/>
              <a:gd name="T3" fmla="*/ 7 h 54"/>
              <a:gd name="T4" fmla="*/ 14 w 43"/>
              <a:gd name="T5" fmla="*/ 1 h 54"/>
              <a:gd name="T6" fmla="*/ 10 w 43"/>
              <a:gd name="T7" fmla="*/ 0 h 54"/>
              <a:gd name="T8" fmla="*/ 3 w 43"/>
              <a:gd name="T9" fmla="*/ 2 h 54"/>
              <a:gd name="T10" fmla="*/ 0 w 43"/>
              <a:gd name="T11" fmla="*/ 4 h 54"/>
              <a:gd name="T12" fmla="*/ 4 w 43"/>
              <a:gd name="T13" fmla="*/ 7 h 54"/>
              <a:gd name="T14" fmla="*/ 8 w 43"/>
              <a:gd name="T15" fmla="*/ 14 h 54"/>
              <a:gd name="T16" fmla="*/ 9 w 43"/>
              <a:gd name="T17" fmla="*/ 16 h 54"/>
              <a:gd name="T18" fmla="*/ 12 w 43"/>
              <a:gd name="T19" fmla="*/ 20 h 54"/>
              <a:gd name="T20" fmla="*/ 18 w 43"/>
              <a:gd name="T21" fmla="*/ 26 h 54"/>
              <a:gd name="T22" fmla="*/ 19 w 43"/>
              <a:gd name="T23" fmla="*/ 27 h 54"/>
              <a:gd name="T24" fmla="*/ 19 w 43"/>
              <a:gd name="T25" fmla="*/ 28 h 54"/>
              <a:gd name="T26" fmla="*/ 19 w 43"/>
              <a:gd name="T27" fmla="*/ 29 h 54"/>
              <a:gd name="T28" fmla="*/ 21 w 43"/>
              <a:gd name="T29" fmla="*/ 34 h 54"/>
              <a:gd name="T30" fmla="*/ 21 w 43"/>
              <a:gd name="T31" fmla="*/ 38 h 54"/>
              <a:gd name="T32" fmla="*/ 20 w 43"/>
              <a:gd name="T33" fmla="*/ 42 h 54"/>
              <a:gd name="T34" fmla="*/ 19 w 43"/>
              <a:gd name="T35" fmla="*/ 51 h 54"/>
              <a:gd name="T36" fmla="*/ 22 w 43"/>
              <a:gd name="T37" fmla="*/ 53 h 54"/>
              <a:gd name="T38" fmla="*/ 23 w 43"/>
              <a:gd name="T39" fmla="*/ 53 h 54"/>
              <a:gd name="T40" fmla="*/ 25 w 43"/>
              <a:gd name="T41" fmla="*/ 49 h 54"/>
              <a:gd name="T42" fmla="*/ 26 w 43"/>
              <a:gd name="T43" fmla="*/ 48 h 54"/>
              <a:gd name="T44" fmla="*/ 29 w 43"/>
              <a:gd name="T45" fmla="*/ 44 h 54"/>
              <a:gd name="T46" fmla="*/ 30 w 43"/>
              <a:gd name="T47" fmla="*/ 42 h 54"/>
              <a:gd name="T48" fmla="*/ 34 w 43"/>
              <a:gd name="T49" fmla="*/ 38 h 54"/>
              <a:gd name="T50" fmla="*/ 36 w 43"/>
              <a:gd name="T51" fmla="*/ 37 h 54"/>
              <a:gd name="T52" fmla="*/ 37 w 43"/>
              <a:gd name="T53" fmla="*/ 36 h 54"/>
              <a:gd name="T54" fmla="*/ 42 w 43"/>
              <a:gd name="T55" fmla="*/ 37 h 54"/>
              <a:gd name="T56" fmla="*/ 42 w 43"/>
              <a:gd name="T57" fmla="*/ 35 h 54"/>
              <a:gd name="T58" fmla="*/ 42 w 43"/>
              <a:gd name="T59" fmla="*/ 35 h 54"/>
              <a:gd name="T60" fmla="*/ 42 w 43"/>
              <a:gd name="T61" fmla="*/ 30 h 54"/>
              <a:gd name="T62" fmla="*/ 37 w 43"/>
              <a:gd name="T63" fmla="*/ 26 h 54"/>
              <a:gd name="T64" fmla="*/ 34 w 43"/>
              <a:gd name="T65" fmla="*/ 13 h 54"/>
              <a:gd name="T66" fmla="*/ 34 w 43"/>
              <a:gd name="T67" fmla="*/ 12 h 54"/>
              <a:gd name="T68" fmla="*/ 33 w 43"/>
              <a:gd name="T69" fmla="*/ 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3" h="54">
                <a:moveTo>
                  <a:pt x="33" y="9"/>
                </a:moveTo>
                <a:cubicBezTo>
                  <a:pt x="32" y="9"/>
                  <a:pt x="31" y="9"/>
                  <a:pt x="31" y="9"/>
                </a:cubicBezTo>
                <a:cubicBezTo>
                  <a:pt x="29" y="9"/>
                  <a:pt x="28" y="9"/>
                  <a:pt x="28" y="8"/>
                </a:cubicBezTo>
                <a:cubicBezTo>
                  <a:pt x="27" y="8"/>
                  <a:pt x="26" y="8"/>
                  <a:pt x="25" y="7"/>
                </a:cubicBezTo>
                <a:cubicBezTo>
                  <a:pt x="23" y="7"/>
                  <a:pt x="21" y="5"/>
                  <a:pt x="19" y="4"/>
                </a:cubicBezTo>
                <a:cubicBezTo>
                  <a:pt x="17" y="3"/>
                  <a:pt x="15" y="2"/>
                  <a:pt x="14" y="1"/>
                </a:cubicBezTo>
                <a:cubicBezTo>
                  <a:pt x="12" y="1"/>
                  <a:pt x="11" y="0"/>
                  <a:pt x="10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9" y="1"/>
                  <a:pt x="9" y="2"/>
                  <a:pt x="6" y="2"/>
                </a:cubicBezTo>
                <a:cubicBezTo>
                  <a:pt x="4" y="2"/>
                  <a:pt x="3" y="2"/>
                  <a:pt x="3" y="2"/>
                </a:cubicBezTo>
                <a:cubicBezTo>
                  <a:pt x="2" y="2"/>
                  <a:pt x="2" y="2"/>
                  <a:pt x="1" y="2"/>
                </a:cubicBezTo>
                <a:cubicBezTo>
                  <a:pt x="0" y="3"/>
                  <a:pt x="0" y="4"/>
                  <a:pt x="0" y="4"/>
                </a:cubicBezTo>
                <a:cubicBezTo>
                  <a:pt x="0" y="4"/>
                  <a:pt x="0" y="4"/>
                  <a:pt x="0" y="5"/>
                </a:cubicBezTo>
                <a:cubicBezTo>
                  <a:pt x="2" y="5"/>
                  <a:pt x="3" y="6"/>
                  <a:pt x="4" y="7"/>
                </a:cubicBezTo>
                <a:cubicBezTo>
                  <a:pt x="5" y="8"/>
                  <a:pt x="6" y="9"/>
                  <a:pt x="6" y="11"/>
                </a:cubicBezTo>
                <a:cubicBezTo>
                  <a:pt x="7" y="12"/>
                  <a:pt x="7" y="13"/>
                  <a:pt x="8" y="14"/>
                </a:cubicBezTo>
                <a:cubicBezTo>
                  <a:pt x="8" y="15"/>
                  <a:pt x="9" y="15"/>
                  <a:pt x="9" y="16"/>
                </a:cubicBezTo>
                <a:cubicBezTo>
                  <a:pt x="9" y="16"/>
                  <a:pt x="9" y="16"/>
                  <a:pt x="9" y="16"/>
                </a:cubicBezTo>
                <a:cubicBezTo>
                  <a:pt x="10" y="16"/>
                  <a:pt x="10" y="17"/>
                  <a:pt x="11" y="18"/>
                </a:cubicBezTo>
                <a:cubicBezTo>
                  <a:pt x="11" y="19"/>
                  <a:pt x="11" y="19"/>
                  <a:pt x="12" y="20"/>
                </a:cubicBezTo>
                <a:cubicBezTo>
                  <a:pt x="12" y="21"/>
                  <a:pt x="13" y="22"/>
                  <a:pt x="14" y="23"/>
                </a:cubicBezTo>
                <a:cubicBezTo>
                  <a:pt x="16" y="24"/>
                  <a:pt x="17" y="25"/>
                  <a:pt x="18" y="26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26"/>
                  <a:pt x="18" y="27"/>
                  <a:pt x="19" y="27"/>
                </a:cubicBezTo>
                <a:cubicBezTo>
                  <a:pt x="19" y="27"/>
                  <a:pt x="19" y="28"/>
                  <a:pt x="19" y="28"/>
                </a:cubicBezTo>
                <a:cubicBezTo>
                  <a:pt x="19" y="28"/>
                  <a:pt x="19" y="28"/>
                  <a:pt x="19" y="28"/>
                </a:cubicBezTo>
                <a:cubicBezTo>
                  <a:pt x="19" y="28"/>
                  <a:pt x="19" y="28"/>
                  <a:pt x="19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20" y="30"/>
                  <a:pt x="20" y="31"/>
                  <a:pt x="21" y="32"/>
                </a:cubicBezTo>
                <a:cubicBezTo>
                  <a:pt x="21" y="33"/>
                  <a:pt x="21" y="33"/>
                  <a:pt x="21" y="34"/>
                </a:cubicBezTo>
                <a:cubicBezTo>
                  <a:pt x="21" y="35"/>
                  <a:pt x="21" y="37"/>
                  <a:pt x="21" y="38"/>
                </a:cubicBezTo>
                <a:cubicBezTo>
                  <a:pt x="21" y="38"/>
                  <a:pt x="21" y="38"/>
                  <a:pt x="21" y="38"/>
                </a:cubicBezTo>
                <a:cubicBezTo>
                  <a:pt x="21" y="39"/>
                  <a:pt x="21" y="40"/>
                  <a:pt x="20" y="41"/>
                </a:cubicBezTo>
                <a:cubicBezTo>
                  <a:pt x="20" y="41"/>
                  <a:pt x="20" y="42"/>
                  <a:pt x="20" y="42"/>
                </a:cubicBezTo>
                <a:cubicBezTo>
                  <a:pt x="20" y="42"/>
                  <a:pt x="19" y="45"/>
                  <a:pt x="19" y="47"/>
                </a:cubicBezTo>
                <a:cubicBezTo>
                  <a:pt x="19" y="49"/>
                  <a:pt x="19" y="51"/>
                  <a:pt x="19" y="51"/>
                </a:cubicBezTo>
                <a:cubicBezTo>
                  <a:pt x="19" y="52"/>
                  <a:pt x="19" y="53"/>
                  <a:pt x="20" y="54"/>
                </a:cubicBezTo>
                <a:cubicBezTo>
                  <a:pt x="20" y="54"/>
                  <a:pt x="21" y="54"/>
                  <a:pt x="22" y="53"/>
                </a:cubicBezTo>
                <a:cubicBezTo>
                  <a:pt x="22" y="53"/>
                  <a:pt x="22" y="53"/>
                  <a:pt x="22" y="53"/>
                </a:cubicBezTo>
                <a:cubicBezTo>
                  <a:pt x="22" y="53"/>
                  <a:pt x="22" y="53"/>
                  <a:pt x="23" y="53"/>
                </a:cubicBezTo>
                <a:cubicBezTo>
                  <a:pt x="23" y="53"/>
                  <a:pt x="24" y="52"/>
                  <a:pt x="24" y="51"/>
                </a:cubicBezTo>
                <a:cubicBezTo>
                  <a:pt x="24" y="50"/>
                  <a:pt x="24" y="50"/>
                  <a:pt x="25" y="49"/>
                </a:cubicBezTo>
                <a:cubicBezTo>
                  <a:pt x="25" y="49"/>
                  <a:pt x="26" y="48"/>
                  <a:pt x="26" y="48"/>
                </a:cubicBezTo>
                <a:cubicBezTo>
                  <a:pt x="26" y="48"/>
                  <a:pt x="26" y="48"/>
                  <a:pt x="26" y="48"/>
                </a:cubicBezTo>
                <a:cubicBezTo>
                  <a:pt x="27" y="47"/>
                  <a:pt x="27" y="47"/>
                  <a:pt x="27" y="47"/>
                </a:cubicBezTo>
                <a:cubicBezTo>
                  <a:pt x="28" y="46"/>
                  <a:pt x="28" y="45"/>
                  <a:pt x="29" y="44"/>
                </a:cubicBezTo>
                <a:cubicBezTo>
                  <a:pt x="29" y="44"/>
                  <a:pt x="30" y="44"/>
                  <a:pt x="30" y="43"/>
                </a:cubicBezTo>
                <a:cubicBezTo>
                  <a:pt x="30" y="43"/>
                  <a:pt x="30" y="42"/>
                  <a:pt x="30" y="42"/>
                </a:cubicBezTo>
                <a:cubicBezTo>
                  <a:pt x="30" y="40"/>
                  <a:pt x="30" y="39"/>
                  <a:pt x="31" y="38"/>
                </a:cubicBezTo>
                <a:cubicBezTo>
                  <a:pt x="32" y="37"/>
                  <a:pt x="33" y="37"/>
                  <a:pt x="34" y="38"/>
                </a:cubicBezTo>
                <a:cubicBezTo>
                  <a:pt x="34" y="38"/>
                  <a:pt x="35" y="38"/>
                  <a:pt x="35" y="38"/>
                </a:cubicBezTo>
                <a:cubicBezTo>
                  <a:pt x="36" y="38"/>
                  <a:pt x="36" y="37"/>
                  <a:pt x="36" y="37"/>
                </a:cubicBezTo>
                <a:cubicBezTo>
                  <a:pt x="37" y="37"/>
                  <a:pt x="37" y="37"/>
                  <a:pt x="37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8" y="36"/>
                  <a:pt x="39" y="37"/>
                  <a:pt x="40" y="37"/>
                </a:cubicBezTo>
                <a:cubicBezTo>
                  <a:pt x="41" y="37"/>
                  <a:pt x="41" y="38"/>
                  <a:pt x="42" y="37"/>
                </a:cubicBezTo>
                <a:cubicBezTo>
                  <a:pt x="42" y="37"/>
                  <a:pt x="42" y="37"/>
                  <a:pt x="42" y="35"/>
                </a:cubicBezTo>
                <a:cubicBezTo>
                  <a:pt x="42" y="35"/>
                  <a:pt x="42" y="35"/>
                  <a:pt x="42" y="35"/>
                </a:cubicBezTo>
                <a:cubicBezTo>
                  <a:pt x="42" y="35"/>
                  <a:pt x="42" y="35"/>
                  <a:pt x="42" y="35"/>
                </a:cubicBezTo>
                <a:cubicBezTo>
                  <a:pt x="42" y="35"/>
                  <a:pt x="42" y="35"/>
                  <a:pt x="42" y="35"/>
                </a:cubicBezTo>
                <a:cubicBezTo>
                  <a:pt x="42" y="34"/>
                  <a:pt x="43" y="33"/>
                  <a:pt x="43" y="33"/>
                </a:cubicBezTo>
                <a:cubicBezTo>
                  <a:pt x="43" y="32"/>
                  <a:pt x="43" y="31"/>
                  <a:pt x="42" y="30"/>
                </a:cubicBezTo>
                <a:cubicBezTo>
                  <a:pt x="41" y="29"/>
                  <a:pt x="41" y="29"/>
                  <a:pt x="40" y="28"/>
                </a:cubicBezTo>
                <a:cubicBezTo>
                  <a:pt x="39" y="27"/>
                  <a:pt x="38" y="27"/>
                  <a:pt x="37" y="26"/>
                </a:cubicBezTo>
                <a:cubicBezTo>
                  <a:pt x="37" y="25"/>
                  <a:pt x="36" y="21"/>
                  <a:pt x="35" y="18"/>
                </a:cubicBezTo>
                <a:cubicBezTo>
                  <a:pt x="35" y="16"/>
                  <a:pt x="34" y="14"/>
                  <a:pt x="34" y="13"/>
                </a:cubicBezTo>
                <a:cubicBezTo>
                  <a:pt x="34" y="13"/>
                  <a:pt x="34" y="13"/>
                  <a:pt x="34" y="13"/>
                </a:cubicBezTo>
                <a:cubicBezTo>
                  <a:pt x="34" y="12"/>
                  <a:pt x="34" y="12"/>
                  <a:pt x="34" y="12"/>
                </a:cubicBezTo>
                <a:cubicBezTo>
                  <a:pt x="34" y="12"/>
                  <a:pt x="34" y="12"/>
                  <a:pt x="34" y="12"/>
                </a:cubicBezTo>
                <a:cubicBezTo>
                  <a:pt x="34" y="11"/>
                  <a:pt x="34" y="10"/>
                  <a:pt x="33" y="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7" name="Freeform 34"/>
          <p:cNvSpPr>
            <a:spLocks/>
          </p:cNvSpPr>
          <p:nvPr/>
        </p:nvSpPr>
        <p:spPr bwMode="auto">
          <a:xfrm>
            <a:off x="3364037" y="3735388"/>
            <a:ext cx="762000" cy="314325"/>
          </a:xfrm>
          <a:custGeom>
            <a:avLst/>
            <a:gdLst>
              <a:gd name="T0" fmla="*/ 42 w 80"/>
              <a:gd name="T1" fmla="*/ 4 h 33"/>
              <a:gd name="T2" fmla="*/ 40 w 80"/>
              <a:gd name="T3" fmla="*/ 3 h 33"/>
              <a:gd name="T4" fmla="*/ 38 w 80"/>
              <a:gd name="T5" fmla="*/ 1 h 33"/>
              <a:gd name="T6" fmla="*/ 38 w 80"/>
              <a:gd name="T7" fmla="*/ 0 h 33"/>
              <a:gd name="T8" fmla="*/ 33 w 80"/>
              <a:gd name="T9" fmla="*/ 3 h 33"/>
              <a:gd name="T10" fmla="*/ 28 w 80"/>
              <a:gd name="T11" fmla="*/ 1 h 33"/>
              <a:gd name="T12" fmla="*/ 26 w 80"/>
              <a:gd name="T13" fmla="*/ 2 h 33"/>
              <a:gd name="T14" fmla="*/ 20 w 80"/>
              <a:gd name="T15" fmla="*/ 5 h 33"/>
              <a:gd name="T16" fmla="*/ 18 w 80"/>
              <a:gd name="T17" fmla="*/ 9 h 33"/>
              <a:gd name="T18" fmla="*/ 15 w 80"/>
              <a:gd name="T19" fmla="*/ 12 h 33"/>
              <a:gd name="T20" fmla="*/ 5 w 80"/>
              <a:gd name="T21" fmla="*/ 13 h 33"/>
              <a:gd name="T22" fmla="*/ 4 w 80"/>
              <a:gd name="T23" fmla="*/ 13 h 33"/>
              <a:gd name="T24" fmla="*/ 1 w 80"/>
              <a:gd name="T25" fmla="*/ 17 h 33"/>
              <a:gd name="T26" fmla="*/ 0 w 80"/>
              <a:gd name="T27" fmla="*/ 21 h 33"/>
              <a:gd name="T28" fmla="*/ 1 w 80"/>
              <a:gd name="T29" fmla="*/ 23 h 33"/>
              <a:gd name="T30" fmla="*/ 2 w 80"/>
              <a:gd name="T31" fmla="*/ 24 h 33"/>
              <a:gd name="T32" fmla="*/ 4 w 80"/>
              <a:gd name="T33" fmla="*/ 26 h 33"/>
              <a:gd name="T34" fmla="*/ 10 w 80"/>
              <a:gd name="T35" fmla="*/ 30 h 33"/>
              <a:gd name="T36" fmla="*/ 15 w 80"/>
              <a:gd name="T37" fmla="*/ 33 h 33"/>
              <a:gd name="T38" fmla="*/ 27 w 80"/>
              <a:gd name="T39" fmla="*/ 32 h 33"/>
              <a:gd name="T40" fmla="*/ 27 w 80"/>
              <a:gd name="T41" fmla="*/ 30 h 33"/>
              <a:gd name="T42" fmla="*/ 30 w 80"/>
              <a:gd name="T43" fmla="*/ 27 h 33"/>
              <a:gd name="T44" fmla="*/ 38 w 80"/>
              <a:gd name="T45" fmla="*/ 24 h 33"/>
              <a:gd name="T46" fmla="*/ 45 w 80"/>
              <a:gd name="T47" fmla="*/ 25 h 33"/>
              <a:gd name="T48" fmla="*/ 52 w 80"/>
              <a:gd name="T49" fmla="*/ 20 h 33"/>
              <a:gd name="T50" fmla="*/ 56 w 80"/>
              <a:gd name="T51" fmla="*/ 18 h 33"/>
              <a:gd name="T52" fmla="*/ 65 w 80"/>
              <a:gd name="T53" fmla="*/ 18 h 33"/>
              <a:gd name="T54" fmla="*/ 70 w 80"/>
              <a:gd name="T55" fmla="*/ 21 h 33"/>
              <a:gd name="T56" fmla="*/ 76 w 80"/>
              <a:gd name="T57" fmla="*/ 20 h 33"/>
              <a:gd name="T58" fmla="*/ 76 w 80"/>
              <a:gd name="T59" fmla="*/ 17 h 33"/>
              <a:gd name="T60" fmla="*/ 77 w 80"/>
              <a:gd name="T61" fmla="*/ 15 h 33"/>
              <a:gd name="T62" fmla="*/ 76 w 80"/>
              <a:gd name="T63" fmla="*/ 7 h 33"/>
              <a:gd name="T64" fmla="*/ 74 w 80"/>
              <a:gd name="T65" fmla="*/ 6 h 33"/>
              <a:gd name="T66" fmla="*/ 67 w 80"/>
              <a:gd name="T67" fmla="*/ 3 h 33"/>
              <a:gd name="T68" fmla="*/ 62 w 80"/>
              <a:gd name="T69" fmla="*/ 4 h 33"/>
              <a:gd name="T70" fmla="*/ 55 w 80"/>
              <a:gd name="T71" fmla="*/ 4 h 33"/>
              <a:gd name="T72" fmla="*/ 49 w 80"/>
              <a:gd name="T73" fmla="*/ 4 h 33"/>
              <a:gd name="T74" fmla="*/ 41 w 80"/>
              <a:gd name="T75" fmla="*/ 4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0" h="33">
                <a:moveTo>
                  <a:pt x="42" y="4"/>
                </a:moveTo>
                <a:cubicBezTo>
                  <a:pt x="42" y="4"/>
                  <a:pt x="42" y="4"/>
                  <a:pt x="42" y="4"/>
                </a:cubicBezTo>
                <a:cubicBezTo>
                  <a:pt x="42" y="3"/>
                  <a:pt x="42" y="3"/>
                  <a:pt x="42" y="3"/>
                </a:cubicBezTo>
                <a:cubicBezTo>
                  <a:pt x="41" y="3"/>
                  <a:pt x="41" y="3"/>
                  <a:pt x="40" y="3"/>
                </a:cubicBezTo>
                <a:cubicBezTo>
                  <a:pt x="39" y="3"/>
                  <a:pt x="39" y="3"/>
                  <a:pt x="38" y="2"/>
                </a:cubicBezTo>
                <a:cubicBezTo>
                  <a:pt x="38" y="2"/>
                  <a:pt x="38" y="1"/>
                  <a:pt x="38" y="1"/>
                </a:cubicBezTo>
                <a:cubicBezTo>
                  <a:pt x="38" y="1"/>
                  <a:pt x="38" y="0"/>
                  <a:pt x="38" y="0"/>
                </a:cubicBezTo>
                <a:cubicBezTo>
                  <a:pt x="38" y="0"/>
                  <a:pt x="38" y="0"/>
                  <a:pt x="38" y="0"/>
                </a:cubicBezTo>
                <a:cubicBezTo>
                  <a:pt x="37" y="0"/>
                  <a:pt x="37" y="1"/>
                  <a:pt x="36" y="1"/>
                </a:cubicBezTo>
                <a:cubicBezTo>
                  <a:pt x="35" y="2"/>
                  <a:pt x="34" y="3"/>
                  <a:pt x="33" y="3"/>
                </a:cubicBezTo>
                <a:cubicBezTo>
                  <a:pt x="33" y="3"/>
                  <a:pt x="33" y="3"/>
                  <a:pt x="33" y="3"/>
                </a:cubicBezTo>
                <a:cubicBezTo>
                  <a:pt x="31" y="2"/>
                  <a:pt x="29" y="2"/>
                  <a:pt x="28" y="1"/>
                </a:cubicBezTo>
                <a:cubicBezTo>
                  <a:pt x="28" y="1"/>
                  <a:pt x="28" y="1"/>
                  <a:pt x="28" y="0"/>
                </a:cubicBezTo>
                <a:cubicBezTo>
                  <a:pt x="28" y="1"/>
                  <a:pt x="26" y="2"/>
                  <a:pt x="26" y="2"/>
                </a:cubicBezTo>
                <a:cubicBezTo>
                  <a:pt x="26" y="2"/>
                  <a:pt x="25" y="2"/>
                  <a:pt x="24" y="3"/>
                </a:cubicBezTo>
                <a:cubicBezTo>
                  <a:pt x="23" y="4"/>
                  <a:pt x="21" y="5"/>
                  <a:pt x="20" y="5"/>
                </a:cubicBezTo>
                <a:cubicBezTo>
                  <a:pt x="18" y="6"/>
                  <a:pt x="18" y="8"/>
                  <a:pt x="18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18" y="10"/>
                  <a:pt x="16" y="11"/>
                  <a:pt x="15" y="12"/>
                </a:cubicBezTo>
                <a:cubicBezTo>
                  <a:pt x="12" y="13"/>
                  <a:pt x="10" y="14"/>
                  <a:pt x="9" y="14"/>
                </a:cubicBezTo>
                <a:cubicBezTo>
                  <a:pt x="8" y="14"/>
                  <a:pt x="7" y="14"/>
                  <a:pt x="5" y="13"/>
                </a:cubicBezTo>
                <a:cubicBezTo>
                  <a:pt x="5" y="13"/>
                  <a:pt x="4" y="13"/>
                  <a:pt x="4" y="13"/>
                </a:cubicBezTo>
                <a:cubicBezTo>
                  <a:pt x="4" y="13"/>
                  <a:pt x="4" y="13"/>
                  <a:pt x="4" y="13"/>
                </a:cubicBezTo>
                <a:cubicBezTo>
                  <a:pt x="4" y="13"/>
                  <a:pt x="3" y="14"/>
                  <a:pt x="3" y="15"/>
                </a:cubicBezTo>
                <a:cubicBezTo>
                  <a:pt x="2" y="15"/>
                  <a:pt x="1" y="16"/>
                  <a:pt x="1" y="17"/>
                </a:cubicBezTo>
                <a:cubicBezTo>
                  <a:pt x="1" y="17"/>
                  <a:pt x="1" y="19"/>
                  <a:pt x="1" y="2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2"/>
                  <a:pt x="0" y="22"/>
                  <a:pt x="1" y="22"/>
                </a:cubicBezTo>
                <a:cubicBezTo>
                  <a:pt x="1" y="22"/>
                  <a:pt x="1" y="22"/>
                  <a:pt x="1" y="23"/>
                </a:cubicBezTo>
                <a:cubicBezTo>
                  <a:pt x="2" y="23"/>
                  <a:pt x="2" y="23"/>
                  <a:pt x="2" y="24"/>
                </a:cubicBezTo>
                <a:cubicBezTo>
                  <a:pt x="2" y="24"/>
                  <a:pt x="2" y="24"/>
                  <a:pt x="2" y="24"/>
                </a:cubicBezTo>
                <a:cubicBezTo>
                  <a:pt x="2" y="25"/>
                  <a:pt x="3" y="26"/>
                  <a:pt x="3" y="26"/>
                </a:cubicBezTo>
                <a:cubicBezTo>
                  <a:pt x="3" y="26"/>
                  <a:pt x="3" y="26"/>
                  <a:pt x="4" y="26"/>
                </a:cubicBezTo>
                <a:cubicBezTo>
                  <a:pt x="4" y="27"/>
                  <a:pt x="5" y="28"/>
                  <a:pt x="5" y="28"/>
                </a:cubicBezTo>
                <a:cubicBezTo>
                  <a:pt x="6" y="28"/>
                  <a:pt x="8" y="29"/>
                  <a:pt x="10" y="30"/>
                </a:cubicBezTo>
                <a:cubicBezTo>
                  <a:pt x="10" y="30"/>
                  <a:pt x="10" y="30"/>
                  <a:pt x="10" y="30"/>
                </a:cubicBezTo>
                <a:cubicBezTo>
                  <a:pt x="12" y="32"/>
                  <a:pt x="14" y="33"/>
                  <a:pt x="15" y="33"/>
                </a:cubicBezTo>
                <a:cubicBezTo>
                  <a:pt x="15" y="33"/>
                  <a:pt x="17" y="33"/>
                  <a:pt x="20" y="33"/>
                </a:cubicBezTo>
                <a:cubicBezTo>
                  <a:pt x="23" y="33"/>
                  <a:pt x="26" y="32"/>
                  <a:pt x="27" y="32"/>
                </a:cubicBezTo>
                <a:cubicBezTo>
                  <a:pt x="27" y="32"/>
                  <a:pt x="27" y="30"/>
                  <a:pt x="27" y="30"/>
                </a:cubicBezTo>
                <a:cubicBezTo>
                  <a:pt x="27" y="30"/>
                  <a:pt x="27" y="30"/>
                  <a:pt x="27" y="30"/>
                </a:cubicBezTo>
                <a:cubicBezTo>
                  <a:pt x="27" y="29"/>
                  <a:pt x="27" y="29"/>
                  <a:pt x="27" y="29"/>
                </a:cubicBezTo>
                <a:cubicBezTo>
                  <a:pt x="27" y="29"/>
                  <a:pt x="30" y="27"/>
                  <a:pt x="30" y="27"/>
                </a:cubicBezTo>
                <a:cubicBezTo>
                  <a:pt x="31" y="26"/>
                  <a:pt x="37" y="25"/>
                  <a:pt x="38" y="24"/>
                </a:cubicBezTo>
                <a:cubicBezTo>
                  <a:pt x="38" y="24"/>
                  <a:pt x="38" y="24"/>
                  <a:pt x="38" y="24"/>
                </a:cubicBezTo>
                <a:cubicBezTo>
                  <a:pt x="39" y="24"/>
                  <a:pt x="40" y="24"/>
                  <a:pt x="41" y="25"/>
                </a:cubicBezTo>
                <a:cubicBezTo>
                  <a:pt x="42" y="25"/>
                  <a:pt x="44" y="25"/>
                  <a:pt x="45" y="25"/>
                </a:cubicBezTo>
                <a:cubicBezTo>
                  <a:pt x="46" y="25"/>
                  <a:pt x="48" y="23"/>
                  <a:pt x="50" y="21"/>
                </a:cubicBezTo>
                <a:cubicBezTo>
                  <a:pt x="51" y="21"/>
                  <a:pt x="51" y="20"/>
                  <a:pt x="52" y="20"/>
                </a:cubicBezTo>
                <a:cubicBezTo>
                  <a:pt x="52" y="20"/>
                  <a:pt x="53" y="19"/>
                  <a:pt x="54" y="19"/>
                </a:cubicBezTo>
                <a:cubicBezTo>
                  <a:pt x="55" y="18"/>
                  <a:pt x="56" y="18"/>
                  <a:pt x="56" y="18"/>
                </a:cubicBezTo>
                <a:cubicBezTo>
                  <a:pt x="57" y="18"/>
                  <a:pt x="58" y="18"/>
                  <a:pt x="60" y="18"/>
                </a:cubicBezTo>
                <a:cubicBezTo>
                  <a:pt x="62" y="18"/>
                  <a:pt x="64" y="18"/>
                  <a:pt x="65" y="18"/>
                </a:cubicBezTo>
                <a:cubicBezTo>
                  <a:pt x="67" y="18"/>
                  <a:pt x="67" y="19"/>
                  <a:pt x="68" y="20"/>
                </a:cubicBezTo>
                <a:cubicBezTo>
                  <a:pt x="68" y="20"/>
                  <a:pt x="69" y="21"/>
                  <a:pt x="70" y="21"/>
                </a:cubicBezTo>
                <a:cubicBezTo>
                  <a:pt x="71" y="22"/>
                  <a:pt x="73" y="21"/>
                  <a:pt x="74" y="20"/>
                </a:cubicBezTo>
                <a:cubicBezTo>
                  <a:pt x="75" y="20"/>
                  <a:pt x="75" y="20"/>
                  <a:pt x="76" y="20"/>
                </a:cubicBezTo>
                <a:cubicBezTo>
                  <a:pt x="76" y="20"/>
                  <a:pt x="75" y="19"/>
                  <a:pt x="75" y="19"/>
                </a:cubicBezTo>
                <a:cubicBezTo>
                  <a:pt x="75" y="18"/>
                  <a:pt x="76" y="17"/>
                  <a:pt x="76" y="17"/>
                </a:cubicBezTo>
                <a:cubicBezTo>
                  <a:pt x="76" y="16"/>
                  <a:pt x="76" y="16"/>
                  <a:pt x="77" y="15"/>
                </a:cubicBezTo>
                <a:cubicBezTo>
                  <a:pt x="77" y="15"/>
                  <a:pt x="77" y="15"/>
                  <a:pt x="77" y="15"/>
                </a:cubicBezTo>
                <a:cubicBezTo>
                  <a:pt x="77" y="14"/>
                  <a:pt x="79" y="10"/>
                  <a:pt x="80" y="9"/>
                </a:cubicBezTo>
                <a:cubicBezTo>
                  <a:pt x="79" y="9"/>
                  <a:pt x="77" y="8"/>
                  <a:pt x="76" y="7"/>
                </a:cubicBezTo>
                <a:cubicBezTo>
                  <a:pt x="76" y="7"/>
                  <a:pt x="76" y="7"/>
                  <a:pt x="76" y="7"/>
                </a:cubicBezTo>
                <a:cubicBezTo>
                  <a:pt x="75" y="7"/>
                  <a:pt x="75" y="6"/>
                  <a:pt x="74" y="6"/>
                </a:cubicBezTo>
                <a:cubicBezTo>
                  <a:pt x="72" y="5"/>
                  <a:pt x="71" y="4"/>
                  <a:pt x="70" y="4"/>
                </a:cubicBezTo>
                <a:cubicBezTo>
                  <a:pt x="69" y="4"/>
                  <a:pt x="68" y="3"/>
                  <a:pt x="67" y="3"/>
                </a:cubicBezTo>
                <a:cubicBezTo>
                  <a:pt x="66" y="3"/>
                  <a:pt x="65" y="3"/>
                  <a:pt x="64" y="3"/>
                </a:cubicBezTo>
                <a:cubicBezTo>
                  <a:pt x="64" y="3"/>
                  <a:pt x="63" y="3"/>
                  <a:pt x="62" y="4"/>
                </a:cubicBezTo>
                <a:cubicBezTo>
                  <a:pt x="61" y="4"/>
                  <a:pt x="59" y="5"/>
                  <a:pt x="58" y="4"/>
                </a:cubicBezTo>
                <a:cubicBezTo>
                  <a:pt x="58" y="4"/>
                  <a:pt x="57" y="4"/>
                  <a:pt x="55" y="4"/>
                </a:cubicBezTo>
                <a:cubicBezTo>
                  <a:pt x="54" y="3"/>
                  <a:pt x="52" y="3"/>
                  <a:pt x="52" y="3"/>
                </a:cubicBezTo>
                <a:cubicBezTo>
                  <a:pt x="52" y="3"/>
                  <a:pt x="50" y="4"/>
                  <a:pt x="49" y="4"/>
                </a:cubicBezTo>
                <a:cubicBezTo>
                  <a:pt x="46" y="6"/>
                  <a:pt x="43" y="8"/>
                  <a:pt x="42" y="7"/>
                </a:cubicBezTo>
                <a:cubicBezTo>
                  <a:pt x="41" y="7"/>
                  <a:pt x="41" y="6"/>
                  <a:pt x="41" y="4"/>
                </a:cubicBezTo>
                <a:cubicBezTo>
                  <a:pt x="42" y="4"/>
                  <a:pt x="42" y="4"/>
                  <a:pt x="42" y="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8" name="Freeform 35"/>
          <p:cNvSpPr>
            <a:spLocks/>
          </p:cNvSpPr>
          <p:nvPr/>
        </p:nvSpPr>
        <p:spPr bwMode="auto">
          <a:xfrm>
            <a:off x="4097462" y="3221038"/>
            <a:ext cx="2438400" cy="1420813"/>
          </a:xfrm>
          <a:custGeom>
            <a:avLst/>
            <a:gdLst>
              <a:gd name="T0" fmla="*/ 120 w 256"/>
              <a:gd name="T1" fmla="*/ 22 h 149"/>
              <a:gd name="T2" fmla="*/ 103 w 256"/>
              <a:gd name="T3" fmla="*/ 20 h 149"/>
              <a:gd name="T4" fmla="*/ 95 w 256"/>
              <a:gd name="T5" fmla="*/ 17 h 149"/>
              <a:gd name="T6" fmla="*/ 83 w 256"/>
              <a:gd name="T7" fmla="*/ 15 h 149"/>
              <a:gd name="T8" fmla="*/ 73 w 256"/>
              <a:gd name="T9" fmla="*/ 14 h 149"/>
              <a:gd name="T10" fmla="*/ 32 w 256"/>
              <a:gd name="T11" fmla="*/ 10 h 149"/>
              <a:gd name="T12" fmla="*/ 24 w 256"/>
              <a:gd name="T13" fmla="*/ 24 h 149"/>
              <a:gd name="T14" fmla="*/ 26 w 256"/>
              <a:gd name="T15" fmla="*/ 31 h 149"/>
              <a:gd name="T16" fmla="*/ 21 w 256"/>
              <a:gd name="T17" fmla="*/ 41 h 149"/>
              <a:gd name="T18" fmla="*/ 8 w 256"/>
              <a:gd name="T19" fmla="*/ 58 h 149"/>
              <a:gd name="T20" fmla="*/ 4 w 256"/>
              <a:gd name="T21" fmla="*/ 64 h 149"/>
              <a:gd name="T22" fmla="*/ 0 w 256"/>
              <a:gd name="T23" fmla="*/ 75 h 149"/>
              <a:gd name="T24" fmla="*/ 13 w 256"/>
              <a:gd name="T25" fmla="*/ 80 h 149"/>
              <a:gd name="T26" fmla="*/ 28 w 256"/>
              <a:gd name="T27" fmla="*/ 82 h 149"/>
              <a:gd name="T28" fmla="*/ 44 w 256"/>
              <a:gd name="T29" fmla="*/ 83 h 149"/>
              <a:gd name="T30" fmla="*/ 63 w 256"/>
              <a:gd name="T31" fmla="*/ 78 h 149"/>
              <a:gd name="T32" fmla="*/ 75 w 256"/>
              <a:gd name="T33" fmla="*/ 74 h 149"/>
              <a:gd name="T34" fmla="*/ 94 w 256"/>
              <a:gd name="T35" fmla="*/ 81 h 149"/>
              <a:gd name="T36" fmla="*/ 101 w 256"/>
              <a:gd name="T37" fmla="*/ 87 h 149"/>
              <a:gd name="T38" fmla="*/ 109 w 256"/>
              <a:gd name="T39" fmla="*/ 103 h 149"/>
              <a:gd name="T40" fmla="*/ 108 w 256"/>
              <a:gd name="T41" fmla="*/ 113 h 149"/>
              <a:gd name="T42" fmla="*/ 101 w 256"/>
              <a:gd name="T43" fmla="*/ 113 h 149"/>
              <a:gd name="T44" fmla="*/ 96 w 256"/>
              <a:gd name="T45" fmla="*/ 120 h 149"/>
              <a:gd name="T46" fmla="*/ 91 w 256"/>
              <a:gd name="T47" fmla="*/ 125 h 149"/>
              <a:gd name="T48" fmla="*/ 90 w 256"/>
              <a:gd name="T49" fmla="*/ 131 h 149"/>
              <a:gd name="T50" fmla="*/ 106 w 256"/>
              <a:gd name="T51" fmla="*/ 130 h 149"/>
              <a:gd name="T52" fmla="*/ 107 w 256"/>
              <a:gd name="T53" fmla="*/ 124 h 149"/>
              <a:gd name="T54" fmla="*/ 114 w 256"/>
              <a:gd name="T55" fmla="*/ 111 h 149"/>
              <a:gd name="T56" fmla="*/ 131 w 256"/>
              <a:gd name="T57" fmla="*/ 107 h 149"/>
              <a:gd name="T58" fmla="*/ 136 w 256"/>
              <a:gd name="T59" fmla="*/ 98 h 149"/>
              <a:gd name="T60" fmla="*/ 149 w 256"/>
              <a:gd name="T61" fmla="*/ 108 h 149"/>
              <a:gd name="T62" fmla="*/ 134 w 256"/>
              <a:gd name="T63" fmla="*/ 114 h 149"/>
              <a:gd name="T64" fmla="*/ 159 w 256"/>
              <a:gd name="T65" fmla="*/ 118 h 149"/>
              <a:gd name="T66" fmla="*/ 151 w 256"/>
              <a:gd name="T67" fmla="*/ 127 h 149"/>
              <a:gd name="T68" fmla="*/ 164 w 256"/>
              <a:gd name="T69" fmla="*/ 139 h 149"/>
              <a:gd name="T70" fmla="*/ 183 w 256"/>
              <a:gd name="T71" fmla="*/ 139 h 149"/>
              <a:gd name="T72" fmla="*/ 204 w 256"/>
              <a:gd name="T73" fmla="*/ 130 h 149"/>
              <a:gd name="T74" fmla="*/ 184 w 256"/>
              <a:gd name="T75" fmla="*/ 129 h 149"/>
              <a:gd name="T76" fmla="*/ 170 w 256"/>
              <a:gd name="T77" fmla="*/ 119 h 149"/>
              <a:gd name="T78" fmla="*/ 176 w 256"/>
              <a:gd name="T79" fmla="*/ 118 h 149"/>
              <a:gd name="T80" fmla="*/ 186 w 256"/>
              <a:gd name="T81" fmla="*/ 110 h 149"/>
              <a:gd name="T82" fmla="*/ 200 w 256"/>
              <a:gd name="T83" fmla="*/ 106 h 149"/>
              <a:gd name="T84" fmla="*/ 220 w 256"/>
              <a:gd name="T85" fmla="*/ 99 h 149"/>
              <a:gd name="T86" fmla="*/ 230 w 256"/>
              <a:gd name="T87" fmla="*/ 90 h 149"/>
              <a:gd name="T88" fmla="*/ 246 w 256"/>
              <a:gd name="T89" fmla="*/ 85 h 149"/>
              <a:gd name="T90" fmla="*/ 253 w 256"/>
              <a:gd name="T91" fmla="*/ 79 h 149"/>
              <a:gd name="T92" fmla="*/ 251 w 256"/>
              <a:gd name="T93" fmla="*/ 73 h 149"/>
              <a:gd name="T94" fmla="*/ 252 w 256"/>
              <a:gd name="T95" fmla="*/ 68 h 149"/>
              <a:gd name="T96" fmla="*/ 256 w 256"/>
              <a:gd name="T97" fmla="*/ 60 h 149"/>
              <a:gd name="T98" fmla="*/ 246 w 256"/>
              <a:gd name="T99" fmla="*/ 51 h 149"/>
              <a:gd name="T100" fmla="*/ 235 w 256"/>
              <a:gd name="T101" fmla="*/ 46 h 149"/>
              <a:gd name="T102" fmla="*/ 227 w 256"/>
              <a:gd name="T103" fmla="*/ 48 h 149"/>
              <a:gd name="T104" fmla="*/ 201 w 256"/>
              <a:gd name="T105" fmla="*/ 39 h 149"/>
              <a:gd name="T106" fmla="*/ 189 w 256"/>
              <a:gd name="T107" fmla="*/ 37 h 149"/>
              <a:gd name="T108" fmla="*/ 187 w 256"/>
              <a:gd name="T109" fmla="*/ 29 h 149"/>
              <a:gd name="T110" fmla="*/ 176 w 256"/>
              <a:gd name="T111" fmla="*/ 23 h 149"/>
              <a:gd name="T112" fmla="*/ 172 w 256"/>
              <a:gd name="T113" fmla="*/ 17 h 149"/>
              <a:gd name="T114" fmla="*/ 173 w 256"/>
              <a:gd name="T115" fmla="*/ 10 h 149"/>
              <a:gd name="T116" fmla="*/ 170 w 256"/>
              <a:gd name="T117" fmla="*/ 5 h 149"/>
              <a:gd name="T118" fmla="*/ 156 w 256"/>
              <a:gd name="T119" fmla="*/ 2 h 149"/>
              <a:gd name="T120" fmla="*/ 143 w 256"/>
              <a:gd name="T121" fmla="*/ 7 h 149"/>
              <a:gd name="T122" fmla="*/ 126 w 256"/>
              <a:gd name="T123" fmla="*/ 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6" h="149">
                <a:moveTo>
                  <a:pt x="126" y="6"/>
                </a:moveTo>
                <a:cubicBezTo>
                  <a:pt x="126" y="6"/>
                  <a:pt x="124" y="8"/>
                  <a:pt x="123" y="9"/>
                </a:cubicBezTo>
                <a:cubicBezTo>
                  <a:pt x="121" y="12"/>
                  <a:pt x="120" y="14"/>
                  <a:pt x="120" y="14"/>
                </a:cubicBezTo>
                <a:cubicBezTo>
                  <a:pt x="120" y="14"/>
                  <a:pt x="120" y="15"/>
                  <a:pt x="120" y="16"/>
                </a:cubicBezTo>
                <a:cubicBezTo>
                  <a:pt x="121" y="18"/>
                  <a:pt x="122" y="21"/>
                  <a:pt x="120" y="22"/>
                </a:cubicBezTo>
                <a:cubicBezTo>
                  <a:pt x="119" y="22"/>
                  <a:pt x="118" y="21"/>
                  <a:pt x="116" y="20"/>
                </a:cubicBezTo>
                <a:cubicBezTo>
                  <a:pt x="116" y="20"/>
                  <a:pt x="116" y="20"/>
                  <a:pt x="116" y="20"/>
                </a:cubicBezTo>
                <a:cubicBezTo>
                  <a:pt x="115" y="19"/>
                  <a:pt x="114" y="18"/>
                  <a:pt x="114" y="18"/>
                </a:cubicBezTo>
                <a:cubicBezTo>
                  <a:pt x="112" y="18"/>
                  <a:pt x="107" y="19"/>
                  <a:pt x="105" y="20"/>
                </a:cubicBezTo>
                <a:cubicBezTo>
                  <a:pt x="104" y="20"/>
                  <a:pt x="103" y="20"/>
                  <a:pt x="103" y="20"/>
                </a:cubicBezTo>
                <a:cubicBezTo>
                  <a:pt x="103" y="20"/>
                  <a:pt x="103" y="20"/>
                  <a:pt x="103" y="20"/>
                </a:cubicBezTo>
                <a:cubicBezTo>
                  <a:pt x="102" y="20"/>
                  <a:pt x="101" y="19"/>
                  <a:pt x="100" y="17"/>
                </a:cubicBezTo>
                <a:cubicBezTo>
                  <a:pt x="100" y="17"/>
                  <a:pt x="100" y="17"/>
                  <a:pt x="100" y="17"/>
                </a:cubicBezTo>
                <a:cubicBezTo>
                  <a:pt x="100" y="16"/>
                  <a:pt x="99" y="15"/>
                  <a:pt x="99" y="15"/>
                </a:cubicBezTo>
                <a:cubicBezTo>
                  <a:pt x="98" y="15"/>
                  <a:pt x="96" y="16"/>
                  <a:pt x="95" y="17"/>
                </a:cubicBezTo>
                <a:cubicBezTo>
                  <a:pt x="95" y="17"/>
                  <a:pt x="95" y="20"/>
                  <a:pt x="94" y="20"/>
                </a:cubicBezTo>
                <a:cubicBezTo>
                  <a:pt x="94" y="20"/>
                  <a:pt x="94" y="20"/>
                  <a:pt x="94" y="20"/>
                </a:cubicBezTo>
                <a:cubicBezTo>
                  <a:pt x="93" y="21"/>
                  <a:pt x="92" y="19"/>
                  <a:pt x="90" y="17"/>
                </a:cubicBezTo>
                <a:cubicBezTo>
                  <a:pt x="88" y="16"/>
                  <a:pt x="87" y="15"/>
                  <a:pt x="86" y="15"/>
                </a:cubicBezTo>
                <a:cubicBezTo>
                  <a:pt x="86" y="15"/>
                  <a:pt x="84" y="15"/>
                  <a:pt x="83" y="15"/>
                </a:cubicBezTo>
                <a:cubicBezTo>
                  <a:pt x="82" y="15"/>
                  <a:pt x="81" y="15"/>
                  <a:pt x="81" y="16"/>
                </a:cubicBezTo>
                <a:cubicBezTo>
                  <a:pt x="81" y="16"/>
                  <a:pt x="80" y="16"/>
                  <a:pt x="80" y="16"/>
                </a:cubicBezTo>
                <a:cubicBezTo>
                  <a:pt x="79" y="17"/>
                  <a:pt x="78" y="19"/>
                  <a:pt x="77" y="19"/>
                </a:cubicBezTo>
                <a:cubicBezTo>
                  <a:pt x="75" y="19"/>
                  <a:pt x="75" y="18"/>
                  <a:pt x="75" y="16"/>
                </a:cubicBezTo>
                <a:cubicBezTo>
                  <a:pt x="74" y="15"/>
                  <a:pt x="74" y="14"/>
                  <a:pt x="73" y="14"/>
                </a:cubicBezTo>
                <a:cubicBezTo>
                  <a:pt x="71" y="13"/>
                  <a:pt x="65" y="12"/>
                  <a:pt x="59" y="11"/>
                </a:cubicBezTo>
                <a:cubicBezTo>
                  <a:pt x="55" y="10"/>
                  <a:pt x="51" y="9"/>
                  <a:pt x="49" y="9"/>
                </a:cubicBezTo>
                <a:cubicBezTo>
                  <a:pt x="46" y="9"/>
                  <a:pt x="40" y="10"/>
                  <a:pt x="36" y="10"/>
                </a:cubicBezTo>
                <a:cubicBezTo>
                  <a:pt x="36" y="10"/>
                  <a:pt x="36" y="10"/>
                  <a:pt x="36" y="10"/>
                </a:cubicBezTo>
                <a:cubicBezTo>
                  <a:pt x="34" y="10"/>
                  <a:pt x="33" y="10"/>
                  <a:pt x="32" y="10"/>
                </a:cubicBezTo>
                <a:cubicBezTo>
                  <a:pt x="31" y="10"/>
                  <a:pt x="31" y="11"/>
                  <a:pt x="30" y="12"/>
                </a:cubicBezTo>
                <a:cubicBezTo>
                  <a:pt x="29" y="14"/>
                  <a:pt x="28" y="15"/>
                  <a:pt x="26" y="15"/>
                </a:cubicBezTo>
                <a:cubicBezTo>
                  <a:pt x="25" y="16"/>
                  <a:pt x="22" y="17"/>
                  <a:pt x="21" y="17"/>
                </a:cubicBezTo>
                <a:cubicBezTo>
                  <a:pt x="21" y="18"/>
                  <a:pt x="22" y="19"/>
                  <a:pt x="22" y="20"/>
                </a:cubicBezTo>
                <a:cubicBezTo>
                  <a:pt x="23" y="22"/>
                  <a:pt x="24" y="23"/>
                  <a:pt x="24" y="24"/>
                </a:cubicBezTo>
                <a:cubicBezTo>
                  <a:pt x="24" y="25"/>
                  <a:pt x="25" y="25"/>
                  <a:pt x="26" y="26"/>
                </a:cubicBezTo>
                <a:cubicBezTo>
                  <a:pt x="27" y="27"/>
                  <a:pt x="28" y="27"/>
                  <a:pt x="28" y="28"/>
                </a:cubicBezTo>
                <a:cubicBezTo>
                  <a:pt x="28" y="29"/>
                  <a:pt x="27" y="29"/>
                  <a:pt x="26" y="30"/>
                </a:cubicBezTo>
                <a:cubicBezTo>
                  <a:pt x="26" y="30"/>
                  <a:pt x="25" y="30"/>
                  <a:pt x="25" y="30"/>
                </a:cubicBezTo>
                <a:cubicBezTo>
                  <a:pt x="25" y="30"/>
                  <a:pt x="25" y="31"/>
                  <a:pt x="26" y="31"/>
                </a:cubicBezTo>
                <a:cubicBezTo>
                  <a:pt x="26" y="31"/>
                  <a:pt x="26" y="31"/>
                  <a:pt x="26" y="31"/>
                </a:cubicBezTo>
                <a:cubicBezTo>
                  <a:pt x="26" y="32"/>
                  <a:pt x="27" y="33"/>
                  <a:pt x="27" y="34"/>
                </a:cubicBezTo>
                <a:cubicBezTo>
                  <a:pt x="27" y="35"/>
                  <a:pt x="27" y="35"/>
                  <a:pt x="26" y="36"/>
                </a:cubicBezTo>
                <a:cubicBezTo>
                  <a:pt x="26" y="37"/>
                  <a:pt x="26" y="37"/>
                  <a:pt x="26" y="38"/>
                </a:cubicBezTo>
                <a:cubicBezTo>
                  <a:pt x="26" y="39"/>
                  <a:pt x="23" y="40"/>
                  <a:pt x="21" y="41"/>
                </a:cubicBezTo>
                <a:cubicBezTo>
                  <a:pt x="20" y="41"/>
                  <a:pt x="19" y="41"/>
                  <a:pt x="18" y="41"/>
                </a:cubicBezTo>
                <a:cubicBezTo>
                  <a:pt x="18" y="42"/>
                  <a:pt x="16" y="43"/>
                  <a:pt x="15" y="45"/>
                </a:cubicBezTo>
                <a:cubicBezTo>
                  <a:pt x="12" y="48"/>
                  <a:pt x="8" y="52"/>
                  <a:pt x="8" y="53"/>
                </a:cubicBezTo>
                <a:cubicBezTo>
                  <a:pt x="7" y="54"/>
                  <a:pt x="7" y="55"/>
                  <a:pt x="7" y="56"/>
                </a:cubicBezTo>
                <a:cubicBezTo>
                  <a:pt x="7" y="56"/>
                  <a:pt x="8" y="57"/>
                  <a:pt x="8" y="58"/>
                </a:cubicBezTo>
                <a:cubicBezTo>
                  <a:pt x="8" y="59"/>
                  <a:pt x="8" y="60"/>
                  <a:pt x="9" y="61"/>
                </a:cubicBezTo>
                <a:cubicBezTo>
                  <a:pt x="10" y="62"/>
                  <a:pt x="10" y="63"/>
                  <a:pt x="10" y="64"/>
                </a:cubicBezTo>
                <a:cubicBezTo>
                  <a:pt x="10" y="65"/>
                  <a:pt x="9" y="65"/>
                  <a:pt x="8" y="65"/>
                </a:cubicBezTo>
                <a:cubicBezTo>
                  <a:pt x="7" y="65"/>
                  <a:pt x="7" y="65"/>
                  <a:pt x="7" y="64"/>
                </a:cubicBezTo>
                <a:cubicBezTo>
                  <a:pt x="5" y="64"/>
                  <a:pt x="4" y="64"/>
                  <a:pt x="4" y="64"/>
                </a:cubicBezTo>
                <a:cubicBezTo>
                  <a:pt x="3" y="65"/>
                  <a:pt x="2" y="68"/>
                  <a:pt x="1" y="70"/>
                </a:cubicBezTo>
                <a:cubicBezTo>
                  <a:pt x="1" y="70"/>
                  <a:pt x="1" y="70"/>
                  <a:pt x="1" y="70"/>
                </a:cubicBezTo>
                <a:cubicBezTo>
                  <a:pt x="1" y="71"/>
                  <a:pt x="0" y="71"/>
                  <a:pt x="0" y="71"/>
                </a:cubicBezTo>
                <a:cubicBezTo>
                  <a:pt x="0" y="72"/>
                  <a:pt x="0" y="72"/>
                  <a:pt x="0" y="73"/>
                </a:cubicBezTo>
                <a:cubicBezTo>
                  <a:pt x="0" y="74"/>
                  <a:pt x="0" y="75"/>
                  <a:pt x="0" y="75"/>
                </a:cubicBezTo>
                <a:cubicBezTo>
                  <a:pt x="1" y="76"/>
                  <a:pt x="3" y="78"/>
                  <a:pt x="4" y="79"/>
                </a:cubicBezTo>
                <a:cubicBezTo>
                  <a:pt x="4" y="79"/>
                  <a:pt x="4" y="79"/>
                  <a:pt x="4" y="79"/>
                </a:cubicBezTo>
                <a:cubicBezTo>
                  <a:pt x="6" y="81"/>
                  <a:pt x="8" y="82"/>
                  <a:pt x="8" y="82"/>
                </a:cubicBezTo>
                <a:cubicBezTo>
                  <a:pt x="9" y="82"/>
                  <a:pt x="10" y="82"/>
                  <a:pt x="10" y="82"/>
                </a:cubicBezTo>
                <a:cubicBezTo>
                  <a:pt x="11" y="81"/>
                  <a:pt x="11" y="81"/>
                  <a:pt x="13" y="80"/>
                </a:cubicBezTo>
                <a:cubicBezTo>
                  <a:pt x="14" y="80"/>
                  <a:pt x="15" y="80"/>
                  <a:pt x="15" y="81"/>
                </a:cubicBezTo>
                <a:cubicBezTo>
                  <a:pt x="16" y="81"/>
                  <a:pt x="16" y="81"/>
                  <a:pt x="17" y="82"/>
                </a:cubicBezTo>
                <a:cubicBezTo>
                  <a:pt x="19" y="83"/>
                  <a:pt x="20" y="82"/>
                  <a:pt x="21" y="82"/>
                </a:cubicBezTo>
                <a:cubicBezTo>
                  <a:pt x="22" y="82"/>
                  <a:pt x="23" y="82"/>
                  <a:pt x="25" y="82"/>
                </a:cubicBezTo>
                <a:cubicBezTo>
                  <a:pt x="26" y="82"/>
                  <a:pt x="27" y="82"/>
                  <a:pt x="28" y="82"/>
                </a:cubicBezTo>
                <a:cubicBezTo>
                  <a:pt x="30" y="82"/>
                  <a:pt x="31" y="82"/>
                  <a:pt x="33" y="82"/>
                </a:cubicBezTo>
                <a:cubicBezTo>
                  <a:pt x="35" y="82"/>
                  <a:pt x="36" y="84"/>
                  <a:pt x="37" y="85"/>
                </a:cubicBezTo>
                <a:cubicBezTo>
                  <a:pt x="38" y="86"/>
                  <a:pt x="38" y="87"/>
                  <a:pt x="39" y="87"/>
                </a:cubicBezTo>
                <a:cubicBezTo>
                  <a:pt x="39" y="87"/>
                  <a:pt x="41" y="85"/>
                  <a:pt x="43" y="84"/>
                </a:cubicBezTo>
                <a:cubicBezTo>
                  <a:pt x="43" y="83"/>
                  <a:pt x="44" y="83"/>
                  <a:pt x="44" y="83"/>
                </a:cubicBezTo>
                <a:cubicBezTo>
                  <a:pt x="45" y="82"/>
                  <a:pt x="47" y="82"/>
                  <a:pt x="50" y="82"/>
                </a:cubicBezTo>
                <a:cubicBezTo>
                  <a:pt x="51" y="82"/>
                  <a:pt x="53" y="82"/>
                  <a:pt x="54" y="82"/>
                </a:cubicBezTo>
                <a:cubicBezTo>
                  <a:pt x="55" y="82"/>
                  <a:pt x="57" y="80"/>
                  <a:pt x="58" y="79"/>
                </a:cubicBezTo>
                <a:cubicBezTo>
                  <a:pt x="59" y="79"/>
                  <a:pt x="60" y="79"/>
                  <a:pt x="60" y="78"/>
                </a:cubicBezTo>
                <a:cubicBezTo>
                  <a:pt x="61" y="78"/>
                  <a:pt x="62" y="78"/>
                  <a:pt x="63" y="78"/>
                </a:cubicBezTo>
                <a:cubicBezTo>
                  <a:pt x="63" y="78"/>
                  <a:pt x="64" y="78"/>
                  <a:pt x="64" y="78"/>
                </a:cubicBezTo>
                <a:cubicBezTo>
                  <a:pt x="65" y="77"/>
                  <a:pt x="65" y="76"/>
                  <a:pt x="67" y="75"/>
                </a:cubicBezTo>
                <a:cubicBezTo>
                  <a:pt x="67" y="75"/>
                  <a:pt x="68" y="75"/>
                  <a:pt x="69" y="75"/>
                </a:cubicBezTo>
                <a:cubicBezTo>
                  <a:pt x="69" y="75"/>
                  <a:pt x="70" y="75"/>
                  <a:pt x="72" y="75"/>
                </a:cubicBezTo>
                <a:cubicBezTo>
                  <a:pt x="74" y="74"/>
                  <a:pt x="75" y="74"/>
                  <a:pt x="75" y="74"/>
                </a:cubicBezTo>
                <a:cubicBezTo>
                  <a:pt x="75" y="73"/>
                  <a:pt x="76" y="73"/>
                  <a:pt x="76" y="73"/>
                </a:cubicBezTo>
                <a:cubicBezTo>
                  <a:pt x="77" y="73"/>
                  <a:pt x="79" y="73"/>
                  <a:pt x="80" y="74"/>
                </a:cubicBezTo>
                <a:cubicBezTo>
                  <a:pt x="82" y="75"/>
                  <a:pt x="84" y="76"/>
                  <a:pt x="85" y="77"/>
                </a:cubicBezTo>
                <a:cubicBezTo>
                  <a:pt x="87" y="78"/>
                  <a:pt x="90" y="79"/>
                  <a:pt x="92" y="80"/>
                </a:cubicBezTo>
                <a:cubicBezTo>
                  <a:pt x="93" y="81"/>
                  <a:pt x="94" y="81"/>
                  <a:pt x="94" y="81"/>
                </a:cubicBezTo>
                <a:cubicBezTo>
                  <a:pt x="95" y="82"/>
                  <a:pt x="96" y="82"/>
                  <a:pt x="97" y="82"/>
                </a:cubicBezTo>
                <a:cubicBezTo>
                  <a:pt x="98" y="82"/>
                  <a:pt x="98" y="82"/>
                  <a:pt x="99" y="82"/>
                </a:cubicBezTo>
                <a:cubicBezTo>
                  <a:pt x="101" y="83"/>
                  <a:pt x="101" y="84"/>
                  <a:pt x="101" y="86"/>
                </a:cubicBezTo>
                <a:cubicBezTo>
                  <a:pt x="101" y="86"/>
                  <a:pt x="101" y="86"/>
                  <a:pt x="101" y="86"/>
                </a:cubicBezTo>
                <a:cubicBezTo>
                  <a:pt x="101" y="87"/>
                  <a:pt x="101" y="87"/>
                  <a:pt x="101" y="87"/>
                </a:cubicBezTo>
                <a:cubicBezTo>
                  <a:pt x="101" y="87"/>
                  <a:pt x="101" y="87"/>
                  <a:pt x="101" y="87"/>
                </a:cubicBezTo>
                <a:cubicBezTo>
                  <a:pt x="102" y="88"/>
                  <a:pt x="102" y="90"/>
                  <a:pt x="102" y="91"/>
                </a:cubicBezTo>
                <a:cubicBezTo>
                  <a:pt x="103" y="95"/>
                  <a:pt x="104" y="98"/>
                  <a:pt x="105" y="99"/>
                </a:cubicBezTo>
                <a:cubicBezTo>
                  <a:pt x="105" y="100"/>
                  <a:pt x="106" y="100"/>
                  <a:pt x="107" y="101"/>
                </a:cubicBezTo>
                <a:cubicBezTo>
                  <a:pt x="108" y="102"/>
                  <a:pt x="108" y="102"/>
                  <a:pt x="109" y="103"/>
                </a:cubicBezTo>
                <a:cubicBezTo>
                  <a:pt x="111" y="105"/>
                  <a:pt x="111" y="106"/>
                  <a:pt x="110" y="107"/>
                </a:cubicBezTo>
                <a:cubicBezTo>
                  <a:pt x="110" y="108"/>
                  <a:pt x="110" y="108"/>
                  <a:pt x="110" y="109"/>
                </a:cubicBezTo>
                <a:cubicBezTo>
                  <a:pt x="110" y="109"/>
                  <a:pt x="110" y="109"/>
                  <a:pt x="110" y="109"/>
                </a:cubicBezTo>
                <a:cubicBezTo>
                  <a:pt x="110" y="109"/>
                  <a:pt x="110" y="109"/>
                  <a:pt x="110" y="109"/>
                </a:cubicBezTo>
                <a:cubicBezTo>
                  <a:pt x="110" y="111"/>
                  <a:pt x="110" y="112"/>
                  <a:pt x="108" y="113"/>
                </a:cubicBezTo>
                <a:cubicBezTo>
                  <a:pt x="107" y="113"/>
                  <a:pt x="106" y="113"/>
                  <a:pt x="105" y="112"/>
                </a:cubicBezTo>
                <a:cubicBezTo>
                  <a:pt x="105" y="112"/>
                  <a:pt x="104" y="112"/>
                  <a:pt x="104" y="112"/>
                </a:cubicBezTo>
                <a:cubicBezTo>
                  <a:pt x="104" y="112"/>
                  <a:pt x="104" y="112"/>
                  <a:pt x="104" y="112"/>
                </a:cubicBezTo>
                <a:cubicBezTo>
                  <a:pt x="104" y="112"/>
                  <a:pt x="103" y="112"/>
                  <a:pt x="103" y="112"/>
                </a:cubicBezTo>
                <a:cubicBezTo>
                  <a:pt x="103" y="113"/>
                  <a:pt x="102" y="113"/>
                  <a:pt x="101" y="113"/>
                </a:cubicBezTo>
                <a:cubicBezTo>
                  <a:pt x="101" y="113"/>
                  <a:pt x="100" y="113"/>
                  <a:pt x="100" y="113"/>
                </a:cubicBezTo>
                <a:cubicBezTo>
                  <a:pt x="99" y="113"/>
                  <a:pt x="98" y="112"/>
                  <a:pt x="98" y="113"/>
                </a:cubicBezTo>
                <a:cubicBezTo>
                  <a:pt x="97" y="113"/>
                  <a:pt x="97" y="115"/>
                  <a:pt x="97" y="116"/>
                </a:cubicBezTo>
                <a:cubicBezTo>
                  <a:pt x="97" y="117"/>
                  <a:pt x="98" y="117"/>
                  <a:pt x="97" y="118"/>
                </a:cubicBezTo>
                <a:cubicBezTo>
                  <a:pt x="97" y="118"/>
                  <a:pt x="97" y="119"/>
                  <a:pt x="96" y="120"/>
                </a:cubicBezTo>
                <a:cubicBezTo>
                  <a:pt x="95" y="120"/>
                  <a:pt x="95" y="120"/>
                  <a:pt x="95" y="121"/>
                </a:cubicBezTo>
                <a:cubicBezTo>
                  <a:pt x="95" y="122"/>
                  <a:pt x="94" y="122"/>
                  <a:pt x="93" y="123"/>
                </a:cubicBezTo>
                <a:cubicBezTo>
                  <a:pt x="93" y="123"/>
                  <a:pt x="93" y="123"/>
                  <a:pt x="93" y="123"/>
                </a:cubicBezTo>
                <a:cubicBezTo>
                  <a:pt x="93" y="123"/>
                  <a:pt x="92" y="124"/>
                  <a:pt x="92" y="124"/>
                </a:cubicBezTo>
                <a:cubicBezTo>
                  <a:pt x="92" y="124"/>
                  <a:pt x="91" y="125"/>
                  <a:pt x="91" y="125"/>
                </a:cubicBezTo>
                <a:cubicBezTo>
                  <a:pt x="91" y="127"/>
                  <a:pt x="90" y="128"/>
                  <a:pt x="89" y="128"/>
                </a:cubicBezTo>
                <a:cubicBezTo>
                  <a:pt x="89" y="128"/>
                  <a:pt x="89" y="128"/>
                  <a:pt x="88" y="129"/>
                </a:cubicBezTo>
                <a:cubicBezTo>
                  <a:pt x="88" y="129"/>
                  <a:pt x="88" y="129"/>
                  <a:pt x="88" y="129"/>
                </a:cubicBezTo>
                <a:cubicBezTo>
                  <a:pt x="87" y="129"/>
                  <a:pt x="87" y="129"/>
                  <a:pt x="86" y="129"/>
                </a:cubicBezTo>
                <a:cubicBezTo>
                  <a:pt x="87" y="130"/>
                  <a:pt x="89" y="131"/>
                  <a:pt x="90" y="131"/>
                </a:cubicBezTo>
                <a:cubicBezTo>
                  <a:pt x="91" y="132"/>
                  <a:pt x="92" y="133"/>
                  <a:pt x="93" y="133"/>
                </a:cubicBezTo>
                <a:cubicBezTo>
                  <a:pt x="94" y="133"/>
                  <a:pt x="98" y="131"/>
                  <a:pt x="100" y="130"/>
                </a:cubicBezTo>
                <a:cubicBezTo>
                  <a:pt x="101" y="129"/>
                  <a:pt x="102" y="129"/>
                  <a:pt x="103" y="129"/>
                </a:cubicBezTo>
                <a:cubicBezTo>
                  <a:pt x="103" y="128"/>
                  <a:pt x="104" y="129"/>
                  <a:pt x="105" y="130"/>
                </a:cubicBezTo>
                <a:cubicBezTo>
                  <a:pt x="105" y="130"/>
                  <a:pt x="106" y="130"/>
                  <a:pt x="106" y="130"/>
                </a:cubicBezTo>
                <a:cubicBezTo>
                  <a:pt x="106" y="130"/>
                  <a:pt x="106" y="129"/>
                  <a:pt x="106" y="129"/>
                </a:cubicBezTo>
                <a:cubicBezTo>
                  <a:pt x="106" y="126"/>
                  <a:pt x="106" y="127"/>
                  <a:pt x="106" y="125"/>
                </a:cubicBezTo>
                <a:cubicBezTo>
                  <a:pt x="106" y="123"/>
                  <a:pt x="106" y="124"/>
                  <a:pt x="105" y="123"/>
                </a:cubicBezTo>
                <a:cubicBezTo>
                  <a:pt x="104" y="121"/>
                  <a:pt x="104" y="121"/>
                  <a:pt x="105" y="121"/>
                </a:cubicBezTo>
                <a:cubicBezTo>
                  <a:pt x="106" y="121"/>
                  <a:pt x="107" y="122"/>
                  <a:pt x="107" y="124"/>
                </a:cubicBezTo>
                <a:cubicBezTo>
                  <a:pt x="107" y="125"/>
                  <a:pt x="108" y="123"/>
                  <a:pt x="109" y="122"/>
                </a:cubicBezTo>
                <a:cubicBezTo>
                  <a:pt x="110" y="120"/>
                  <a:pt x="111" y="121"/>
                  <a:pt x="113" y="121"/>
                </a:cubicBezTo>
                <a:cubicBezTo>
                  <a:pt x="115" y="120"/>
                  <a:pt x="116" y="119"/>
                  <a:pt x="116" y="118"/>
                </a:cubicBezTo>
                <a:cubicBezTo>
                  <a:pt x="117" y="117"/>
                  <a:pt x="115" y="115"/>
                  <a:pt x="115" y="114"/>
                </a:cubicBezTo>
                <a:cubicBezTo>
                  <a:pt x="114" y="113"/>
                  <a:pt x="114" y="112"/>
                  <a:pt x="114" y="111"/>
                </a:cubicBezTo>
                <a:cubicBezTo>
                  <a:pt x="115" y="110"/>
                  <a:pt x="116" y="112"/>
                  <a:pt x="117" y="113"/>
                </a:cubicBezTo>
                <a:cubicBezTo>
                  <a:pt x="117" y="115"/>
                  <a:pt x="118" y="113"/>
                  <a:pt x="119" y="113"/>
                </a:cubicBezTo>
                <a:cubicBezTo>
                  <a:pt x="119" y="112"/>
                  <a:pt x="121" y="110"/>
                  <a:pt x="122" y="109"/>
                </a:cubicBezTo>
                <a:cubicBezTo>
                  <a:pt x="123" y="108"/>
                  <a:pt x="124" y="108"/>
                  <a:pt x="126" y="107"/>
                </a:cubicBezTo>
                <a:cubicBezTo>
                  <a:pt x="128" y="107"/>
                  <a:pt x="129" y="107"/>
                  <a:pt x="131" y="107"/>
                </a:cubicBezTo>
                <a:cubicBezTo>
                  <a:pt x="133" y="107"/>
                  <a:pt x="133" y="104"/>
                  <a:pt x="134" y="103"/>
                </a:cubicBezTo>
                <a:cubicBezTo>
                  <a:pt x="135" y="103"/>
                  <a:pt x="135" y="104"/>
                  <a:pt x="135" y="106"/>
                </a:cubicBezTo>
                <a:cubicBezTo>
                  <a:pt x="136" y="107"/>
                  <a:pt x="137" y="106"/>
                  <a:pt x="138" y="105"/>
                </a:cubicBezTo>
                <a:cubicBezTo>
                  <a:pt x="139" y="105"/>
                  <a:pt x="138" y="103"/>
                  <a:pt x="138" y="101"/>
                </a:cubicBezTo>
                <a:cubicBezTo>
                  <a:pt x="137" y="100"/>
                  <a:pt x="136" y="99"/>
                  <a:pt x="136" y="98"/>
                </a:cubicBezTo>
                <a:cubicBezTo>
                  <a:pt x="135" y="97"/>
                  <a:pt x="137" y="96"/>
                  <a:pt x="137" y="98"/>
                </a:cubicBezTo>
                <a:cubicBezTo>
                  <a:pt x="138" y="101"/>
                  <a:pt x="140" y="100"/>
                  <a:pt x="141" y="101"/>
                </a:cubicBezTo>
                <a:cubicBezTo>
                  <a:pt x="141" y="103"/>
                  <a:pt x="140" y="105"/>
                  <a:pt x="141" y="106"/>
                </a:cubicBezTo>
                <a:cubicBezTo>
                  <a:pt x="141" y="107"/>
                  <a:pt x="143" y="108"/>
                  <a:pt x="145" y="108"/>
                </a:cubicBezTo>
                <a:cubicBezTo>
                  <a:pt x="147" y="108"/>
                  <a:pt x="149" y="106"/>
                  <a:pt x="149" y="108"/>
                </a:cubicBezTo>
                <a:cubicBezTo>
                  <a:pt x="150" y="109"/>
                  <a:pt x="146" y="110"/>
                  <a:pt x="144" y="110"/>
                </a:cubicBezTo>
                <a:cubicBezTo>
                  <a:pt x="141" y="111"/>
                  <a:pt x="141" y="110"/>
                  <a:pt x="140" y="110"/>
                </a:cubicBezTo>
                <a:cubicBezTo>
                  <a:pt x="139" y="109"/>
                  <a:pt x="135" y="109"/>
                  <a:pt x="136" y="110"/>
                </a:cubicBezTo>
                <a:cubicBezTo>
                  <a:pt x="136" y="112"/>
                  <a:pt x="139" y="112"/>
                  <a:pt x="139" y="113"/>
                </a:cubicBezTo>
                <a:cubicBezTo>
                  <a:pt x="139" y="114"/>
                  <a:pt x="135" y="113"/>
                  <a:pt x="134" y="114"/>
                </a:cubicBezTo>
                <a:cubicBezTo>
                  <a:pt x="134" y="114"/>
                  <a:pt x="134" y="115"/>
                  <a:pt x="137" y="115"/>
                </a:cubicBezTo>
                <a:cubicBezTo>
                  <a:pt x="140" y="116"/>
                  <a:pt x="142" y="115"/>
                  <a:pt x="143" y="116"/>
                </a:cubicBezTo>
                <a:cubicBezTo>
                  <a:pt x="145" y="117"/>
                  <a:pt x="147" y="118"/>
                  <a:pt x="148" y="117"/>
                </a:cubicBezTo>
                <a:cubicBezTo>
                  <a:pt x="149" y="117"/>
                  <a:pt x="154" y="116"/>
                  <a:pt x="156" y="116"/>
                </a:cubicBezTo>
                <a:cubicBezTo>
                  <a:pt x="159" y="115"/>
                  <a:pt x="158" y="117"/>
                  <a:pt x="159" y="118"/>
                </a:cubicBezTo>
                <a:cubicBezTo>
                  <a:pt x="160" y="119"/>
                  <a:pt x="161" y="117"/>
                  <a:pt x="163" y="117"/>
                </a:cubicBezTo>
                <a:cubicBezTo>
                  <a:pt x="164" y="118"/>
                  <a:pt x="164" y="120"/>
                  <a:pt x="164" y="121"/>
                </a:cubicBezTo>
                <a:cubicBezTo>
                  <a:pt x="164" y="123"/>
                  <a:pt x="162" y="122"/>
                  <a:pt x="161" y="122"/>
                </a:cubicBezTo>
                <a:cubicBezTo>
                  <a:pt x="159" y="122"/>
                  <a:pt x="159" y="124"/>
                  <a:pt x="156" y="125"/>
                </a:cubicBezTo>
                <a:cubicBezTo>
                  <a:pt x="153" y="126"/>
                  <a:pt x="153" y="126"/>
                  <a:pt x="151" y="127"/>
                </a:cubicBezTo>
                <a:cubicBezTo>
                  <a:pt x="149" y="128"/>
                  <a:pt x="147" y="129"/>
                  <a:pt x="146" y="130"/>
                </a:cubicBezTo>
                <a:cubicBezTo>
                  <a:pt x="146" y="131"/>
                  <a:pt x="149" y="130"/>
                  <a:pt x="151" y="132"/>
                </a:cubicBezTo>
                <a:cubicBezTo>
                  <a:pt x="153" y="133"/>
                  <a:pt x="153" y="133"/>
                  <a:pt x="154" y="133"/>
                </a:cubicBezTo>
                <a:cubicBezTo>
                  <a:pt x="155" y="133"/>
                  <a:pt x="159" y="133"/>
                  <a:pt x="161" y="135"/>
                </a:cubicBezTo>
                <a:cubicBezTo>
                  <a:pt x="164" y="136"/>
                  <a:pt x="163" y="138"/>
                  <a:pt x="164" y="139"/>
                </a:cubicBezTo>
                <a:cubicBezTo>
                  <a:pt x="165" y="140"/>
                  <a:pt x="164" y="142"/>
                  <a:pt x="163" y="142"/>
                </a:cubicBezTo>
                <a:cubicBezTo>
                  <a:pt x="162" y="143"/>
                  <a:pt x="161" y="144"/>
                  <a:pt x="161" y="145"/>
                </a:cubicBezTo>
                <a:cubicBezTo>
                  <a:pt x="160" y="147"/>
                  <a:pt x="163" y="148"/>
                  <a:pt x="165" y="148"/>
                </a:cubicBezTo>
                <a:cubicBezTo>
                  <a:pt x="167" y="149"/>
                  <a:pt x="169" y="146"/>
                  <a:pt x="174" y="144"/>
                </a:cubicBezTo>
                <a:cubicBezTo>
                  <a:pt x="180" y="142"/>
                  <a:pt x="180" y="141"/>
                  <a:pt x="183" y="139"/>
                </a:cubicBezTo>
                <a:cubicBezTo>
                  <a:pt x="186" y="137"/>
                  <a:pt x="188" y="136"/>
                  <a:pt x="190" y="135"/>
                </a:cubicBezTo>
                <a:cubicBezTo>
                  <a:pt x="192" y="134"/>
                  <a:pt x="192" y="135"/>
                  <a:pt x="194" y="136"/>
                </a:cubicBezTo>
                <a:cubicBezTo>
                  <a:pt x="196" y="138"/>
                  <a:pt x="200" y="137"/>
                  <a:pt x="201" y="136"/>
                </a:cubicBezTo>
                <a:cubicBezTo>
                  <a:pt x="203" y="135"/>
                  <a:pt x="201" y="134"/>
                  <a:pt x="201" y="133"/>
                </a:cubicBezTo>
                <a:cubicBezTo>
                  <a:pt x="201" y="132"/>
                  <a:pt x="206" y="130"/>
                  <a:pt x="204" y="130"/>
                </a:cubicBezTo>
                <a:cubicBezTo>
                  <a:pt x="201" y="131"/>
                  <a:pt x="198" y="131"/>
                  <a:pt x="195" y="130"/>
                </a:cubicBezTo>
                <a:cubicBezTo>
                  <a:pt x="191" y="128"/>
                  <a:pt x="193" y="130"/>
                  <a:pt x="191" y="130"/>
                </a:cubicBezTo>
                <a:cubicBezTo>
                  <a:pt x="190" y="131"/>
                  <a:pt x="189" y="131"/>
                  <a:pt x="189" y="132"/>
                </a:cubicBezTo>
                <a:cubicBezTo>
                  <a:pt x="188" y="133"/>
                  <a:pt x="187" y="132"/>
                  <a:pt x="185" y="131"/>
                </a:cubicBezTo>
                <a:cubicBezTo>
                  <a:pt x="184" y="131"/>
                  <a:pt x="184" y="130"/>
                  <a:pt x="184" y="129"/>
                </a:cubicBezTo>
                <a:cubicBezTo>
                  <a:pt x="185" y="128"/>
                  <a:pt x="183" y="126"/>
                  <a:pt x="182" y="125"/>
                </a:cubicBezTo>
                <a:cubicBezTo>
                  <a:pt x="181" y="123"/>
                  <a:pt x="180" y="122"/>
                  <a:pt x="179" y="121"/>
                </a:cubicBezTo>
                <a:cubicBezTo>
                  <a:pt x="178" y="120"/>
                  <a:pt x="177" y="123"/>
                  <a:pt x="176" y="123"/>
                </a:cubicBezTo>
                <a:cubicBezTo>
                  <a:pt x="175" y="123"/>
                  <a:pt x="175" y="120"/>
                  <a:pt x="174" y="119"/>
                </a:cubicBezTo>
                <a:cubicBezTo>
                  <a:pt x="173" y="118"/>
                  <a:pt x="171" y="120"/>
                  <a:pt x="170" y="119"/>
                </a:cubicBezTo>
                <a:cubicBezTo>
                  <a:pt x="168" y="118"/>
                  <a:pt x="165" y="116"/>
                  <a:pt x="165" y="115"/>
                </a:cubicBezTo>
                <a:cubicBezTo>
                  <a:pt x="164" y="114"/>
                  <a:pt x="168" y="116"/>
                  <a:pt x="170" y="116"/>
                </a:cubicBezTo>
                <a:cubicBezTo>
                  <a:pt x="173" y="117"/>
                  <a:pt x="171" y="115"/>
                  <a:pt x="171" y="114"/>
                </a:cubicBezTo>
                <a:cubicBezTo>
                  <a:pt x="171" y="112"/>
                  <a:pt x="174" y="115"/>
                  <a:pt x="176" y="115"/>
                </a:cubicBezTo>
                <a:cubicBezTo>
                  <a:pt x="178" y="115"/>
                  <a:pt x="176" y="117"/>
                  <a:pt x="176" y="118"/>
                </a:cubicBezTo>
                <a:cubicBezTo>
                  <a:pt x="176" y="119"/>
                  <a:pt x="177" y="119"/>
                  <a:pt x="178" y="118"/>
                </a:cubicBezTo>
                <a:cubicBezTo>
                  <a:pt x="179" y="117"/>
                  <a:pt x="181" y="116"/>
                  <a:pt x="181" y="116"/>
                </a:cubicBezTo>
                <a:cubicBezTo>
                  <a:pt x="181" y="115"/>
                  <a:pt x="182" y="115"/>
                  <a:pt x="183" y="114"/>
                </a:cubicBezTo>
                <a:cubicBezTo>
                  <a:pt x="184" y="114"/>
                  <a:pt x="184" y="113"/>
                  <a:pt x="184" y="113"/>
                </a:cubicBezTo>
                <a:cubicBezTo>
                  <a:pt x="184" y="112"/>
                  <a:pt x="185" y="110"/>
                  <a:pt x="186" y="110"/>
                </a:cubicBezTo>
                <a:cubicBezTo>
                  <a:pt x="186" y="110"/>
                  <a:pt x="187" y="112"/>
                  <a:pt x="187" y="113"/>
                </a:cubicBezTo>
                <a:cubicBezTo>
                  <a:pt x="186" y="113"/>
                  <a:pt x="185" y="116"/>
                  <a:pt x="185" y="116"/>
                </a:cubicBezTo>
                <a:cubicBezTo>
                  <a:pt x="186" y="116"/>
                  <a:pt x="187" y="114"/>
                  <a:pt x="188" y="113"/>
                </a:cubicBezTo>
                <a:cubicBezTo>
                  <a:pt x="189" y="113"/>
                  <a:pt x="193" y="109"/>
                  <a:pt x="195" y="107"/>
                </a:cubicBezTo>
                <a:cubicBezTo>
                  <a:pt x="196" y="106"/>
                  <a:pt x="199" y="106"/>
                  <a:pt x="200" y="106"/>
                </a:cubicBezTo>
                <a:cubicBezTo>
                  <a:pt x="201" y="106"/>
                  <a:pt x="205" y="105"/>
                  <a:pt x="207" y="104"/>
                </a:cubicBezTo>
                <a:cubicBezTo>
                  <a:pt x="209" y="104"/>
                  <a:pt x="208" y="106"/>
                  <a:pt x="209" y="107"/>
                </a:cubicBezTo>
                <a:cubicBezTo>
                  <a:pt x="210" y="108"/>
                  <a:pt x="212" y="104"/>
                  <a:pt x="213" y="103"/>
                </a:cubicBezTo>
                <a:cubicBezTo>
                  <a:pt x="214" y="102"/>
                  <a:pt x="215" y="103"/>
                  <a:pt x="216" y="103"/>
                </a:cubicBezTo>
                <a:cubicBezTo>
                  <a:pt x="218" y="103"/>
                  <a:pt x="219" y="100"/>
                  <a:pt x="220" y="99"/>
                </a:cubicBezTo>
                <a:cubicBezTo>
                  <a:pt x="221" y="98"/>
                  <a:pt x="223" y="99"/>
                  <a:pt x="225" y="99"/>
                </a:cubicBezTo>
                <a:cubicBezTo>
                  <a:pt x="226" y="99"/>
                  <a:pt x="228" y="99"/>
                  <a:pt x="229" y="98"/>
                </a:cubicBezTo>
                <a:cubicBezTo>
                  <a:pt x="229" y="97"/>
                  <a:pt x="229" y="96"/>
                  <a:pt x="229" y="95"/>
                </a:cubicBezTo>
                <a:cubicBezTo>
                  <a:pt x="230" y="94"/>
                  <a:pt x="230" y="93"/>
                  <a:pt x="230" y="92"/>
                </a:cubicBezTo>
                <a:cubicBezTo>
                  <a:pt x="230" y="91"/>
                  <a:pt x="230" y="90"/>
                  <a:pt x="230" y="90"/>
                </a:cubicBezTo>
                <a:cubicBezTo>
                  <a:pt x="231" y="90"/>
                  <a:pt x="231" y="89"/>
                  <a:pt x="232" y="89"/>
                </a:cubicBezTo>
                <a:cubicBezTo>
                  <a:pt x="234" y="88"/>
                  <a:pt x="235" y="88"/>
                  <a:pt x="236" y="87"/>
                </a:cubicBezTo>
                <a:cubicBezTo>
                  <a:pt x="237" y="87"/>
                  <a:pt x="239" y="86"/>
                  <a:pt x="240" y="85"/>
                </a:cubicBezTo>
                <a:cubicBezTo>
                  <a:pt x="240" y="85"/>
                  <a:pt x="240" y="85"/>
                  <a:pt x="240" y="85"/>
                </a:cubicBezTo>
                <a:cubicBezTo>
                  <a:pt x="241" y="84"/>
                  <a:pt x="243" y="85"/>
                  <a:pt x="246" y="85"/>
                </a:cubicBezTo>
                <a:cubicBezTo>
                  <a:pt x="248" y="85"/>
                  <a:pt x="251" y="85"/>
                  <a:pt x="251" y="85"/>
                </a:cubicBezTo>
                <a:cubicBezTo>
                  <a:pt x="251" y="85"/>
                  <a:pt x="251" y="85"/>
                  <a:pt x="251" y="85"/>
                </a:cubicBezTo>
                <a:cubicBezTo>
                  <a:pt x="251" y="85"/>
                  <a:pt x="251" y="84"/>
                  <a:pt x="251" y="83"/>
                </a:cubicBezTo>
                <a:cubicBezTo>
                  <a:pt x="252" y="82"/>
                  <a:pt x="252" y="82"/>
                  <a:pt x="252" y="81"/>
                </a:cubicBezTo>
                <a:cubicBezTo>
                  <a:pt x="252" y="81"/>
                  <a:pt x="252" y="80"/>
                  <a:pt x="253" y="79"/>
                </a:cubicBezTo>
                <a:cubicBezTo>
                  <a:pt x="253" y="79"/>
                  <a:pt x="254" y="78"/>
                  <a:pt x="254" y="78"/>
                </a:cubicBezTo>
                <a:cubicBezTo>
                  <a:pt x="254" y="78"/>
                  <a:pt x="254" y="78"/>
                  <a:pt x="254" y="78"/>
                </a:cubicBezTo>
                <a:cubicBezTo>
                  <a:pt x="254" y="77"/>
                  <a:pt x="254" y="77"/>
                  <a:pt x="253" y="76"/>
                </a:cubicBezTo>
                <a:cubicBezTo>
                  <a:pt x="253" y="75"/>
                  <a:pt x="252" y="74"/>
                  <a:pt x="252" y="74"/>
                </a:cubicBezTo>
                <a:cubicBezTo>
                  <a:pt x="252" y="74"/>
                  <a:pt x="252" y="74"/>
                  <a:pt x="251" y="73"/>
                </a:cubicBezTo>
                <a:cubicBezTo>
                  <a:pt x="251" y="73"/>
                  <a:pt x="251" y="73"/>
                  <a:pt x="251" y="73"/>
                </a:cubicBezTo>
                <a:cubicBezTo>
                  <a:pt x="251" y="73"/>
                  <a:pt x="250" y="73"/>
                  <a:pt x="249" y="72"/>
                </a:cubicBezTo>
                <a:cubicBezTo>
                  <a:pt x="249" y="72"/>
                  <a:pt x="249" y="70"/>
                  <a:pt x="249" y="70"/>
                </a:cubicBezTo>
                <a:cubicBezTo>
                  <a:pt x="249" y="70"/>
                  <a:pt x="249" y="69"/>
                  <a:pt x="249" y="69"/>
                </a:cubicBezTo>
                <a:cubicBezTo>
                  <a:pt x="250" y="69"/>
                  <a:pt x="251" y="68"/>
                  <a:pt x="252" y="68"/>
                </a:cubicBezTo>
                <a:cubicBezTo>
                  <a:pt x="253" y="67"/>
                  <a:pt x="254" y="67"/>
                  <a:pt x="254" y="66"/>
                </a:cubicBezTo>
                <a:cubicBezTo>
                  <a:pt x="254" y="66"/>
                  <a:pt x="253" y="66"/>
                  <a:pt x="253" y="66"/>
                </a:cubicBezTo>
                <a:cubicBezTo>
                  <a:pt x="252" y="66"/>
                  <a:pt x="251" y="66"/>
                  <a:pt x="251" y="65"/>
                </a:cubicBezTo>
                <a:cubicBezTo>
                  <a:pt x="250" y="64"/>
                  <a:pt x="252" y="62"/>
                  <a:pt x="254" y="61"/>
                </a:cubicBezTo>
                <a:cubicBezTo>
                  <a:pt x="255" y="60"/>
                  <a:pt x="256" y="60"/>
                  <a:pt x="256" y="60"/>
                </a:cubicBezTo>
                <a:cubicBezTo>
                  <a:pt x="256" y="59"/>
                  <a:pt x="256" y="57"/>
                  <a:pt x="256" y="55"/>
                </a:cubicBezTo>
                <a:cubicBezTo>
                  <a:pt x="256" y="54"/>
                  <a:pt x="256" y="53"/>
                  <a:pt x="256" y="53"/>
                </a:cubicBezTo>
                <a:cubicBezTo>
                  <a:pt x="256" y="53"/>
                  <a:pt x="255" y="53"/>
                  <a:pt x="254" y="54"/>
                </a:cubicBezTo>
                <a:cubicBezTo>
                  <a:pt x="253" y="54"/>
                  <a:pt x="252" y="54"/>
                  <a:pt x="251" y="54"/>
                </a:cubicBezTo>
                <a:cubicBezTo>
                  <a:pt x="250" y="54"/>
                  <a:pt x="248" y="53"/>
                  <a:pt x="246" y="51"/>
                </a:cubicBezTo>
                <a:cubicBezTo>
                  <a:pt x="246" y="51"/>
                  <a:pt x="246" y="51"/>
                  <a:pt x="246" y="51"/>
                </a:cubicBezTo>
                <a:cubicBezTo>
                  <a:pt x="245" y="50"/>
                  <a:pt x="243" y="48"/>
                  <a:pt x="243" y="48"/>
                </a:cubicBezTo>
                <a:cubicBezTo>
                  <a:pt x="243" y="48"/>
                  <a:pt x="242" y="49"/>
                  <a:pt x="241" y="49"/>
                </a:cubicBezTo>
                <a:cubicBezTo>
                  <a:pt x="241" y="49"/>
                  <a:pt x="240" y="49"/>
                  <a:pt x="240" y="49"/>
                </a:cubicBezTo>
                <a:cubicBezTo>
                  <a:pt x="239" y="49"/>
                  <a:pt x="236" y="47"/>
                  <a:pt x="235" y="46"/>
                </a:cubicBezTo>
                <a:cubicBezTo>
                  <a:pt x="235" y="46"/>
                  <a:pt x="235" y="46"/>
                  <a:pt x="235" y="46"/>
                </a:cubicBezTo>
                <a:cubicBezTo>
                  <a:pt x="235" y="46"/>
                  <a:pt x="234" y="45"/>
                  <a:pt x="233" y="45"/>
                </a:cubicBezTo>
                <a:cubicBezTo>
                  <a:pt x="232" y="44"/>
                  <a:pt x="231" y="44"/>
                  <a:pt x="230" y="44"/>
                </a:cubicBezTo>
                <a:cubicBezTo>
                  <a:pt x="230" y="44"/>
                  <a:pt x="230" y="45"/>
                  <a:pt x="229" y="46"/>
                </a:cubicBezTo>
                <a:cubicBezTo>
                  <a:pt x="228" y="46"/>
                  <a:pt x="227" y="47"/>
                  <a:pt x="227" y="48"/>
                </a:cubicBezTo>
                <a:cubicBezTo>
                  <a:pt x="226" y="48"/>
                  <a:pt x="224" y="45"/>
                  <a:pt x="222" y="42"/>
                </a:cubicBezTo>
                <a:cubicBezTo>
                  <a:pt x="220" y="40"/>
                  <a:pt x="219" y="38"/>
                  <a:pt x="218" y="37"/>
                </a:cubicBezTo>
                <a:cubicBezTo>
                  <a:pt x="218" y="37"/>
                  <a:pt x="213" y="39"/>
                  <a:pt x="209" y="40"/>
                </a:cubicBezTo>
                <a:cubicBezTo>
                  <a:pt x="207" y="40"/>
                  <a:pt x="205" y="41"/>
                  <a:pt x="205" y="41"/>
                </a:cubicBezTo>
                <a:cubicBezTo>
                  <a:pt x="204" y="41"/>
                  <a:pt x="203" y="40"/>
                  <a:pt x="201" y="39"/>
                </a:cubicBezTo>
                <a:cubicBezTo>
                  <a:pt x="200" y="38"/>
                  <a:pt x="199" y="38"/>
                  <a:pt x="198" y="38"/>
                </a:cubicBezTo>
                <a:cubicBezTo>
                  <a:pt x="198" y="38"/>
                  <a:pt x="197" y="38"/>
                  <a:pt x="197" y="38"/>
                </a:cubicBezTo>
                <a:cubicBezTo>
                  <a:pt x="196" y="38"/>
                  <a:pt x="195" y="39"/>
                  <a:pt x="194" y="39"/>
                </a:cubicBezTo>
                <a:cubicBezTo>
                  <a:pt x="193" y="40"/>
                  <a:pt x="191" y="38"/>
                  <a:pt x="190" y="37"/>
                </a:cubicBezTo>
                <a:cubicBezTo>
                  <a:pt x="189" y="37"/>
                  <a:pt x="189" y="37"/>
                  <a:pt x="189" y="37"/>
                </a:cubicBezTo>
                <a:cubicBezTo>
                  <a:pt x="189" y="37"/>
                  <a:pt x="189" y="37"/>
                  <a:pt x="189" y="37"/>
                </a:cubicBezTo>
                <a:cubicBezTo>
                  <a:pt x="188" y="36"/>
                  <a:pt x="189" y="34"/>
                  <a:pt x="189" y="33"/>
                </a:cubicBezTo>
                <a:cubicBezTo>
                  <a:pt x="189" y="33"/>
                  <a:pt x="189" y="32"/>
                  <a:pt x="189" y="32"/>
                </a:cubicBezTo>
                <a:cubicBezTo>
                  <a:pt x="189" y="32"/>
                  <a:pt x="188" y="30"/>
                  <a:pt x="188" y="29"/>
                </a:cubicBezTo>
                <a:cubicBezTo>
                  <a:pt x="187" y="29"/>
                  <a:pt x="187" y="29"/>
                  <a:pt x="187" y="29"/>
                </a:cubicBezTo>
                <a:cubicBezTo>
                  <a:pt x="187" y="28"/>
                  <a:pt x="187" y="28"/>
                  <a:pt x="187" y="27"/>
                </a:cubicBezTo>
                <a:cubicBezTo>
                  <a:pt x="187" y="26"/>
                  <a:pt x="187" y="26"/>
                  <a:pt x="187" y="26"/>
                </a:cubicBezTo>
                <a:cubicBezTo>
                  <a:pt x="187" y="25"/>
                  <a:pt x="184" y="23"/>
                  <a:pt x="183" y="23"/>
                </a:cubicBezTo>
                <a:cubicBezTo>
                  <a:pt x="182" y="23"/>
                  <a:pt x="181" y="24"/>
                  <a:pt x="181" y="24"/>
                </a:cubicBezTo>
                <a:cubicBezTo>
                  <a:pt x="180" y="24"/>
                  <a:pt x="178" y="24"/>
                  <a:pt x="176" y="23"/>
                </a:cubicBezTo>
                <a:cubicBezTo>
                  <a:pt x="175" y="23"/>
                  <a:pt x="173" y="23"/>
                  <a:pt x="172" y="22"/>
                </a:cubicBezTo>
                <a:cubicBezTo>
                  <a:pt x="170" y="22"/>
                  <a:pt x="170" y="21"/>
                  <a:pt x="171" y="19"/>
                </a:cubicBezTo>
                <a:cubicBezTo>
                  <a:pt x="171" y="19"/>
                  <a:pt x="171" y="19"/>
                  <a:pt x="171" y="19"/>
                </a:cubicBezTo>
                <a:cubicBezTo>
                  <a:pt x="171" y="19"/>
                  <a:pt x="171" y="19"/>
                  <a:pt x="171" y="18"/>
                </a:cubicBezTo>
                <a:cubicBezTo>
                  <a:pt x="171" y="18"/>
                  <a:pt x="172" y="17"/>
                  <a:pt x="172" y="17"/>
                </a:cubicBezTo>
                <a:cubicBezTo>
                  <a:pt x="172" y="17"/>
                  <a:pt x="171" y="16"/>
                  <a:pt x="171" y="16"/>
                </a:cubicBezTo>
                <a:cubicBezTo>
                  <a:pt x="171" y="15"/>
                  <a:pt x="170" y="15"/>
                  <a:pt x="170" y="14"/>
                </a:cubicBezTo>
                <a:cubicBezTo>
                  <a:pt x="170" y="13"/>
                  <a:pt x="172" y="12"/>
                  <a:pt x="173" y="12"/>
                </a:cubicBezTo>
                <a:cubicBezTo>
                  <a:pt x="174" y="11"/>
                  <a:pt x="175" y="11"/>
                  <a:pt x="175" y="11"/>
                </a:cubicBezTo>
                <a:cubicBezTo>
                  <a:pt x="175" y="11"/>
                  <a:pt x="174" y="11"/>
                  <a:pt x="173" y="10"/>
                </a:cubicBezTo>
                <a:cubicBezTo>
                  <a:pt x="172" y="10"/>
                  <a:pt x="171" y="10"/>
                  <a:pt x="171" y="9"/>
                </a:cubicBezTo>
                <a:cubicBezTo>
                  <a:pt x="170" y="9"/>
                  <a:pt x="170" y="8"/>
                  <a:pt x="170" y="8"/>
                </a:cubicBezTo>
                <a:cubicBezTo>
                  <a:pt x="170" y="7"/>
                  <a:pt x="171" y="7"/>
                  <a:pt x="170" y="6"/>
                </a:cubicBezTo>
                <a:cubicBezTo>
                  <a:pt x="170" y="6"/>
                  <a:pt x="170" y="6"/>
                  <a:pt x="170" y="6"/>
                </a:cubicBezTo>
                <a:cubicBezTo>
                  <a:pt x="170" y="5"/>
                  <a:pt x="170" y="5"/>
                  <a:pt x="170" y="5"/>
                </a:cubicBezTo>
                <a:cubicBezTo>
                  <a:pt x="170" y="5"/>
                  <a:pt x="170" y="5"/>
                  <a:pt x="170" y="5"/>
                </a:cubicBezTo>
                <a:cubicBezTo>
                  <a:pt x="169" y="4"/>
                  <a:pt x="167" y="2"/>
                  <a:pt x="165" y="1"/>
                </a:cubicBezTo>
                <a:cubicBezTo>
                  <a:pt x="164" y="0"/>
                  <a:pt x="163" y="0"/>
                  <a:pt x="162" y="0"/>
                </a:cubicBezTo>
                <a:cubicBezTo>
                  <a:pt x="162" y="0"/>
                  <a:pt x="161" y="0"/>
                  <a:pt x="160" y="1"/>
                </a:cubicBezTo>
                <a:cubicBezTo>
                  <a:pt x="158" y="1"/>
                  <a:pt x="157" y="1"/>
                  <a:pt x="156" y="2"/>
                </a:cubicBezTo>
                <a:cubicBezTo>
                  <a:pt x="155" y="2"/>
                  <a:pt x="154" y="2"/>
                  <a:pt x="154" y="2"/>
                </a:cubicBezTo>
                <a:cubicBezTo>
                  <a:pt x="153" y="3"/>
                  <a:pt x="151" y="2"/>
                  <a:pt x="150" y="2"/>
                </a:cubicBezTo>
                <a:cubicBezTo>
                  <a:pt x="149" y="2"/>
                  <a:pt x="148" y="1"/>
                  <a:pt x="147" y="1"/>
                </a:cubicBezTo>
                <a:cubicBezTo>
                  <a:pt x="146" y="2"/>
                  <a:pt x="143" y="7"/>
                  <a:pt x="143" y="7"/>
                </a:cubicBezTo>
                <a:cubicBezTo>
                  <a:pt x="143" y="7"/>
                  <a:pt x="143" y="7"/>
                  <a:pt x="143" y="7"/>
                </a:cubicBezTo>
                <a:cubicBezTo>
                  <a:pt x="142" y="7"/>
                  <a:pt x="142" y="7"/>
                  <a:pt x="142" y="7"/>
                </a:cubicBezTo>
                <a:cubicBezTo>
                  <a:pt x="142" y="7"/>
                  <a:pt x="137" y="6"/>
                  <a:pt x="137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6"/>
                  <a:pt x="135" y="6"/>
                  <a:pt x="135" y="6"/>
                </a:cubicBezTo>
                <a:cubicBezTo>
                  <a:pt x="132" y="6"/>
                  <a:pt x="127" y="6"/>
                  <a:pt x="126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59" name="Freeform 36"/>
          <p:cNvSpPr>
            <a:spLocks/>
          </p:cNvSpPr>
          <p:nvPr/>
        </p:nvSpPr>
        <p:spPr bwMode="auto">
          <a:xfrm>
            <a:off x="3830762" y="3973513"/>
            <a:ext cx="1314450" cy="782638"/>
          </a:xfrm>
          <a:custGeom>
            <a:avLst/>
            <a:gdLst>
              <a:gd name="T0" fmla="*/ 134 w 138"/>
              <a:gd name="T1" fmla="*/ 53 h 82"/>
              <a:gd name="T2" fmla="*/ 129 w 138"/>
              <a:gd name="T3" fmla="*/ 52 h 82"/>
              <a:gd name="T4" fmla="*/ 113 w 138"/>
              <a:gd name="T5" fmla="*/ 51 h 82"/>
              <a:gd name="T6" fmla="*/ 111 w 138"/>
              <a:gd name="T7" fmla="*/ 46 h 82"/>
              <a:gd name="T8" fmla="*/ 113 w 138"/>
              <a:gd name="T9" fmla="*/ 35 h 82"/>
              <a:gd name="T10" fmla="*/ 114 w 138"/>
              <a:gd name="T11" fmla="*/ 29 h 82"/>
              <a:gd name="T12" fmla="*/ 112 w 138"/>
              <a:gd name="T13" fmla="*/ 24 h 82"/>
              <a:gd name="T14" fmla="*/ 111 w 138"/>
              <a:gd name="T15" fmla="*/ 23 h 82"/>
              <a:gd name="T16" fmla="*/ 107 w 138"/>
              <a:gd name="T17" fmla="*/ 19 h 82"/>
              <a:gd name="T18" fmla="*/ 103 w 138"/>
              <a:gd name="T19" fmla="*/ 12 h 82"/>
              <a:gd name="T20" fmla="*/ 99 w 138"/>
              <a:gd name="T21" fmla="*/ 6 h 82"/>
              <a:gd name="T22" fmla="*/ 91 w 138"/>
              <a:gd name="T23" fmla="*/ 0 h 82"/>
              <a:gd name="T24" fmla="*/ 87 w 138"/>
              <a:gd name="T25" fmla="*/ 2 h 82"/>
              <a:gd name="T26" fmla="*/ 73 w 138"/>
              <a:gd name="T27" fmla="*/ 5 h 82"/>
              <a:gd name="T28" fmla="*/ 64 w 138"/>
              <a:gd name="T29" fmla="*/ 7 h 82"/>
              <a:gd name="T30" fmla="*/ 53 w 138"/>
              <a:gd name="T31" fmla="*/ 4 h 82"/>
              <a:gd name="T32" fmla="*/ 42 w 138"/>
              <a:gd name="T33" fmla="*/ 3 h 82"/>
              <a:gd name="T34" fmla="*/ 37 w 138"/>
              <a:gd name="T35" fmla="*/ 5 h 82"/>
              <a:gd name="T36" fmla="*/ 26 w 138"/>
              <a:gd name="T37" fmla="*/ 12 h 82"/>
              <a:gd name="T38" fmla="*/ 20 w 138"/>
              <a:gd name="T39" fmla="*/ 21 h 82"/>
              <a:gd name="T40" fmla="*/ 17 w 138"/>
              <a:gd name="T41" fmla="*/ 29 h 82"/>
              <a:gd name="T42" fmla="*/ 13 w 138"/>
              <a:gd name="T43" fmla="*/ 35 h 82"/>
              <a:gd name="T44" fmla="*/ 7 w 138"/>
              <a:gd name="T45" fmla="*/ 36 h 82"/>
              <a:gd name="T46" fmla="*/ 0 w 138"/>
              <a:gd name="T47" fmla="*/ 39 h 82"/>
              <a:gd name="T48" fmla="*/ 7 w 138"/>
              <a:gd name="T49" fmla="*/ 49 h 82"/>
              <a:gd name="T50" fmla="*/ 17 w 138"/>
              <a:gd name="T51" fmla="*/ 54 h 82"/>
              <a:gd name="T52" fmla="*/ 19 w 138"/>
              <a:gd name="T53" fmla="*/ 60 h 82"/>
              <a:gd name="T54" fmla="*/ 22 w 138"/>
              <a:gd name="T55" fmla="*/ 64 h 82"/>
              <a:gd name="T56" fmla="*/ 28 w 138"/>
              <a:gd name="T57" fmla="*/ 65 h 82"/>
              <a:gd name="T58" fmla="*/ 34 w 138"/>
              <a:gd name="T59" fmla="*/ 64 h 82"/>
              <a:gd name="T60" fmla="*/ 35 w 138"/>
              <a:gd name="T61" fmla="*/ 67 h 82"/>
              <a:gd name="T62" fmla="*/ 32 w 138"/>
              <a:gd name="T63" fmla="*/ 69 h 82"/>
              <a:gd name="T64" fmla="*/ 40 w 138"/>
              <a:gd name="T65" fmla="*/ 76 h 82"/>
              <a:gd name="T66" fmla="*/ 39 w 138"/>
              <a:gd name="T67" fmla="*/ 80 h 82"/>
              <a:gd name="T68" fmla="*/ 52 w 138"/>
              <a:gd name="T69" fmla="*/ 80 h 82"/>
              <a:gd name="T70" fmla="*/ 61 w 138"/>
              <a:gd name="T71" fmla="*/ 79 h 82"/>
              <a:gd name="T72" fmla="*/ 76 w 138"/>
              <a:gd name="T73" fmla="*/ 81 h 82"/>
              <a:gd name="T74" fmla="*/ 87 w 138"/>
              <a:gd name="T75" fmla="*/ 76 h 82"/>
              <a:gd name="T76" fmla="*/ 102 w 138"/>
              <a:gd name="T77" fmla="*/ 74 h 82"/>
              <a:gd name="T78" fmla="*/ 120 w 138"/>
              <a:gd name="T79" fmla="*/ 79 h 82"/>
              <a:gd name="T80" fmla="*/ 121 w 138"/>
              <a:gd name="T81" fmla="*/ 67 h 82"/>
              <a:gd name="T82" fmla="*/ 123 w 138"/>
              <a:gd name="T83" fmla="*/ 57 h 82"/>
              <a:gd name="T84" fmla="*/ 134 w 138"/>
              <a:gd name="T85" fmla="*/ 6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8" h="82">
                <a:moveTo>
                  <a:pt x="134" y="60"/>
                </a:moveTo>
                <a:cubicBezTo>
                  <a:pt x="138" y="60"/>
                  <a:pt x="134" y="57"/>
                  <a:pt x="134" y="55"/>
                </a:cubicBezTo>
                <a:cubicBezTo>
                  <a:pt x="133" y="55"/>
                  <a:pt x="133" y="54"/>
                  <a:pt x="134" y="53"/>
                </a:cubicBezTo>
                <a:cubicBezTo>
                  <a:pt x="133" y="53"/>
                  <a:pt x="133" y="52"/>
                  <a:pt x="133" y="52"/>
                </a:cubicBezTo>
                <a:cubicBezTo>
                  <a:pt x="132" y="51"/>
                  <a:pt x="131" y="51"/>
                  <a:pt x="131" y="51"/>
                </a:cubicBezTo>
                <a:cubicBezTo>
                  <a:pt x="131" y="51"/>
                  <a:pt x="130" y="51"/>
                  <a:pt x="129" y="52"/>
                </a:cubicBezTo>
                <a:cubicBezTo>
                  <a:pt x="126" y="54"/>
                  <a:pt x="122" y="56"/>
                  <a:pt x="120" y="55"/>
                </a:cubicBezTo>
                <a:cubicBezTo>
                  <a:pt x="120" y="55"/>
                  <a:pt x="119" y="54"/>
                  <a:pt x="118" y="54"/>
                </a:cubicBezTo>
                <a:cubicBezTo>
                  <a:pt x="116" y="53"/>
                  <a:pt x="113" y="51"/>
                  <a:pt x="113" y="51"/>
                </a:cubicBezTo>
                <a:cubicBezTo>
                  <a:pt x="113" y="51"/>
                  <a:pt x="113" y="51"/>
                  <a:pt x="113" y="51"/>
                </a:cubicBezTo>
                <a:cubicBezTo>
                  <a:pt x="113" y="51"/>
                  <a:pt x="113" y="50"/>
                  <a:pt x="113" y="50"/>
                </a:cubicBezTo>
                <a:cubicBezTo>
                  <a:pt x="112" y="49"/>
                  <a:pt x="111" y="47"/>
                  <a:pt x="111" y="46"/>
                </a:cubicBezTo>
                <a:cubicBezTo>
                  <a:pt x="111" y="46"/>
                  <a:pt x="112" y="44"/>
                  <a:pt x="112" y="42"/>
                </a:cubicBezTo>
                <a:cubicBezTo>
                  <a:pt x="112" y="40"/>
                  <a:pt x="112" y="37"/>
                  <a:pt x="112" y="37"/>
                </a:cubicBezTo>
                <a:cubicBezTo>
                  <a:pt x="113" y="36"/>
                  <a:pt x="113" y="36"/>
                  <a:pt x="113" y="35"/>
                </a:cubicBezTo>
                <a:cubicBezTo>
                  <a:pt x="114" y="34"/>
                  <a:pt x="114" y="34"/>
                  <a:pt x="114" y="33"/>
                </a:cubicBezTo>
                <a:cubicBezTo>
                  <a:pt x="114" y="33"/>
                  <a:pt x="114" y="33"/>
                  <a:pt x="114" y="33"/>
                </a:cubicBezTo>
                <a:cubicBezTo>
                  <a:pt x="114" y="32"/>
                  <a:pt x="114" y="30"/>
                  <a:pt x="114" y="29"/>
                </a:cubicBezTo>
                <a:cubicBezTo>
                  <a:pt x="114" y="29"/>
                  <a:pt x="114" y="29"/>
                  <a:pt x="113" y="28"/>
                </a:cubicBezTo>
                <a:cubicBezTo>
                  <a:pt x="113" y="27"/>
                  <a:pt x="112" y="25"/>
                  <a:pt x="112" y="24"/>
                </a:cubicBezTo>
                <a:cubicBezTo>
                  <a:pt x="112" y="24"/>
                  <a:pt x="112" y="24"/>
                  <a:pt x="112" y="24"/>
                </a:cubicBezTo>
                <a:cubicBezTo>
                  <a:pt x="112" y="24"/>
                  <a:pt x="112" y="23"/>
                  <a:pt x="112" y="23"/>
                </a:cubicBezTo>
                <a:cubicBezTo>
                  <a:pt x="112" y="23"/>
                  <a:pt x="112" y="23"/>
                  <a:pt x="112" y="23"/>
                </a:cubicBezTo>
                <a:cubicBezTo>
                  <a:pt x="112" y="23"/>
                  <a:pt x="112" y="23"/>
                  <a:pt x="111" y="23"/>
                </a:cubicBezTo>
                <a:cubicBezTo>
                  <a:pt x="111" y="22"/>
                  <a:pt x="111" y="22"/>
                  <a:pt x="111" y="22"/>
                </a:cubicBezTo>
                <a:cubicBezTo>
                  <a:pt x="111" y="22"/>
                  <a:pt x="111" y="22"/>
                  <a:pt x="111" y="22"/>
                </a:cubicBezTo>
                <a:cubicBezTo>
                  <a:pt x="110" y="21"/>
                  <a:pt x="109" y="20"/>
                  <a:pt x="107" y="19"/>
                </a:cubicBezTo>
                <a:cubicBezTo>
                  <a:pt x="106" y="18"/>
                  <a:pt x="105" y="17"/>
                  <a:pt x="105" y="16"/>
                </a:cubicBezTo>
                <a:cubicBezTo>
                  <a:pt x="104" y="15"/>
                  <a:pt x="104" y="14"/>
                  <a:pt x="104" y="13"/>
                </a:cubicBezTo>
                <a:cubicBezTo>
                  <a:pt x="103" y="13"/>
                  <a:pt x="103" y="12"/>
                  <a:pt x="103" y="12"/>
                </a:cubicBezTo>
                <a:cubicBezTo>
                  <a:pt x="103" y="12"/>
                  <a:pt x="103" y="12"/>
                  <a:pt x="103" y="12"/>
                </a:cubicBezTo>
                <a:cubicBezTo>
                  <a:pt x="102" y="12"/>
                  <a:pt x="101" y="11"/>
                  <a:pt x="101" y="10"/>
                </a:cubicBezTo>
                <a:cubicBezTo>
                  <a:pt x="100" y="9"/>
                  <a:pt x="99" y="8"/>
                  <a:pt x="99" y="6"/>
                </a:cubicBezTo>
                <a:cubicBezTo>
                  <a:pt x="98" y="5"/>
                  <a:pt x="98" y="4"/>
                  <a:pt x="97" y="3"/>
                </a:cubicBezTo>
                <a:cubicBezTo>
                  <a:pt x="96" y="2"/>
                  <a:pt x="95" y="1"/>
                  <a:pt x="94" y="1"/>
                </a:cubicBezTo>
                <a:cubicBezTo>
                  <a:pt x="93" y="1"/>
                  <a:pt x="92" y="0"/>
                  <a:pt x="91" y="0"/>
                </a:cubicBezTo>
                <a:cubicBezTo>
                  <a:pt x="91" y="0"/>
                  <a:pt x="91" y="0"/>
                  <a:pt x="91" y="0"/>
                </a:cubicBezTo>
                <a:cubicBezTo>
                  <a:pt x="90" y="0"/>
                  <a:pt x="89" y="0"/>
                  <a:pt x="89" y="1"/>
                </a:cubicBezTo>
                <a:cubicBezTo>
                  <a:pt x="88" y="1"/>
                  <a:pt x="88" y="1"/>
                  <a:pt x="87" y="2"/>
                </a:cubicBezTo>
                <a:cubicBezTo>
                  <a:pt x="86" y="3"/>
                  <a:pt x="84" y="4"/>
                  <a:pt x="82" y="4"/>
                </a:cubicBezTo>
                <a:cubicBezTo>
                  <a:pt x="81" y="4"/>
                  <a:pt x="80" y="5"/>
                  <a:pt x="78" y="5"/>
                </a:cubicBezTo>
                <a:cubicBezTo>
                  <a:pt x="76" y="5"/>
                  <a:pt x="73" y="5"/>
                  <a:pt x="73" y="5"/>
                </a:cubicBezTo>
                <a:cubicBezTo>
                  <a:pt x="73" y="5"/>
                  <a:pt x="72" y="6"/>
                  <a:pt x="72" y="6"/>
                </a:cubicBezTo>
                <a:cubicBezTo>
                  <a:pt x="70" y="8"/>
                  <a:pt x="68" y="10"/>
                  <a:pt x="66" y="9"/>
                </a:cubicBezTo>
                <a:cubicBezTo>
                  <a:pt x="65" y="9"/>
                  <a:pt x="65" y="8"/>
                  <a:pt x="64" y="7"/>
                </a:cubicBezTo>
                <a:cubicBezTo>
                  <a:pt x="63" y="6"/>
                  <a:pt x="62" y="5"/>
                  <a:pt x="61" y="4"/>
                </a:cubicBezTo>
                <a:cubicBezTo>
                  <a:pt x="59" y="4"/>
                  <a:pt x="58" y="4"/>
                  <a:pt x="56" y="4"/>
                </a:cubicBezTo>
                <a:cubicBezTo>
                  <a:pt x="55" y="4"/>
                  <a:pt x="54" y="5"/>
                  <a:pt x="53" y="4"/>
                </a:cubicBezTo>
                <a:cubicBezTo>
                  <a:pt x="51" y="4"/>
                  <a:pt x="50" y="5"/>
                  <a:pt x="50" y="5"/>
                </a:cubicBezTo>
                <a:cubicBezTo>
                  <a:pt x="48" y="5"/>
                  <a:pt x="46" y="5"/>
                  <a:pt x="45" y="4"/>
                </a:cubicBezTo>
                <a:cubicBezTo>
                  <a:pt x="43" y="4"/>
                  <a:pt x="43" y="3"/>
                  <a:pt x="42" y="3"/>
                </a:cubicBezTo>
                <a:cubicBezTo>
                  <a:pt x="42" y="2"/>
                  <a:pt x="42" y="2"/>
                  <a:pt x="41" y="3"/>
                </a:cubicBezTo>
                <a:cubicBezTo>
                  <a:pt x="40" y="3"/>
                  <a:pt x="40" y="3"/>
                  <a:pt x="39" y="4"/>
                </a:cubicBezTo>
                <a:cubicBezTo>
                  <a:pt x="38" y="4"/>
                  <a:pt x="38" y="5"/>
                  <a:pt x="37" y="5"/>
                </a:cubicBezTo>
                <a:cubicBezTo>
                  <a:pt x="37" y="5"/>
                  <a:pt x="36" y="6"/>
                  <a:pt x="35" y="7"/>
                </a:cubicBezTo>
                <a:cubicBezTo>
                  <a:pt x="35" y="7"/>
                  <a:pt x="33" y="8"/>
                  <a:pt x="31" y="9"/>
                </a:cubicBezTo>
                <a:cubicBezTo>
                  <a:pt x="29" y="11"/>
                  <a:pt x="26" y="12"/>
                  <a:pt x="26" y="12"/>
                </a:cubicBezTo>
                <a:cubicBezTo>
                  <a:pt x="26" y="12"/>
                  <a:pt x="26" y="12"/>
                  <a:pt x="26" y="12"/>
                </a:cubicBezTo>
                <a:cubicBezTo>
                  <a:pt x="25" y="13"/>
                  <a:pt x="23" y="16"/>
                  <a:pt x="22" y="18"/>
                </a:cubicBezTo>
                <a:cubicBezTo>
                  <a:pt x="21" y="20"/>
                  <a:pt x="20" y="21"/>
                  <a:pt x="20" y="21"/>
                </a:cubicBezTo>
                <a:cubicBezTo>
                  <a:pt x="20" y="22"/>
                  <a:pt x="19" y="23"/>
                  <a:pt x="19" y="24"/>
                </a:cubicBezTo>
                <a:cubicBezTo>
                  <a:pt x="18" y="26"/>
                  <a:pt x="18" y="28"/>
                  <a:pt x="17" y="29"/>
                </a:cubicBezTo>
                <a:cubicBezTo>
                  <a:pt x="17" y="29"/>
                  <a:pt x="17" y="29"/>
                  <a:pt x="17" y="29"/>
                </a:cubicBezTo>
                <a:cubicBezTo>
                  <a:pt x="16" y="29"/>
                  <a:pt x="16" y="30"/>
                  <a:pt x="15" y="31"/>
                </a:cubicBezTo>
                <a:cubicBezTo>
                  <a:pt x="15" y="31"/>
                  <a:pt x="15" y="31"/>
                  <a:pt x="15" y="31"/>
                </a:cubicBezTo>
                <a:cubicBezTo>
                  <a:pt x="14" y="33"/>
                  <a:pt x="14" y="34"/>
                  <a:pt x="13" y="35"/>
                </a:cubicBezTo>
                <a:cubicBezTo>
                  <a:pt x="11" y="36"/>
                  <a:pt x="10" y="36"/>
                  <a:pt x="8" y="36"/>
                </a:cubicBezTo>
                <a:cubicBezTo>
                  <a:pt x="8" y="36"/>
                  <a:pt x="7" y="35"/>
                  <a:pt x="7" y="35"/>
                </a:cubicBezTo>
                <a:cubicBezTo>
                  <a:pt x="7" y="35"/>
                  <a:pt x="7" y="36"/>
                  <a:pt x="7" y="36"/>
                </a:cubicBezTo>
                <a:cubicBezTo>
                  <a:pt x="7" y="37"/>
                  <a:pt x="7" y="37"/>
                  <a:pt x="6" y="38"/>
                </a:cubicBezTo>
                <a:cubicBezTo>
                  <a:pt x="6" y="39"/>
                  <a:pt x="4" y="39"/>
                  <a:pt x="2" y="39"/>
                </a:cubicBezTo>
                <a:cubicBezTo>
                  <a:pt x="1" y="39"/>
                  <a:pt x="0" y="39"/>
                  <a:pt x="0" y="39"/>
                </a:cubicBezTo>
                <a:cubicBezTo>
                  <a:pt x="0" y="39"/>
                  <a:pt x="4" y="43"/>
                  <a:pt x="6" y="45"/>
                </a:cubicBezTo>
                <a:cubicBezTo>
                  <a:pt x="6" y="46"/>
                  <a:pt x="7" y="46"/>
                  <a:pt x="7" y="46"/>
                </a:cubicBezTo>
                <a:cubicBezTo>
                  <a:pt x="8" y="47"/>
                  <a:pt x="8" y="48"/>
                  <a:pt x="7" y="49"/>
                </a:cubicBezTo>
                <a:cubicBezTo>
                  <a:pt x="7" y="49"/>
                  <a:pt x="7" y="50"/>
                  <a:pt x="8" y="50"/>
                </a:cubicBezTo>
                <a:cubicBezTo>
                  <a:pt x="8" y="50"/>
                  <a:pt x="10" y="51"/>
                  <a:pt x="12" y="51"/>
                </a:cubicBezTo>
                <a:cubicBezTo>
                  <a:pt x="14" y="52"/>
                  <a:pt x="16" y="53"/>
                  <a:pt x="17" y="54"/>
                </a:cubicBezTo>
                <a:cubicBezTo>
                  <a:pt x="19" y="55"/>
                  <a:pt x="19" y="59"/>
                  <a:pt x="19" y="59"/>
                </a:cubicBezTo>
                <a:cubicBezTo>
                  <a:pt x="19" y="60"/>
                  <a:pt x="19" y="60"/>
                  <a:pt x="19" y="60"/>
                </a:cubicBezTo>
                <a:cubicBezTo>
                  <a:pt x="19" y="60"/>
                  <a:pt x="19" y="60"/>
                  <a:pt x="19" y="60"/>
                </a:cubicBezTo>
                <a:cubicBezTo>
                  <a:pt x="19" y="60"/>
                  <a:pt x="17" y="61"/>
                  <a:pt x="16" y="61"/>
                </a:cubicBezTo>
                <a:cubicBezTo>
                  <a:pt x="17" y="62"/>
                  <a:pt x="19" y="62"/>
                  <a:pt x="20" y="63"/>
                </a:cubicBezTo>
                <a:cubicBezTo>
                  <a:pt x="21" y="63"/>
                  <a:pt x="22" y="63"/>
                  <a:pt x="22" y="64"/>
                </a:cubicBezTo>
                <a:cubicBezTo>
                  <a:pt x="23" y="64"/>
                  <a:pt x="24" y="65"/>
                  <a:pt x="25" y="65"/>
                </a:cubicBezTo>
                <a:cubicBezTo>
                  <a:pt x="26" y="66"/>
                  <a:pt x="26" y="66"/>
                  <a:pt x="27" y="66"/>
                </a:cubicBezTo>
                <a:cubicBezTo>
                  <a:pt x="27" y="66"/>
                  <a:pt x="28" y="65"/>
                  <a:pt x="28" y="65"/>
                </a:cubicBezTo>
                <a:cubicBezTo>
                  <a:pt x="29" y="64"/>
                  <a:pt x="29" y="63"/>
                  <a:pt x="30" y="63"/>
                </a:cubicBezTo>
                <a:cubicBezTo>
                  <a:pt x="30" y="63"/>
                  <a:pt x="30" y="63"/>
                  <a:pt x="30" y="63"/>
                </a:cubicBezTo>
                <a:cubicBezTo>
                  <a:pt x="31" y="62"/>
                  <a:pt x="33" y="63"/>
                  <a:pt x="34" y="64"/>
                </a:cubicBezTo>
                <a:cubicBezTo>
                  <a:pt x="34" y="64"/>
                  <a:pt x="35" y="64"/>
                  <a:pt x="35" y="65"/>
                </a:cubicBezTo>
                <a:cubicBezTo>
                  <a:pt x="35" y="65"/>
                  <a:pt x="35" y="65"/>
                  <a:pt x="35" y="66"/>
                </a:cubicBezTo>
                <a:cubicBezTo>
                  <a:pt x="36" y="66"/>
                  <a:pt x="35" y="67"/>
                  <a:pt x="35" y="67"/>
                </a:cubicBezTo>
                <a:cubicBezTo>
                  <a:pt x="35" y="67"/>
                  <a:pt x="35" y="67"/>
                  <a:pt x="34" y="67"/>
                </a:cubicBezTo>
                <a:cubicBezTo>
                  <a:pt x="34" y="67"/>
                  <a:pt x="34" y="67"/>
                  <a:pt x="34" y="67"/>
                </a:cubicBezTo>
                <a:cubicBezTo>
                  <a:pt x="34" y="68"/>
                  <a:pt x="32" y="68"/>
                  <a:pt x="32" y="69"/>
                </a:cubicBezTo>
                <a:cubicBezTo>
                  <a:pt x="32" y="70"/>
                  <a:pt x="34" y="71"/>
                  <a:pt x="34" y="72"/>
                </a:cubicBezTo>
                <a:cubicBezTo>
                  <a:pt x="35" y="72"/>
                  <a:pt x="37" y="73"/>
                  <a:pt x="39" y="74"/>
                </a:cubicBezTo>
                <a:cubicBezTo>
                  <a:pt x="41" y="75"/>
                  <a:pt x="41" y="75"/>
                  <a:pt x="40" y="76"/>
                </a:cubicBezTo>
                <a:cubicBezTo>
                  <a:pt x="40" y="77"/>
                  <a:pt x="40" y="77"/>
                  <a:pt x="40" y="78"/>
                </a:cubicBezTo>
                <a:cubicBezTo>
                  <a:pt x="39" y="78"/>
                  <a:pt x="39" y="79"/>
                  <a:pt x="39" y="80"/>
                </a:cubicBezTo>
                <a:cubicBezTo>
                  <a:pt x="39" y="80"/>
                  <a:pt x="39" y="80"/>
                  <a:pt x="39" y="80"/>
                </a:cubicBezTo>
                <a:cubicBezTo>
                  <a:pt x="40" y="80"/>
                  <a:pt x="41" y="79"/>
                  <a:pt x="42" y="79"/>
                </a:cubicBezTo>
                <a:cubicBezTo>
                  <a:pt x="43" y="79"/>
                  <a:pt x="44" y="78"/>
                  <a:pt x="45" y="78"/>
                </a:cubicBezTo>
                <a:cubicBezTo>
                  <a:pt x="47" y="78"/>
                  <a:pt x="49" y="79"/>
                  <a:pt x="52" y="80"/>
                </a:cubicBezTo>
                <a:cubicBezTo>
                  <a:pt x="53" y="80"/>
                  <a:pt x="55" y="81"/>
                  <a:pt x="56" y="81"/>
                </a:cubicBezTo>
                <a:cubicBezTo>
                  <a:pt x="58" y="82"/>
                  <a:pt x="58" y="81"/>
                  <a:pt x="59" y="80"/>
                </a:cubicBezTo>
                <a:cubicBezTo>
                  <a:pt x="59" y="80"/>
                  <a:pt x="60" y="79"/>
                  <a:pt x="61" y="79"/>
                </a:cubicBezTo>
                <a:cubicBezTo>
                  <a:pt x="63" y="79"/>
                  <a:pt x="65" y="80"/>
                  <a:pt x="68" y="80"/>
                </a:cubicBezTo>
                <a:cubicBezTo>
                  <a:pt x="69" y="81"/>
                  <a:pt x="71" y="81"/>
                  <a:pt x="72" y="82"/>
                </a:cubicBezTo>
                <a:cubicBezTo>
                  <a:pt x="75" y="82"/>
                  <a:pt x="75" y="82"/>
                  <a:pt x="76" y="81"/>
                </a:cubicBezTo>
                <a:cubicBezTo>
                  <a:pt x="77" y="81"/>
                  <a:pt x="78" y="81"/>
                  <a:pt x="79" y="80"/>
                </a:cubicBezTo>
                <a:cubicBezTo>
                  <a:pt x="82" y="80"/>
                  <a:pt x="85" y="77"/>
                  <a:pt x="87" y="76"/>
                </a:cubicBezTo>
                <a:cubicBezTo>
                  <a:pt x="87" y="76"/>
                  <a:pt x="87" y="76"/>
                  <a:pt x="87" y="76"/>
                </a:cubicBezTo>
                <a:cubicBezTo>
                  <a:pt x="88" y="75"/>
                  <a:pt x="88" y="75"/>
                  <a:pt x="89" y="75"/>
                </a:cubicBezTo>
                <a:cubicBezTo>
                  <a:pt x="89" y="74"/>
                  <a:pt x="91" y="74"/>
                  <a:pt x="93" y="74"/>
                </a:cubicBezTo>
                <a:cubicBezTo>
                  <a:pt x="96" y="74"/>
                  <a:pt x="101" y="74"/>
                  <a:pt x="102" y="74"/>
                </a:cubicBezTo>
                <a:cubicBezTo>
                  <a:pt x="103" y="74"/>
                  <a:pt x="108" y="76"/>
                  <a:pt x="113" y="78"/>
                </a:cubicBezTo>
                <a:cubicBezTo>
                  <a:pt x="115" y="79"/>
                  <a:pt x="117" y="80"/>
                  <a:pt x="119" y="80"/>
                </a:cubicBezTo>
                <a:cubicBezTo>
                  <a:pt x="119" y="80"/>
                  <a:pt x="120" y="80"/>
                  <a:pt x="120" y="79"/>
                </a:cubicBezTo>
                <a:cubicBezTo>
                  <a:pt x="120" y="77"/>
                  <a:pt x="119" y="74"/>
                  <a:pt x="119" y="72"/>
                </a:cubicBezTo>
                <a:cubicBezTo>
                  <a:pt x="119" y="70"/>
                  <a:pt x="121" y="70"/>
                  <a:pt x="122" y="69"/>
                </a:cubicBezTo>
                <a:cubicBezTo>
                  <a:pt x="122" y="69"/>
                  <a:pt x="121" y="68"/>
                  <a:pt x="121" y="67"/>
                </a:cubicBezTo>
                <a:cubicBezTo>
                  <a:pt x="121" y="66"/>
                  <a:pt x="124" y="65"/>
                  <a:pt x="124" y="64"/>
                </a:cubicBezTo>
                <a:cubicBezTo>
                  <a:pt x="124" y="64"/>
                  <a:pt x="120" y="64"/>
                  <a:pt x="121" y="62"/>
                </a:cubicBezTo>
                <a:cubicBezTo>
                  <a:pt x="123" y="60"/>
                  <a:pt x="122" y="59"/>
                  <a:pt x="123" y="57"/>
                </a:cubicBezTo>
                <a:cubicBezTo>
                  <a:pt x="123" y="56"/>
                  <a:pt x="125" y="57"/>
                  <a:pt x="126" y="57"/>
                </a:cubicBezTo>
                <a:cubicBezTo>
                  <a:pt x="128" y="58"/>
                  <a:pt x="127" y="59"/>
                  <a:pt x="126" y="60"/>
                </a:cubicBezTo>
                <a:cubicBezTo>
                  <a:pt x="125" y="62"/>
                  <a:pt x="129" y="60"/>
                  <a:pt x="134" y="6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0" name="Freeform 37"/>
          <p:cNvSpPr>
            <a:spLocks/>
          </p:cNvSpPr>
          <p:nvPr/>
        </p:nvSpPr>
        <p:spPr bwMode="auto">
          <a:xfrm>
            <a:off x="4116512" y="4670426"/>
            <a:ext cx="847725" cy="476250"/>
          </a:xfrm>
          <a:custGeom>
            <a:avLst/>
            <a:gdLst>
              <a:gd name="T0" fmla="*/ 54 w 89"/>
              <a:gd name="T1" fmla="*/ 42 h 50"/>
              <a:gd name="T2" fmla="*/ 56 w 89"/>
              <a:gd name="T3" fmla="*/ 42 h 50"/>
              <a:gd name="T4" fmla="*/ 59 w 89"/>
              <a:gd name="T5" fmla="*/ 41 h 50"/>
              <a:gd name="T6" fmla="*/ 64 w 89"/>
              <a:gd name="T7" fmla="*/ 38 h 50"/>
              <a:gd name="T8" fmla="*/ 72 w 89"/>
              <a:gd name="T9" fmla="*/ 38 h 50"/>
              <a:gd name="T10" fmla="*/ 79 w 89"/>
              <a:gd name="T11" fmla="*/ 38 h 50"/>
              <a:gd name="T12" fmla="*/ 80 w 89"/>
              <a:gd name="T13" fmla="*/ 38 h 50"/>
              <a:gd name="T14" fmla="*/ 73 w 89"/>
              <a:gd name="T15" fmla="*/ 29 h 50"/>
              <a:gd name="T16" fmla="*/ 79 w 89"/>
              <a:gd name="T17" fmla="*/ 23 h 50"/>
              <a:gd name="T18" fmla="*/ 82 w 89"/>
              <a:gd name="T19" fmla="*/ 15 h 50"/>
              <a:gd name="T20" fmla="*/ 87 w 89"/>
              <a:gd name="T21" fmla="*/ 14 h 50"/>
              <a:gd name="T22" fmla="*/ 83 w 89"/>
              <a:gd name="T23" fmla="*/ 6 h 50"/>
              <a:gd name="T24" fmla="*/ 63 w 89"/>
              <a:gd name="T25" fmla="*/ 2 h 50"/>
              <a:gd name="T26" fmla="*/ 58 w 89"/>
              <a:gd name="T27" fmla="*/ 4 h 50"/>
              <a:gd name="T28" fmla="*/ 50 w 89"/>
              <a:gd name="T29" fmla="*/ 9 h 50"/>
              <a:gd name="T30" fmla="*/ 42 w 89"/>
              <a:gd name="T31" fmla="*/ 10 h 50"/>
              <a:gd name="T32" fmla="*/ 31 w 89"/>
              <a:gd name="T33" fmla="*/ 8 h 50"/>
              <a:gd name="T34" fmla="*/ 26 w 89"/>
              <a:gd name="T35" fmla="*/ 10 h 50"/>
              <a:gd name="T36" fmla="*/ 15 w 89"/>
              <a:gd name="T37" fmla="*/ 6 h 50"/>
              <a:gd name="T38" fmla="*/ 9 w 89"/>
              <a:gd name="T39" fmla="*/ 8 h 50"/>
              <a:gd name="T40" fmla="*/ 8 w 89"/>
              <a:gd name="T41" fmla="*/ 4 h 50"/>
              <a:gd name="T42" fmla="*/ 9 w 89"/>
              <a:gd name="T43" fmla="*/ 2 h 50"/>
              <a:gd name="T44" fmla="*/ 2 w 89"/>
              <a:gd name="T45" fmla="*/ 3 h 50"/>
              <a:gd name="T46" fmla="*/ 1 w 89"/>
              <a:gd name="T47" fmla="*/ 10 h 50"/>
              <a:gd name="T48" fmla="*/ 3 w 89"/>
              <a:gd name="T49" fmla="*/ 12 h 50"/>
              <a:gd name="T50" fmla="*/ 9 w 89"/>
              <a:gd name="T51" fmla="*/ 18 h 50"/>
              <a:gd name="T52" fmla="*/ 2 w 89"/>
              <a:gd name="T53" fmla="*/ 23 h 50"/>
              <a:gd name="T54" fmla="*/ 1 w 89"/>
              <a:gd name="T55" fmla="*/ 27 h 50"/>
              <a:gd name="T56" fmla="*/ 2 w 89"/>
              <a:gd name="T57" fmla="*/ 27 h 50"/>
              <a:gd name="T58" fmla="*/ 3 w 89"/>
              <a:gd name="T59" fmla="*/ 30 h 50"/>
              <a:gd name="T60" fmla="*/ 1 w 89"/>
              <a:gd name="T61" fmla="*/ 31 h 50"/>
              <a:gd name="T62" fmla="*/ 0 w 89"/>
              <a:gd name="T63" fmla="*/ 32 h 50"/>
              <a:gd name="T64" fmla="*/ 4 w 89"/>
              <a:gd name="T65" fmla="*/ 35 h 50"/>
              <a:gd name="T66" fmla="*/ 8 w 89"/>
              <a:gd name="T67" fmla="*/ 40 h 50"/>
              <a:gd name="T68" fmla="*/ 8 w 89"/>
              <a:gd name="T69" fmla="*/ 49 h 50"/>
              <a:gd name="T70" fmla="*/ 19 w 89"/>
              <a:gd name="T71" fmla="*/ 48 h 50"/>
              <a:gd name="T72" fmla="*/ 25 w 89"/>
              <a:gd name="T73" fmla="*/ 46 h 50"/>
              <a:gd name="T74" fmla="*/ 31 w 89"/>
              <a:gd name="T75" fmla="*/ 45 h 50"/>
              <a:gd name="T76" fmla="*/ 33 w 89"/>
              <a:gd name="T77" fmla="*/ 47 h 50"/>
              <a:gd name="T78" fmla="*/ 40 w 89"/>
              <a:gd name="T79" fmla="*/ 49 h 50"/>
              <a:gd name="T80" fmla="*/ 42 w 89"/>
              <a:gd name="T81" fmla="*/ 50 h 50"/>
              <a:gd name="T82" fmla="*/ 52 w 89"/>
              <a:gd name="T83" fmla="*/ 48 h 50"/>
              <a:gd name="T84" fmla="*/ 52 w 89"/>
              <a:gd name="T85" fmla="*/ 44 h 50"/>
              <a:gd name="T86" fmla="*/ 52 w 89"/>
              <a:gd name="T87" fmla="*/ 4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9" h="50">
                <a:moveTo>
                  <a:pt x="52" y="42"/>
                </a:moveTo>
                <a:cubicBezTo>
                  <a:pt x="53" y="42"/>
                  <a:pt x="53" y="42"/>
                  <a:pt x="54" y="42"/>
                </a:cubicBezTo>
                <a:cubicBezTo>
                  <a:pt x="54" y="42"/>
                  <a:pt x="54" y="42"/>
                  <a:pt x="55" y="42"/>
                </a:cubicBezTo>
                <a:cubicBezTo>
                  <a:pt x="55" y="42"/>
                  <a:pt x="56" y="42"/>
                  <a:pt x="56" y="42"/>
                </a:cubicBezTo>
                <a:cubicBezTo>
                  <a:pt x="57" y="42"/>
                  <a:pt x="57" y="42"/>
                  <a:pt x="58" y="42"/>
                </a:cubicBezTo>
                <a:cubicBezTo>
                  <a:pt x="59" y="42"/>
                  <a:pt x="59" y="41"/>
                  <a:pt x="59" y="41"/>
                </a:cubicBezTo>
                <a:cubicBezTo>
                  <a:pt x="59" y="40"/>
                  <a:pt x="60" y="40"/>
                  <a:pt x="60" y="40"/>
                </a:cubicBezTo>
                <a:cubicBezTo>
                  <a:pt x="60" y="39"/>
                  <a:pt x="62" y="39"/>
                  <a:pt x="64" y="38"/>
                </a:cubicBezTo>
                <a:cubicBezTo>
                  <a:pt x="65" y="37"/>
                  <a:pt x="67" y="37"/>
                  <a:pt x="67" y="37"/>
                </a:cubicBezTo>
                <a:cubicBezTo>
                  <a:pt x="69" y="36"/>
                  <a:pt x="70" y="37"/>
                  <a:pt x="72" y="38"/>
                </a:cubicBezTo>
                <a:cubicBezTo>
                  <a:pt x="73" y="38"/>
                  <a:pt x="73" y="38"/>
                  <a:pt x="74" y="38"/>
                </a:cubicBezTo>
                <a:cubicBezTo>
                  <a:pt x="75" y="39"/>
                  <a:pt x="77" y="39"/>
                  <a:pt x="79" y="38"/>
                </a:cubicBezTo>
                <a:cubicBezTo>
                  <a:pt x="79" y="38"/>
                  <a:pt x="80" y="38"/>
                  <a:pt x="80" y="38"/>
                </a:cubicBezTo>
                <a:cubicBezTo>
                  <a:pt x="80" y="38"/>
                  <a:pt x="80" y="38"/>
                  <a:pt x="80" y="38"/>
                </a:cubicBezTo>
                <a:cubicBezTo>
                  <a:pt x="80" y="36"/>
                  <a:pt x="77" y="31"/>
                  <a:pt x="76" y="30"/>
                </a:cubicBezTo>
                <a:cubicBezTo>
                  <a:pt x="74" y="29"/>
                  <a:pt x="74" y="30"/>
                  <a:pt x="73" y="29"/>
                </a:cubicBezTo>
                <a:cubicBezTo>
                  <a:pt x="71" y="28"/>
                  <a:pt x="77" y="27"/>
                  <a:pt x="78" y="26"/>
                </a:cubicBezTo>
                <a:cubicBezTo>
                  <a:pt x="79" y="25"/>
                  <a:pt x="79" y="25"/>
                  <a:pt x="79" y="23"/>
                </a:cubicBezTo>
                <a:cubicBezTo>
                  <a:pt x="78" y="21"/>
                  <a:pt x="77" y="20"/>
                  <a:pt x="78" y="18"/>
                </a:cubicBezTo>
                <a:cubicBezTo>
                  <a:pt x="79" y="15"/>
                  <a:pt x="80" y="16"/>
                  <a:pt x="82" y="15"/>
                </a:cubicBezTo>
                <a:cubicBezTo>
                  <a:pt x="83" y="15"/>
                  <a:pt x="84" y="13"/>
                  <a:pt x="85" y="12"/>
                </a:cubicBezTo>
                <a:cubicBezTo>
                  <a:pt x="86" y="12"/>
                  <a:pt x="86" y="14"/>
                  <a:pt x="87" y="14"/>
                </a:cubicBezTo>
                <a:cubicBezTo>
                  <a:pt x="88" y="14"/>
                  <a:pt x="89" y="11"/>
                  <a:pt x="89" y="9"/>
                </a:cubicBezTo>
                <a:cubicBezTo>
                  <a:pt x="87" y="8"/>
                  <a:pt x="85" y="7"/>
                  <a:pt x="83" y="6"/>
                </a:cubicBezTo>
                <a:cubicBezTo>
                  <a:pt x="77" y="4"/>
                  <a:pt x="73" y="2"/>
                  <a:pt x="72" y="2"/>
                </a:cubicBezTo>
                <a:cubicBezTo>
                  <a:pt x="70" y="2"/>
                  <a:pt x="67" y="2"/>
                  <a:pt x="63" y="2"/>
                </a:cubicBezTo>
                <a:cubicBezTo>
                  <a:pt x="61" y="2"/>
                  <a:pt x="60" y="3"/>
                  <a:pt x="59" y="3"/>
                </a:cubicBezTo>
                <a:cubicBezTo>
                  <a:pt x="59" y="3"/>
                  <a:pt x="59" y="3"/>
                  <a:pt x="58" y="4"/>
                </a:cubicBezTo>
                <a:cubicBezTo>
                  <a:pt x="58" y="4"/>
                  <a:pt x="58" y="4"/>
                  <a:pt x="58" y="4"/>
                </a:cubicBezTo>
                <a:cubicBezTo>
                  <a:pt x="56" y="6"/>
                  <a:pt x="53" y="8"/>
                  <a:pt x="50" y="9"/>
                </a:cubicBezTo>
                <a:cubicBezTo>
                  <a:pt x="48" y="9"/>
                  <a:pt x="48" y="9"/>
                  <a:pt x="47" y="10"/>
                </a:cubicBezTo>
                <a:cubicBezTo>
                  <a:pt x="46" y="10"/>
                  <a:pt x="45" y="11"/>
                  <a:pt x="42" y="10"/>
                </a:cubicBezTo>
                <a:cubicBezTo>
                  <a:pt x="41" y="10"/>
                  <a:pt x="39" y="9"/>
                  <a:pt x="37" y="9"/>
                </a:cubicBezTo>
                <a:cubicBezTo>
                  <a:pt x="35" y="8"/>
                  <a:pt x="33" y="7"/>
                  <a:pt x="31" y="8"/>
                </a:cubicBezTo>
                <a:cubicBezTo>
                  <a:pt x="31" y="8"/>
                  <a:pt x="30" y="8"/>
                  <a:pt x="30" y="8"/>
                </a:cubicBezTo>
                <a:cubicBezTo>
                  <a:pt x="29" y="9"/>
                  <a:pt x="28" y="10"/>
                  <a:pt x="26" y="10"/>
                </a:cubicBezTo>
                <a:cubicBezTo>
                  <a:pt x="25" y="9"/>
                  <a:pt x="23" y="9"/>
                  <a:pt x="21" y="8"/>
                </a:cubicBezTo>
                <a:cubicBezTo>
                  <a:pt x="19" y="7"/>
                  <a:pt x="16" y="6"/>
                  <a:pt x="15" y="6"/>
                </a:cubicBezTo>
                <a:cubicBezTo>
                  <a:pt x="14" y="7"/>
                  <a:pt x="14" y="7"/>
                  <a:pt x="13" y="7"/>
                </a:cubicBezTo>
                <a:cubicBezTo>
                  <a:pt x="11" y="8"/>
                  <a:pt x="10" y="8"/>
                  <a:pt x="9" y="8"/>
                </a:cubicBezTo>
                <a:cubicBezTo>
                  <a:pt x="8" y="8"/>
                  <a:pt x="7" y="8"/>
                  <a:pt x="7" y="7"/>
                </a:cubicBezTo>
                <a:cubicBezTo>
                  <a:pt x="7" y="6"/>
                  <a:pt x="8" y="5"/>
                  <a:pt x="8" y="4"/>
                </a:cubicBezTo>
                <a:cubicBezTo>
                  <a:pt x="9" y="3"/>
                  <a:pt x="9" y="3"/>
                  <a:pt x="9" y="3"/>
                </a:cubicBezTo>
                <a:cubicBezTo>
                  <a:pt x="9" y="3"/>
                  <a:pt x="9" y="2"/>
                  <a:pt x="9" y="2"/>
                </a:cubicBezTo>
                <a:cubicBezTo>
                  <a:pt x="7" y="2"/>
                  <a:pt x="5" y="1"/>
                  <a:pt x="4" y="0"/>
                </a:cubicBezTo>
                <a:cubicBezTo>
                  <a:pt x="4" y="1"/>
                  <a:pt x="3" y="2"/>
                  <a:pt x="2" y="3"/>
                </a:cubicBezTo>
                <a:cubicBezTo>
                  <a:pt x="1" y="5"/>
                  <a:pt x="1" y="6"/>
                  <a:pt x="1" y="6"/>
                </a:cubicBezTo>
                <a:cubicBezTo>
                  <a:pt x="0" y="6"/>
                  <a:pt x="1" y="8"/>
                  <a:pt x="1" y="10"/>
                </a:cubicBezTo>
                <a:cubicBezTo>
                  <a:pt x="2" y="11"/>
                  <a:pt x="2" y="12"/>
                  <a:pt x="3" y="12"/>
                </a:cubicBezTo>
                <a:cubicBezTo>
                  <a:pt x="3" y="12"/>
                  <a:pt x="3" y="12"/>
                  <a:pt x="3" y="12"/>
                </a:cubicBezTo>
                <a:cubicBezTo>
                  <a:pt x="3" y="12"/>
                  <a:pt x="4" y="12"/>
                  <a:pt x="4" y="13"/>
                </a:cubicBezTo>
                <a:cubicBezTo>
                  <a:pt x="6" y="14"/>
                  <a:pt x="10" y="15"/>
                  <a:pt x="9" y="18"/>
                </a:cubicBezTo>
                <a:cubicBezTo>
                  <a:pt x="9" y="19"/>
                  <a:pt x="6" y="21"/>
                  <a:pt x="4" y="22"/>
                </a:cubicBezTo>
                <a:cubicBezTo>
                  <a:pt x="3" y="23"/>
                  <a:pt x="2" y="23"/>
                  <a:pt x="2" y="23"/>
                </a:cubicBezTo>
                <a:cubicBezTo>
                  <a:pt x="2" y="24"/>
                  <a:pt x="2" y="25"/>
                  <a:pt x="1" y="25"/>
                </a:cubicBezTo>
                <a:cubicBezTo>
                  <a:pt x="1" y="26"/>
                  <a:pt x="1" y="27"/>
                  <a:pt x="1" y="27"/>
                </a:cubicBezTo>
                <a:cubicBezTo>
                  <a:pt x="1" y="27"/>
                  <a:pt x="1" y="27"/>
                  <a:pt x="1" y="27"/>
                </a:cubicBezTo>
                <a:cubicBezTo>
                  <a:pt x="2" y="27"/>
                  <a:pt x="2" y="27"/>
                  <a:pt x="2" y="27"/>
                </a:cubicBezTo>
                <a:cubicBezTo>
                  <a:pt x="2" y="28"/>
                  <a:pt x="3" y="28"/>
                  <a:pt x="3" y="28"/>
                </a:cubicBezTo>
                <a:cubicBezTo>
                  <a:pt x="4" y="28"/>
                  <a:pt x="4" y="29"/>
                  <a:pt x="3" y="30"/>
                </a:cubicBezTo>
                <a:cubicBezTo>
                  <a:pt x="3" y="31"/>
                  <a:pt x="2" y="31"/>
                  <a:pt x="1" y="31"/>
                </a:cubicBezTo>
                <a:cubicBezTo>
                  <a:pt x="1" y="31"/>
                  <a:pt x="1" y="31"/>
                  <a:pt x="1" y="31"/>
                </a:cubicBezTo>
                <a:cubicBezTo>
                  <a:pt x="1" y="31"/>
                  <a:pt x="1" y="32"/>
                  <a:pt x="0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32"/>
                  <a:pt x="1" y="32"/>
                  <a:pt x="1" y="32"/>
                </a:cubicBezTo>
                <a:cubicBezTo>
                  <a:pt x="1" y="32"/>
                  <a:pt x="2" y="34"/>
                  <a:pt x="4" y="35"/>
                </a:cubicBezTo>
                <a:cubicBezTo>
                  <a:pt x="5" y="36"/>
                  <a:pt x="6" y="38"/>
                  <a:pt x="7" y="39"/>
                </a:cubicBezTo>
                <a:cubicBezTo>
                  <a:pt x="7" y="39"/>
                  <a:pt x="8" y="40"/>
                  <a:pt x="8" y="40"/>
                </a:cubicBezTo>
                <a:cubicBezTo>
                  <a:pt x="9" y="41"/>
                  <a:pt x="9" y="41"/>
                  <a:pt x="9" y="43"/>
                </a:cubicBezTo>
                <a:cubicBezTo>
                  <a:pt x="9" y="44"/>
                  <a:pt x="9" y="47"/>
                  <a:pt x="8" y="49"/>
                </a:cubicBezTo>
                <a:cubicBezTo>
                  <a:pt x="10" y="49"/>
                  <a:pt x="12" y="49"/>
                  <a:pt x="14" y="49"/>
                </a:cubicBezTo>
                <a:cubicBezTo>
                  <a:pt x="16" y="49"/>
                  <a:pt x="18" y="48"/>
                  <a:pt x="19" y="48"/>
                </a:cubicBezTo>
                <a:cubicBezTo>
                  <a:pt x="20" y="48"/>
                  <a:pt x="22" y="47"/>
                  <a:pt x="23" y="47"/>
                </a:cubicBezTo>
                <a:cubicBezTo>
                  <a:pt x="24" y="46"/>
                  <a:pt x="24" y="46"/>
                  <a:pt x="25" y="46"/>
                </a:cubicBezTo>
                <a:cubicBezTo>
                  <a:pt x="26" y="45"/>
                  <a:pt x="28" y="45"/>
                  <a:pt x="30" y="45"/>
                </a:cubicBezTo>
                <a:cubicBezTo>
                  <a:pt x="30" y="45"/>
                  <a:pt x="30" y="45"/>
                  <a:pt x="31" y="45"/>
                </a:cubicBezTo>
                <a:cubicBezTo>
                  <a:pt x="32" y="45"/>
                  <a:pt x="32" y="46"/>
                  <a:pt x="33" y="47"/>
                </a:cubicBezTo>
                <a:cubicBezTo>
                  <a:pt x="33" y="47"/>
                  <a:pt x="33" y="47"/>
                  <a:pt x="33" y="47"/>
                </a:cubicBezTo>
                <a:cubicBezTo>
                  <a:pt x="34" y="47"/>
                  <a:pt x="35" y="48"/>
                  <a:pt x="35" y="48"/>
                </a:cubicBezTo>
                <a:cubicBezTo>
                  <a:pt x="36" y="48"/>
                  <a:pt x="39" y="49"/>
                  <a:pt x="40" y="49"/>
                </a:cubicBezTo>
                <a:cubicBezTo>
                  <a:pt x="41" y="49"/>
                  <a:pt x="42" y="50"/>
                  <a:pt x="42" y="50"/>
                </a:cubicBezTo>
                <a:cubicBezTo>
                  <a:pt x="42" y="50"/>
                  <a:pt x="42" y="50"/>
                  <a:pt x="42" y="50"/>
                </a:cubicBezTo>
                <a:cubicBezTo>
                  <a:pt x="42" y="50"/>
                  <a:pt x="45" y="49"/>
                  <a:pt x="47" y="49"/>
                </a:cubicBezTo>
                <a:cubicBezTo>
                  <a:pt x="49" y="49"/>
                  <a:pt x="52" y="48"/>
                  <a:pt x="52" y="48"/>
                </a:cubicBezTo>
                <a:cubicBezTo>
                  <a:pt x="52" y="48"/>
                  <a:pt x="52" y="48"/>
                  <a:pt x="52" y="47"/>
                </a:cubicBezTo>
                <a:cubicBezTo>
                  <a:pt x="52" y="46"/>
                  <a:pt x="52" y="45"/>
                  <a:pt x="52" y="44"/>
                </a:cubicBezTo>
                <a:cubicBezTo>
                  <a:pt x="52" y="44"/>
                  <a:pt x="52" y="44"/>
                  <a:pt x="52" y="44"/>
                </a:cubicBezTo>
                <a:cubicBezTo>
                  <a:pt x="52" y="43"/>
                  <a:pt x="52" y="43"/>
                  <a:pt x="52" y="4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1" name="Freeform 38"/>
          <p:cNvSpPr>
            <a:spLocks/>
          </p:cNvSpPr>
          <p:nvPr/>
        </p:nvSpPr>
        <p:spPr bwMode="auto">
          <a:xfrm>
            <a:off x="4592762" y="5470526"/>
            <a:ext cx="104775" cy="66675"/>
          </a:xfrm>
          <a:custGeom>
            <a:avLst/>
            <a:gdLst>
              <a:gd name="T0" fmla="*/ 9 w 11"/>
              <a:gd name="T1" fmla="*/ 1 h 7"/>
              <a:gd name="T2" fmla="*/ 6 w 11"/>
              <a:gd name="T3" fmla="*/ 0 h 7"/>
              <a:gd name="T4" fmla="*/ 2 w 11"/>
              <a:gd name="T5" fmla="*/ 1 h 7"/>
              <a:gd name="T6" fmla="*/ 5 w 11"/>
              <a:gd name="T7" fmla="*/ 2 h 7"/>
              <a:gd name="T8" fmla="*/ 5 w 11"/>
              <a:gd name="T9" fmla="*/ 5 h 7"/>
              <a:gd name="T10" fmla="*/ 9 w 11"/>
              <a:gd name="T11" fmla="*/ 6 h 7"/>
              <a:gd name="T12" fmla="*/ 8 w 11"/>
              <a:gd name="T13" fmla="*/ 4 h 7"/>
              <a:gd name="T14" fmla="*/ 9 w 11"/>
              <a:gd name="T1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" h="7">
                <a:moveTo>
                  <a:pt x="9" y="1"/>
                </a:moveTo>
                <a:cubicBezTo>
                  <a:pt x="9" y="0"/>
                  <a:pt x="7" y="0"/>
                  <a:pt x="6" y="0"/>
                </a:cubicBezTo>
                <a:cubicBezTo>
                  <a:pt x="5" y="0"/>
                  <a:pt x="3" y="0"/>
                  <a:pt x="2" y="1"/>
                </a:cubicBezTo>
                <a:cubicBezTo>
                  <a:pt x="0" y="1"/>
                  <a:pt x="3" y="2"/>
                  <a:pt x="5" y="2"/>
                </a:cubicBezTo>
                <a:cubicBezTo>
                  <a:pt x="6" y="2"/>
                  <a:pt x="5" y="4"/>
                  <a:pt x="5" y="5"/>
                </a:cubicBezTo>
                <a:cubicBezTo>
                  <a:pt x="4" y="6"/>
                  <a:pt x="7" y="7"/>
                  <a:pt x="9" y="6"/>
                </a:cubicBezTo>
                <a:cubicBezTo>
                  <a:pt x="11" y="6"/>
                  <a:pt x="9" y="5"/>
                  <a:pt x="8" y="4"/>
                </a:cubicBezTo>
                <a:cubicBezTo>
                  <a:pt x="7" y="2"/>
                  <a:pt x="9" y="2"/>
                  <a:pt x="9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2" name="Freeform 39"/>
          <p:cNvSpPr>
            <a:spLocks/>
          </p:cNvSpPr>
          <p:nvPr/>
        </p:nvSpPr>
        <p:spPr bwMode="auto">
          <a:xfrm>
            <a:off x="4573712" y="5575301"/>
            <a:ext cx="47625" cy="95250"/>
          </a:xfrm>
          <a:custGeom>
            <a:avLst/>
            <a:gdLst>
              <a:gd name="T0" fmla="*/ 1 w 5"/>
              <a:gd name="T1" fmla="*/ 2 h 10"/>
              <a:gd name="T2" fmla="*/ 1 w 5"/>
              <a:gd name="T3" fmla="*/ 6 h 10"/>
              <a:gd name="T4" fmla="*/ 3 w 5"/>
              <a:gd name="T5" fmla="*/ 8 h 10"/>
              <a:gd name="T6" fmla="*/ 5 w 5"/>
              <a:gd name="T7" fmla="*/ 4 h 10"/>
              <a:gd name="T8" fmla="*/ 1 w 5"/>
              <a:gd name="T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0">
                <a:moveTo>
                  <a:pt x="1" y="2"/>
                </a:moveTo>
                <a:cubicBezTo>
                  <a:pt x="1" y="3"/>
                  <a:pt x="0" y="5"/>
                  <a:pt x="1" y="6"/>
                </a:cubicBezTo>
                <a:cubicBezTo>
                  <a:pt x="1" y="7"/>
                  <a:pt x="2" y="10"/>
                  <a:pt x="3" y="8"/>
                </a:cubicBezTo>
                <a:cubicBezTo>
                  <a:pt x="4" y="7"/>
                  <a:pt x="5" y="6"/>
                  <a:pt x="5" y="4"/>
                </a:cubicBezTo>
                <a:cubicBezTo>
                  <a:pt x="5" y="2"/>
                  <a:pt x="5" y="0"/>
                  <a:pt x="1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3" name="Freeform 40"/>
          <p:cNvSpPr>
            <a:spLocks/>
          </p:cNvSpPr>
          <p:nvPr/>
        </p:nvSpPr>
        <p:spPr bwMode="auto">
          <a:xfrm>
            <a:off x="3811712" y="5089526"/>
            <a:ext cx="876300" cy="657225"/>
          </a:xfrm>
          <a:custGeom>
            <a:avLst/>
            <a:gdLst>
              <a:gd name="T0" fmla="*/ 54 w 92"/>
              <a:gd name="T1" fmla="*/ 58 h 69"/>
              <a:gd name="T2" fmla="*/ 44 w 92"/>
              <a:gd name="T3" fmla="*/ 53 h 69"/>
              <a:gd name="T4" fmla="*/ 34 w 92"/>
              <a:gd name="T5" fmla="*/ 47 h 69"/>
              <a:gd name="T6" fmla="*/ 38 w 92"/>
              <a:gd name="T7" fmla="*/ 39 h 69"/>
              <a:gd name="T8" fmla="*/ 46 w 92"/>
              <a:gd name="T9" fmla="*/ 42 h 69"/>
              <a:gd name="T10" fmla="*/ 35 w 92"/>
              <a:gd name="T11" fmla="*/ 26 h 69"/>
              <a:gd name="T12" fmla="*/ 39 w 92"/>
              <a:gd name="T13" fmla="*/ 20 h 69"/>
              <a:gd name="T14" fmla="*/ 44 w 92"/>
              <a:gd name="T15" fmla="*/ 29 h 69"/>
              <a:gd name="T16" fmla="*/ 46 w 92"/>
              <a:gd name="T17" fmla="*/ 26 h 69"/>
              <a:gd name="T18" fmla="*/ 56 w 92"/>
              <a:gd name="T19" fmla="*/ 28 h 69"/>
              <a:gd name="T20" fmla="*/ 55 w 92"/>
              <a:gd name="T21" fmla="*/ 24 h 69"/>
              <a:gd name="T22" fmla="*/ 51 w 92"/>
              <a:gd name="T23" fmla="*/ 18 h 69"/>
              <a:gd name="T24" fmla="*/ 66 w 92"/>
              <a:gd name="T25" fmla="*/ 13 h 69"/>
              <a:gd name="T26" fmla="*/ 84 w 92"/>
              <a:gd name="T27" fmla="*/ 16 h 69"/>
              <a:gd name="T28" fmla="*/ 88 w 92"/>
              <a:gd name="T29" fmla="*/ 12 h 69"/>
              <a:gd name="T30" fmla="*/ 88 w 92"/>
              <a:gd name="T31" fmla="*/ 10 h 69"/>
              <a:gd name="T32" fmla="*/ 92 w 92"/>
              <a:gd name="T33" fmla="*/ 4 h 69"/>
              <a:gd name="T34" fmla="*/ 88 w 92"/>
              <a:gd name="T35" fmla="*/ 0 h 69"/>
              <a:gd name="T36" fmla="*/ 85 w 92"/>
              <a:gd name="T37" fmla="*/ 0 h 69"/>
              <a:gd name="T38" fmla="*/ 85 w 92"/>
              <a:gd name="T39" fmla="*/ 0 h 69"/>
              <a:gd name="T40" fmla="*/ 79 w 92"/>
              <a:gd name="T41" fmla="*/ 6 h 69"/>
              <a:gd name="T42" fmla="*/ 72 w 92"/>
              <a:gd name="T43" fmla="*/ 7 h 69"/>
              <a:gd name="T44" fmla="*/ 63 w 92"/>
              <a:gd name="T45" fmla="*/ 3 h 69"/>
              <a:gd name="T46" fmla="*/ 56 w 92"/>
              <a:gd name="T47" fmla="*/ 4 h 69"/>
              <a:gd name="T48" fmla="*/ 38 w 92"/>
              <a:gd name="T49" fmla="*/ 6 h 69"/>
              <a:gd name="T50" fmla="*/ 32 w 92"/>
              <a:gd name="T51" fmla="*/ 10 h 69"/>
              <a:gd name="T52" fmla="*/ 30 w 92"/>
              <a:gd name="T53" fmla="*/ 9 h 69"/>
              <a:gd name="T54" fmla="*/ 25 w 92"/>
              <a:gd name="T55" fmla="*/ 11 h 69"/>
              <a:gd name="T56" fmla="*/ 15 w 92"/>
              <a:gd name="T57" fmla="*/ 14 h 69"/>
              <a:gd name="T58" fmla="*/ 13 w 92"/>
              <a:gd name="T59" fmla="*/ 14 h 69"/>
              <a:gd name="T60" fmla="*/ 13 w 92"/>
              <a:gd name="T61" fmla="*/ 17 h 69"/>
              <a:gd name="T62" fmla="*/ 12 w 92"/>
              <a:gd name="T63" fmla="*/ 19 h 69"/>
              <a:gd name="T64" fmla="*/ 7 w 92"/>
              <a:gd name="T65" fmla="*/ 27 h 69"/>
              <a:gd name="T66" fmla="*/ 3 w 92"/>
              <a:gd name="T67" fmla="*/ 29 h 69"/>
              <a:gd name="T68" fmla="*/ 3 w 92"/>
              <a:gd name="T69" fmla="*/ 30 h 69"/>
              <a:gd name="T70" fmla="*/ 2 w 92"/>
              <a:gd name="T71" fmla="*/ 33 h 69"/>
              <a:gd name="T72" fmla="*/ 2 w 92"/>
              <a:gd name="T73" fmla="*/ 33 h 69"/>
              <a:gd name="T74" fmla="*/ 0 w 92"/>
              <a:gd name="T75" fmla="*/ 37 h 69"/>
              <a:gd name="T76" fmla="*/ 12 w 92"/>
              <a:gd name="T77" fmla="*/ 44 h 69"/>
              <a:gd name="T78" fmla="*/ 8 w 92"/>
              <a:gd name="T79" fmla="*/ 48 h 69"/>
              <a:gd name="T80" fmla="*/ 18 w 92"/>
              <a:gd name="T81" fmla="*/ 55 h 69"/>
              <a:gd name="T82" fmla="*/ 39 w 92"/>
              <a:gd name="T83" fmla="*/ 57 h 69"/>
              <a:gd name="T84" fmla="*/ 48 w 92"/>
              <a:gd name="T85" fmla="*/ 61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2" h="69">
                <a:moveTo>
                  <a:pt x="54" y="67"/>
                </a:moveTo>
                <a:cubicBezTo>
                  <a:pt x="56" y="69"/>
                  <a:pt x="55" y="67"/>
                  <a:pt x="55" y="64"/>
                </a:cubicBezTo>
                <a:cubicBezTo>
                  <a:pt x="55" y="62"/>
                  <a:pt x="55" y="60"/>
                  <a:pt x="54" y="58"/>
                </a:cubicBezTo>
                <a:cubicBezTo>
                  <a:pt x="52" y="57"/>
                  <a:pt x="51" y="58"/>
                  <a:pt x="49" y="57"/>
                </a:cubicBezTo>
                <a:cubicBezTo>
                  <a:pt x="47" y="55"/>
                  <a:pt x="49" y="55"/>
                  <a:pt x="48" y="55"/>
                </a:cubicBezTo>
                <a:cubicBezTo>
                  <a:pt x="46" y="54"/>
                  <a:pt x="45" y="54"/>
                  <a:pt x="44" y="53"/>
                </a:cubicBezTo>
                <a:cubicBezTo>
                  <a:pt x="42" y="53"/>
                  <a:pt x="42" y="51"/>
                  <a:pt x="41" y="50"/>
                </a:cubicBezTo>
                <a:cubicBezTo>
                  <a:pt x="40" y="49"/>
                  <a:pt x="38" y="49"/>
                  <a:pt x="37" y="49"/>
                </a:cubicBezTo>
                <a:cubicBezTo>
                  <a:pt x="35" y="49"/>
                  <a:pt x="34" y="48"/>
                  <a:pt x="34" y="47"/>
                </a:cubicBezTo>
                <a:cubicBezTo>
                  <a:pt x="34" y="46"/>
                  <a:pt x="37" y="46"/>
                  <a:pt x="38" y="46"/>
                </a:cubicBezTo>
                <a:cubicBezTo>
                  <a:pt x="40" y="45"/>
                  <a:pt x="40" y="45"/>
                  <a:pt x="39" y="44"/>
                </a:cubicBezTo>
                <a:cubicBezTo>
                  <a:pt x="39" y="43"/>
                  <a:pt x="38" y="40"/>
                  <a:pt x="38" y="39"/>
                </a:cubicBezTo>
                <a:cubicBezTo>
                  <a:pt x="38" y="39"/>
                  <a:pt x="41" y="39"/>
                  <a:pt x="42" y="40"/>
                </a:cubicBezTo>
                <a:cubicBezTo>
                  <a:pt x="43" y="42"/>
                  <a:pt x="42" y="41"/>
                  <a:pt x="42" y="43"/>
                </a:cubicBezTo>
                <a:cubicBezTo>
                  <a:pt x="42" y="45"/>
                  <a:pt x="45" y="43"/>
                  <a:pt x="46" y="42"/>
                </a:cubicBezTo>
                <a:cubicBezTo>
                  <a:pt x="46" y="41"/>
                  <a:pt x="43" y="38"/>
                  <a:pt x="41" y="37"/>
                </a:cubicBezTo>
                <a:cubicBezTo>
                  <a:pt x="39" y="35"/>
                  <a:pt x="39" y="34"/>
                  <a:pt x="38" y="31"/>
                </a:cubicBezTo>
                <a:cubicBezTo>
                  <a:pt x="38" y="29"/>
                  <a:pt x="36" y="29"/>
                  <a:pt x="35" y="26"/>
                </a:cubicBezTo>
                <a:cubicBezTo>
                  <a:pt x="34" y="23"/>
                  <a:pt x="35" y="22"/>
                  <a:pt x="36" y="20"/>
                </a:cubicBezTo>
                <a:cubicBezTo>
                  <a:pt x="36" y="18"/>
                  <a:pt x="38" y="17"/>
                  <a:pt x="39" y="16"/>
                </a:cubicBezTo>
                <a:cubicBezTo>
                  <a:pt x="40" y="16"/>
                  <a:pt x="40" y="18"/>
                  <a:pt x="39" y="20"/>
                </a:cubicBezTo>
                <a:cubicBezTo>
                  <a:pt x="38" y="22"/>
                  <a:pt x="39" y="21"/>
                  <a:pt x="41" y="23"/>
                </a:cubicBezTo>
                <a:cubicBezTo>
                  <a:pt x="42" y="24"/>
                  <a:pt x="43" y="24"/>
                  <a:pt x="44" y="26"/>
                </a:cubicBezTo>
                <a:cubicBezTo>
                  <a:pt x="44" y="27"/>
                  <a:pt x="44" y="28"/>
                  <a:pt x="44" y="29"/>
                </a:cubicBezTo>
                <a:cubicBezTo>
                  <a:pt x="44" y="30"/>
                  <a:pt x="47" y="30"/>
                  <a:pt x="48" y="30"/>
                </a:cubicBezTo>
                <a:cubicBezTo>
                  <a:pt x="50" y="30"/>
                  <a:pt x="50" y="30"/>
                  <a:pt x="50" y="29"/>
                </a:cubicBezTo>
                <a:cubicBezTo>
                  <a:pt x="49" y="29"/>
                  <a:pt x="46" y="26"/>
                  <a:pt x="46" y="26"/>
                </a:cubicBezTo>
                <a:cubicBezTo>
                  <a:pt x="46" y="25"/>
                  <a:pt x="47" y="25"/>
                  <a:pt x="49" y="25"/>
                </a:cubicBezTo>
                <a:cubicBezTo>
                  <a:pt x="50" y="26"/>
                  <a:pt x="52" y="28"/>
                  <a:pt x="54" y="29"/>
                </a:cubicBezTo>
                <a:cubicBezTo>
                  <a:pt x="55" y="30"/>
                  <a:pt x="55" y="29"/>
                  <a:pt x="56" y="28"/>
                </a:cubicBezTo>
                <a:cubicBezTo>
                  <a:pt x="57" y="28"/>
                  <a:pt x="54" y="27"/>
                  <a:pt x="52" y="26"/>
                </a:cubicBezTo>
                <a:cubicBezTo>
                  <a:pt x="51" y="25"/>
                  <a:pt x="51" y="24"/>
                  <a:pt x="52" y="23"/>
                </a:cubicBezTo>
                <a:cubicBezTo>
                  <a:pt x="53" y="22"/>
                  <a:pt x="54" y="24"/>
                  <a:pt x="55" y="24"/>
                </a:cubicBezTo>
                <a:cubicBezTo>
                  <a:pt x="57" y="25"/>
                  <a:pt x="59" y="25"/>
                  <a:pt x="60" y="25"/>
                </a:cubicBezTo>
                <a:cubicBezTo>
                  <a:pt x="61" y="25"/>
                  <a:pt x="56" y="22"/>
                  <a:pt x="54" y="21"/>
                </a:cubicBezTo>
                <a:cubicBezTo>
                  <a:pt x="52" y="20"/>
                  <a:pt x="52" y="18"/>
                  <a:pt x="51" y="18"/>
                </a:cubicBezTo>
                <a:cubicBezTo>
                  <a:pt x="51" y="17"/>
                  <a:pt x="51" y="15"/>
                  <a:pt x="53" y="15"/>
                </a:cubicBezTo>
                <a:cubicBezTo>
                  <a:pt x="55" y="15"/>
                  <a:pt x="55" y="15"/>
                  <a:pt x="59" y="13"/>
                </a:cubicBezTo>
                <a:cubicBezTo>
                  <a:pt x="63" y="12"/>
                  <a:pt x="62" y="11"/>
                  <a:pt x="66" y="13"/>
                </a:cubicBezTo>
                <a:cubicBezTo>
                  <a:pt x="70" y="16"/>
                  <a:pt x="68" y="11"/>
                  <a:pt x="69" y="10"/>
                </a:cubicBezTo>
                <a:cubicBezTo>
                  <a:pt x="71" y="9"/>
                  <a:pt x="75" y="11"/>
                  <a:pt x="79" y="13"/>
                </a:cubicBezTo>
                <a:cubicBezTo>
                  <a:pt x="82" y="14"/>
                  <a:pt x="83" y="15"/>
                  <a:pt x="84" y="16"/>
                </a:cubicBezTo>
                <a:cubicBezTo>
                  <a:pt x="85" y="15"/>
                  <a:pt x="85" y="15"/>
                  <a:pt x="85" y="15"/>
                </a:cubicBezTo>
                <a:cubicBezTo>
                  <a:pt x="86" y="14"/>
                  <a:pt x="87" y="13"/>
                  <a:pt x="87" y="13"/>
                </a:cubicBezTo>
                <a:cubicBezTo>
                  <a:pt x="88" y="13"/>
                  <a:pt x="88" y="13"/>
                  <a:pt x="88" y="12"/>
                </a:cubicBezTo>
                <a:cubicBezTo>
                  <a:pt x="88" y="12"/>
                  <a:pt x="88" y="12"/>
                  <a:pt x="88" y="12"/>
                </a:cubicBezTo>
                <a:cubicBezTo>
                  <a:pt x="88" y="12"/>
                  <a:pt x="89" y="12"/>
                  <a:pt x="89" y="11"/>
                </a:cubicBezTo>
                <a:cubicBezTo>
                  <a:pt x="89" y="11"/>
                  <a:pt x="88" y="11"/>
                  <a:pt x="88" y="10"/>
                </a:cubicBezTo>
                <a:cubicBezTo>
                  <a:pt x="88" y="10"/>
                  <a:pt x="87" y="9"/>
                  <a:pt x="89" y="7"/>
                </a:cubicBezTo>
                <a:cubicBezTo>
                  <a:pt x="89" y="6"/>
                  <a:pt x="90" y="6"/>
                  <a:pt x="91" y="5"/>
                </a:cubicBezTo>
                <a:cubicBezTo>
                  <a:pt x="92" y="5"/>
                  <a:pt x="92" y="5"/>
                  <a:pt x="92" y="4"/>
                </a:cubicBezTo>
                <a:cubicBezTo>
                  <a:pt x="92" y="3"/>
                  <a:pt x="91" y="0"/>
                  <a:pt x="90" y="0"/>
                </a:cubicBezTo>
                <a:cubicBezTo>
                  <a:pt x="90" y="0"/>
                  <a:pt x="90" y="0"/>
                  <a:pt x="90" y="0"/>
                </a:cubicBezTo>
                <a:cubicBezTo>
                  <a:pt x="89" y="0"/>
                  <a:pt x="89" y="0"/>
                  <a:pt x="88" y="0"/>
                </a:cubicBezTo>
                <a:cubicBezTo>
                  <a:pt x="88" y="0"/>
                  <a:pt x="87" y="0"/>
                  <a:pt x="87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86" y="0"/>
                  <a:pt x="86" y="0"/>
                  <a:pt x="8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85" y="1"/>
                  <a:pt x="85" y="2"/>
                  <a:pt x="85" y="3"/>
                </a:cubicBezTo>
                <a:cubicBezTo>
                  <a:pt x="85" y="4"/>
                  <a:pt x="85" y="5"/>
                  <a:pt x="84" y="5"/>
                </a:cubicBezTo>
                <a:cubicBezTo>
                  <a:pt x="84" y="6"/>
                  <a:pt x="82" y="6"/>
                  <a:pt x="79" y="6"/>
                </a:cubicBezTo>
                <a:cubicBezTo>
                  <a:pt x="77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3" y="7"/>
                  <a:pt x="73" y="7"/>
                  <a:pt x="72" y="7"/>
                </a:cubicBezTo>
                <a:cubicBezTo>
                  <a:pt x="70" y="6"/>
                  <a:pt x="68" y="5"/>
                  <a:pt x="67" y="5"/>
                </a:cubicBezTo>
                <a:cubicBezTo>
                  <a:pt x="66" y="5"/>
                  <a:pt x="65" y="5"/>
                  <a:pt x="64" y="4"/>
                </a:cubicBezTo>
                <a:cubicBezTo>
                  <a:pt x="64" y="3"/>
                  <a:pt x="63" y="2"/>
                  <a:pt x="63" y="3"/>
                </a:cubicBezTo>
                <a:cubicBezTo>
                  <a:pt x="62" y="3"/>
                  <a:pt x="62" y="3"/>
                  <a:pt x="62" y="3"/>
                </a:cubicBezTo>
                <a:cubicBezTo>
                  <a:pt x="60" y="3"/>
                  <a:pt x="58" y="3"/>
                  <a:pt x="57" y="3"/>
                </a:cubicBezTo>
                <a:cubicBezTo>
                  <a:pt x="57" y="3"/>
                  <a:pt x="56" y="3"/>
                  <a:pt x="56" y="4"/>
                </a:cubicBezTo>
                <a:cubicBezTo>
                  <a:pt x="54" y="5"/>
                  <a:pt x="52" y="6"/>
                  <a:pt x="51" y="6"/>
                </a:cubicBezTo>
                <a:cubicBezTo>
                  <a:pt x="50" y="6"/>
                  <a:pt x="48" y="6"/>
                  <a:pt x="46" y="6"/>
                </a:cubicBezTo>
                <a:cubicBezTo>
                  <a:pt x="42" y="6"/>
                  <a:pt x="38" y="6"/>
                  <a:pt x="38" y="6"/>
                </a:cubicBezTo>
                <a:cubicBezTo>
                  <a:pt x="38" y="6"/>
                  <a:pt x="38" y="7"/>
                  <a:pt x="37" y="7"/>
                </a:cubicBezTo>
                <a:cubicBezTo>
                  <a:pt x="37" y="8"/>
                  <a:pt x="36" y="9"/>
                  <a:pt x="36" y="9"/>
                </a:cubicBezTo>
                <a:cubicBezTo>
                  <a:pt x="36" y="10"/>
                  <a:pt x="33" y="10"/>
                  <a:pt x="32" y="10"/>
                </a:cubicBezTo>
                <a:cubicBezTo>
                  <a:pt x="32" y="10"/>
                  <a:pt x="32" y="10"/>
                  <a:pt x="32" y="10"/>
                </a:cubicBezTo>
                <a:cubicBezTo>
                  <a:pt x="32" y="10"/>
                  <a:pt x="32" y="10"/>
                  <a:pt x="32" y="10"/>
                </a:cubicBezTo>
                <a:cubicBezTo>
                  <a:pt x="31" y="10"/>
                  <a:pt x="31" y="10"/>
                  <a:pt x="30" y="9"/>
                </a:cubicBezTo>
                <a:cubicBezTo>
                  <a:pt x="30" y="9"/>
                  <a:pt x="30" y="9"/>
                  <a:pt x="29" y="9"/>
                </a:cubicBezTo>
                <a:cubicBezTo>
                  <a:pt x="29" y="9"/>
                  <a:pt x="28" y="9"/>
                  <a:pt x="27" y="10"/>
                </a:cubicBezTo>
                <a:cubicBezTo>
                  <a:pt x="26" y="10"/>
                  <a:pt x="25" y="10"/>
                  <a:pt x="25" y="11"/>
                </a:cubicBezTo>
                <a:cubicBezTo>
                  <a:pt x="25" y="11"/>
                  <a:pt x="25" y="11"/>
                  <a:pt x="24" y="11"/>
                </a:cubicBezTo>
                <a:cubicBezTo>
                  <a:pt x="24" y="12"/>
                  <a:pt x="24" y="13"/>
                  <a:pt x="23" y="13"/>
                </a:cubicBezTo>
                <a:cubicBezTo>
                  <a:pt x="22" y="14"/>
                  <a:pt x="18" y="14"/>
                  <a:pt x="15" y="14"/>
                </a:cubicBezTo>
                <a:cubicBezTo>
                  <a:pt x="15" y="14"/>
                  <a:pt x="15" y="14"/>
                  <a:pt x="15" y="14"/>
                </a:cubicBezTo>
                <a:cubicBezTo>
                  <a:pt x="14" y="14"/>
                  <a:pt x="13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3" y="14"/>
                  <a:pt x="13" y="15"/>
                  <a:pt x="13" y="15"/>
                </a:cubicBezTo>
                <a:cubicBezTo>
                  <a:pt x="12" y="15"/>
                  <a:pt x="12" y="15"/>
                  <a:pt x="12" y="16"/>
                </a:cubicBezTo>
                <a:cubicBezTo>
                  <a:pt x="13" y="16"/>
                  <a:pt x="13" y="17"/>
                  <a:pt x="13" y="17"/>
                </a:cubicBezTo>
                <a:cubicBezTo>
                  <a:pt x="13" y="18"/>
                  <a:pt x="13" y="18"/>
                  <a:pt x="13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9"/>
                  <a:pt x="12" y="19"/>
                  <a:pt x="12" y="19"/>
                </a:cubicBezTo>
                <a:cubicBezTo>
                  <a:pt x="11" y="20"/>
                  <a:pt x="11" y="20"/>
                  <a:pt x="10" y="21"/>
                </a:cubicBezTo>
                <a:cubicBezTo>
                  <a:pt x="10" y="22"/>
                  <a:pt x="9" y="23"/>
                  <a:pt x="9" y="24"/>
                </a:cubicBezTo>
                <a:cubicBezTo>
                  <a:pt x="8" y="25"/>
                  <a:pt x="8" y="27"/>
                  <a:pt x="7" y="27"/>
                </a:cubicBezTo>
                <a:cubicBezTo>
                  <a:pt x="6" y="28"/>
                  <a:pt x="6" y="28"/>
                  <a:pt x="5" y="28"/>
                </a:cubicBezTo>
                <a:cubicBezTo>
                  <a:pt x="4" y="28"/>
                  <a:pt x="4" y="28"/>
                  <a:pt x="4" y="28"/>
                </a:cubicBezTo>
                <a:cubicBezTo>
                  <a:pt x="3" y="28"/>
                  <a:pt x="3" y="29"/>
                  <a:pt x="3" y="29"/>
                </a:cubicBezTo>
                <a:cubicBezTo>
                  <a:pt x="3" y="29"/>
                  <a:pt x="3" y="29"/>
                  <a:pt x="3" y="29"/>
                </a:cubicBezTo>
                <a:cubicBezTo>
                  <a:pt x="3" y="29"/>
                  <a:pt x="3" y="29"/>
                  <a:pt x="3" y="29"/>
                </a:cubicBezTo>
                <a:cubicBezTo>
                  <a:pt x="3" y="29"/>
                  <a:pt x="3" y="30"/>
                  <a:pt x="3" y="30"/>
                </a:cubicBezTo>
                <a:cubicBezTo>
                  <a:pt x="4" y="30"/>
                  <a:pt x="4" y="30"/>
                  <a:pt x="4" y="31"/>
                </a:cubicBezTo>
                <a:cubicBezTo>
                  <a:pt x="4" y="31"/>
                  <a:pt x="4" y="32"/>
                  <a:pt x="3" y="32"/>
                </a:cubicBezTo>
                <a:cubicBezTo>
                  <a:pt x="3" y="32"/>
                  <a:pt x="3" y="33"/>
                  <a:pt x="2" y="33"/>
                </a:cubicBezTo>
                <a:cubicBezTo>
                  <a:pt x="2" y="33"/>
                  <a:pt x="2" y="33"/>
                  <a:pt x="2" y="33"/>
                </a:cubicBezTo>
                <a:cubicBezTo>
                  <a:pt x="2" y="33"/>
                  <a:pt x="2" y="33"/>
                  <a:pt x="2" y="33"/>
                </a:cubicBezTo>
                <a:cubicBezTo>
                  <a:pt x="2" y="33"/>
                  <a:pt x="2" y="33"/>
                  <a:pt x="2" y="33"/>
                </a:cubicBezTo>
                <a:cubicBezTo>
                  <a:pt x="2" y="34"/>
                  <a:pt x="2" y="34"/>
                  <a:pt x="2" y="35"/>
                </a:cubicBezTo>
                <a:cubicBezTo>
                  <a:pt x="1" y="35"/>
                  <a:pt x="0" y="35"/>
                  <a:pt x="0" y="36"/>
                </a:cubicBezTo>
                <a:cubicBezTo>
                  <a:pt x="0" y="36"/>
                  <a:pt x="0" y="36"/>
                  <a:pt x="0" y="37"/>
                </a:cubicBezTo>
                <a:cubicBezTo>
                  <a:pt x="0" y="38"/>
                  <a:pt x="4" y="42"/>
                  <a:pt x="5" y="44"/>
                </a:cubicBezTo>
                <a:cubicBezTo>
                  <a:pt x="6" y="46"/>
                  <a:pt x="8" y="45"/>
                  <a:pt x="9" y="44"/>
                </a:cubicBezTo>
                <a:cubicBezTo>
                  <a:pt x="9" y="43"/>
                  <a:pt x="10" y="43"/>
                  <a:pt x="12" y="44"/>
                </a:cubicBezTo>
                <a:cubicBezTo>
                  <a:pt x="13" y="44"/>
                  <a:pt x="14" y="44"/>
                  <a:pt x="14" y="46"/>
                </a:cubicBezTo>
                <a:cubicBezTo>
                  <a:pt x="14" y="47"/>
                  <a:pt x="13" y="48"/>
                  <a:pt x="12" y="48"/>
                </a:cubicBezTo>
                <a:cubicBezTo>
                  <a:pt x="11" y="47"/>
                  <a:pt x="9" y="47"/>
                  <a:pt x="8" y="48"/>
                </a:cubicBezTo>
                <a:cubicBezTo>
                  <a:pt x="8" y="48"/>
                  <a:pt x="11" y="50"/>
                  <a:pt x="12" y="51"/>
                </a:cubicBezTo>
                <a:cubicBezTo>
                  <a:pt x="13" y="52"/>
                  <a:pt x="13" y="54"/>
                  <a:pt x="14" y="54"/>
                </a:cubicBezTo>
                <a:cubicBezTo>
                  <a:pt x="15" y="54"/>
                  <a:pt x="17" y="54"/>
                  <a:pt x="18" y="55"/>
                </a:cubicBezTo>
                <a:cubicBezTo>
                  <a:pt x="19" y="56"/>
                  <a:pt x="22" y="56"/>
                  <a:pt x="24" y="56"/>
                </a:cubicBezTo>
                <a:cubicBezTo>
                  <a:pt x="26" y="56"/>
                  <a:pt x="30" y="56"/>
                  <a:pt x="31" y="56"/>
                </a:cubicBezTo>
                <a:cubicBezTo>
                  <a:pt x="33" y="56"/>
                  <a:pt x="37" y="57"/>
                  <a:pt x="39" y="57"/>
                </a:cubicBezTo>
                <a:cubicBezTo>
                  <a:pt x="41" y="57"/>
                  <a:pt x="43" y="59"/>
                  <a:pt x="43" y="60"/>
                </a:cubicBezTo>
                <a:cubicBezTo>
                  <a:pt x="43" y="61"/>
                  <a:pt x="42" y="62"/>
                  <a:pt x="43" y="62"/>
                </a:cubicBezTo>
                <a:cubicBezTo>
                  <a:pt x="44" y="62"/>
                  <a:pt x="46" y="61"/>
                  <a:pt x="48" y="61"/>
                </a:cubicBezTo>
                <a:cubicBezTo>
                  <a:pt x="50" y="61"/>
                  <a:pt x="52" y="65"/>
                  <a:pt x="54" y="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4" name="Freeform 41"/>
          <p:cNvSpPr>
            <a:spLocks/>
          </p:cNvSpPr>
          <p:nvPr/>
        </p:nvSpPr>
        <p:spPr bwMode="auto">
          <a:xfrm>
            <a:off x="4468937" y="5337176"/>
            <a:ext cx="76200" cy="66675"/>
          </a:xfrm>
          <a:custGeom>
            <a:avLst/>
            <a:gdLst>
              <a:gd name="T0" fmla="*/ 6 w 8"/>
              <a:gd name="T1" fmla="*/ 6 h 7"/>
              <a:gd name="T2" fmla="*/ 7 w 8"/>
              <a:gd name="T3" fmla="*/ 2 h 7"/>
              <a:gd name="T4" fmla="*/ 4 w 8"/>
              <a:gd name="T5" fmla="*/ 3 h 7"/>
              <a:gd name="T6" fmla="*/ 2 w 8"/>
              <a:gd name="T7" fmla="*/ 2 h 7"/>
              <a:gd name="T8" fmla="*/ 1 w 8"/>
              <a:gd name="T9" fmla="*/ 5 h 7"/>
              <a:gd name="T10" fmla="*/ 4 w 8"/>
              <a:gd name="T11" fmla="*/ 5 h 7"/>
              <a:gd name="T12" fmla="*/ 6 w 8"/>
              <a:gd name="T13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7">
                <a:moveTo>
                  <a:pt x="6" y="6"/>
                </a:moveTo>
                <a:cubicBezTo>
                  <a:pt x="7" y="7"/>
                  <a:pt x="8" y="3"/>
                  <a:pt x="7" y="2"/>
                </a:cubicBezTo>
                <a:cubicBezTo>
                  <a:pt x="7" y="0"/>
                  <a:pt x="6" y="2"/>
                  <a:pt x="4" y="3"/>
                </a:cubicBezTo>
                <a:cubicBezTo>
                  <a:pt x="3" y="3"/>
                  <a:pt x="3" y="2"/>
                  <a:pt x="2" y="2"/>
                </a:cubicBezTo>
                <a:cubicBezTo>
                  <a:pt x="0" y="2"/>
                  <a:pt x="1" y="4"/>
                  <a:pt x="1" y="5"/>
                </a:cubicBezTo>
                <a:cubicBezTo>
                  <a:pt x="1" y="7"/>
                  <a:pt x="3" y="5"/>
                  <a:pt x="4" y="5"/>
                </a:cubicBezTo>
                <a:cubicBezTo>
                  <a:pt x="5" y="4"/>
                  <a:pt x="5" y="5"/>
                  <a:pt x="6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5" name="Freeform 42"/>
          <p:cNvSpPr>
            <a:spLocks/>
          </p:cNvSpPr>
          <p:nvPr/>
        </p:nvSpPr>
        <p:spPr bwMode="auto">
          <a:xfrm>
            <a:off x="4440362" y="5699126"/>
            <a:ext cx="76200" cy="76200"/>
          </a:xfrm>
          <a:custGeom>
            <a:avLst/>
            <a:gdLst>
              <a:gd name="T0" fmla="*/ 3 w 8"/>
              <a:gd name="T1" fmla="*/ 1 h 8"/>
              <a:gd name="T2" fmla="*/ 0 w 8"/>
              <a:gd name="T3" fmla="*/ 0 h 8"/>
              <a:gd name="T4" fmla="*/ 0 w 8"/>
              <a:gd name="T5" fmla="*/ 1 h 8"/>
              <a:gd name="T6" fmla="*/ 4 w 8"/>
              <a:gd name="T7" fmla="*/ 5 h 8"/>
              <a:gd name="T8" fmla="*/ 6 w 8"/>
              <a:gd name="T9" fmla="*/ 6 h 8"/>
              <a:gd name="T10" fmla="*/ 6 w 8"/>
              <a:gd name="T11" fmla="*/ 4 h 8"/>
              <a:gd name="T12" fmla="*/ 4 w 8"/>
              <a:gd name="T13" fmla="*/ 3 h 8"/>
              <a:gd name="T14" fmla="*/ 3 w 8"/>
              <a:gd name="T1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" h="8">
                <a:moveTo>
                  <a:pt x="3" y="1"/>
                </a:moveTo>
                <a:cubicBezTo>
                  <a:pt x="2" y="0"/>
                  <a:pt x="0" y="0"/>
                  <a:pt x="0" y="0"/>
                </a:cubicBezTo>
                <a:cubicBezTo>
                  <a:pt x="0" y="0"/>
                  <a:pt x="0" y="1"/>
                  <a:pt x="0" y="1"/>
                </a:cubicBezTo>
                <a:cubicBezTo>
                  <a:pt x="2" y="3"/>
                  <a:pt x="3" y="4"/>
                  <a:pt x="4" y="5"/>
                </a:cubicBezTo>
                <a:cubicBezTo>
                  <a:pt x="5" y="6"/>
                  <a:pt x="5" y="8"/>
                  <a:pt x="6" y="6"/>
                </a:cubicBezTo>
                <a:cubicBezTo>
                  <a:pt x="8" y="5"/>
                  <a:pt x="7" y="4"/>
                  <a:pt x="6" y="4"/>
                </a:cubicBezTo>
                <a:cubicBezTo>
                  <a:pt x="5" y="4"/>
                  <a:pt x="4" y="4"/>
                  <a:pt x="4" y="3"/>
                </a:cubicBezTo>
                <a:cubicBezTo>
                  <a:pt x="3" y="2"/>
                  <a:pt x="4" y="1"/>
                  <a:pt x="3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6" name="Freeform 43"/>
          <p:cNvSpPr>
            <a:spLocks/>
          </p:cNvSpPr>
          <p:nvPr/>
        </p:nvSpPr>
        <p:spPr bwMode="auto">
          <a:xfrm>
            <a:off x="3935537" y="5632451"/>
            <a:ext cx="333375" cy="314325"/>
          </a:xfrm>
          <a:custGeom>
            <a:avLst/>
            <a:gdLst>
              <a:gd name="T0" fmla="*/ 31 w 35"/>
              <a:gd name="T1" fmla="*/ 12 h 33"/>
              <a:gd name="T2" fmla="*/ 28 w 35"/>
              <a:gd name="T3" fmla="*/ 7 h 33"/>
              <a:gd name="T4" fmla="*/ 19 w 35"/>
              <a:gd name="T5" fmla="*/ 2 h 33"/>
              <a:gd name="T6" fmla="*/ 11 w 35"/>
              <a:gd name="T7" fmla="*/ 1 h 33"/>
              <a:gd name="T8" fmla="*/ 5 w 35"/>
              <a:gd name="T9" fmla="*/ 2 h 33"/>
              <a:gd name="T10" fmla="*/ 1 w 35"/>
              <a:gd name="T11" fmla="*/ 8 h 33"/>
              <a:gd name="T12" fmla="*/ 4 w 35"/>
              <a:gd name="T13" fmla="*/ 11 h 33"/>
              <a:gd name="T14" fmla="*/ 8 w 35"/>
              <a:gd name="T15" fmla="*/ 15 h 33"/>
              <a:gd name="T16" fmla="*/ 7 w 35"/>
              <a:gd name="T17" fmla="*/ 19 h 33"/>
              <a:gd name="T18" fmla="*/ 9 w 35"/>
              <a:gd name="T19" fmla="*/ 24 h 33"/>
              <a:gd name="T20" fmla="*/ 13 w 35"/>
              <a:gd name="T21" fmla="*/ 22 h 33"/>
              <a:gd name="T22" fmla="*/ 18 w 35"/>
              <a:gd name="T23" fmla="*/ 26 h 33"/>
              <a:gd name="T24" fmla="*/ 20 w 35"/>
              <a:gd name="T25" fmla="*/ 30 h 33"/>
              <a:gd name="T26" fmla="*/ 22 w 35"/>
              <a:gd name="T27" fmla="*/ 26 h 33"/>
              <a:gd name="T28" fmla="*/ 27 w 35"/>
              <a:gd name="T29" fmla="*/ 29 h 33"/>
              <a:gd name="T30" fmla="*/ 30 w 35"/>
              <a:gd name="T31" fmla="*/ 31 h 33"/>
              <a:gd name="T32" fmla="*/ 29 w 35"/>
              <a:gd name="T33" fmla="*/ 25 h 33"/>
              <a:gd name="T34" fmla="*/ 25 w 35"/>
              <a:gd name="T35" fmla="*/ 17 h 33"/>
              <a:gd name="T36" fmla="*/ 24 w 35"/>
              <a:gd name="T37" fmla="*/ 13 h 33"/>
              <a:gd name="T38" fmla="*/ 29 w 35"/>
              <a:gd name="T39" fmla="*/ 17 h 33"/>
              <a:gd name="T40" fmla="*/ 33 w 35"/>
              <a:gd name="T41" fmla="*/ 16 h 33"/>
              <a:gd name="T42" fmla="*/ 34 w 35"/>
              <a:gd name="T43" fmla="*/ 12 h 33"/>
              <a:gd name="T44" fmla="*/ 31 w 35"/>
              <a:gd name="T45" fmla="*/ 1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5" h="33">
                <a:moveTo>
                  <a:pt x="31" y="12"/>
                </a:moveTo>
                <a:cubicBezTo>
                  <a:pt x="29" y="9"/>
                  <a:pt x="30" y="8"/>
                  <a:pt x="28" y="7"/>
                </a:cubicBezTo>
                <a:cubicBezTo>
                  <a:pt x="25" y="6"/>
                  <a:pt x="21" y="3"/>
                  <a:pt x="19" y="2"/>
                </a:cubicBezTo>
                <a:cubicBezTo>
                  <a:pt x="17" y="2"/>
                  <a:pt x="14" y="0"/>
                  <a:pt x="11" y="1"/>
                </a:cubicBezTo>
                <a:cubicBezTo>
                  <a:pt x="7" y="1"/>
                  <a:pt x="6" y="1"/>
                  <a:pt x="5" y="2"/>
                </a:cubicBezTo>
                <a:cubicBezTo>
                  <a:pt x="4" y="3"/>
                  <a:pt x="0" y="6"/>
                  <a:pt x="1" y="8"/>
                </a:cubicBezTo>
                <a:cubicBezTo>
                  <a:pt x="1" y="10"/>
                  <a:pt x="1" y="10"/>
                  <a:pt x="4" y="11"/>
                </a:cubicBezTo>
                <a:cubicBezTo>
                  <a:pt x="7" y="13"/>
                  <a:pt x="9" y="14"/>
                  <a:pt x="8" y="15"/>
                </a:cubicBezTo>
                <a:cubicBezTo>
                  <a:pt x="8" y="17"/>
                  <a:pt x="6" y="17"/>
                  <a:pt x="7" y="19"/>
                </a:cubicBezTo>
                <a:cubicBezTo>
                  <a:pt x="7" y="21"/>
                  <a:pt x="6" y="23"/>
                  <a:pt x="9" y="24"/>
                </a:cubicBezTo>
                <a:cubicBezTo>
                  <a:pt x="11" y="24"/>
                  <a:pt x="12" y="23"/>
                  <a:pt x="13" y="22"/>
                </a:cubicBezTo>
                <a:cubicBezTo>
                  <a:pt x="15" y="21"/>
                  <a:pt x="17" y="24"/>
                  <a:pt x="18" y="26"/>
                </a:cubicBezTo>
                <a:cubicBezTo>
                  <a:pt x="18" y="27"/>
                  <a:pt x="19" y="30"/>
                  <a:pt x="20" y="30"/>
                </a:cubicBezTo>
                <a:cubicBezTo>
                  <a:pt x="21" y="31"/>
                  <a:pt x="21" y="27"/>
                  <a:pt x="22" y="26"/>
                </a:cubicBezTo>
                <a:cubicBezTo>
                  <a:pt x="24" y="25"/>
                  <a:pt x="26" y="28"/>
                  <a:pt x="27" y="29"/>
                </a:cubicBezTo>
                <a:cubicBezTo>
                  <a:pt x="29" y="30"/>
                  <a:pt x="30" y="33"/>
                  <a:pt x="30" y="31"/>
                </a:cubicBezTo>
                <a:cubicBezTo>
                  <a:pt x="31" y="30"/>
                  <a:pt x="30" y="27"/>
                  <a:pt x="29" y="25"/>
                </a:cubicBezTo>
                <a:cubicBezTo>
                  <a:pt x="28" y="23"/>
                  <a:pt x="27" y="19"/>
                  <a:pt x="25" y="17"/>
                </a:cubicBezTo>
                <a:cubicBezTo>
                  <a:pt x="23" y="16"/>
                  <a:pt x="23" y="13"/>
                  <a:pt x="24" y="13"/>
                </a:cubicBezTo>
                <a:cubicBezTo>
                  <a:pt x="25" y="13"/>
                  <a:pt x="28" y="16"/>
                  <a:pt x="29" y="17"/>
                </a:cubicBezTo>
                <a:cubicBezTo>
                  <a:pt x="30" y="17"/>
                  <a:pt x="32" y="17"/>
                  <a:pt x="33" y="16"/>
                </a:cubicBezTo>
                <a:cubicBezTo>
                  <a:pt x="34" y="15"/>
                  <a:pt x="35" y="13"/>
                  <a:pt x="34" y="12"/>
                </a:cubicBezTo>
                <a:cubicBezTo>
                  <a:pt x="33" y="11"/>
                  <a:pt x="32" y="14"/>
                  <a:pt x="31" y="1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7" name="Freeform 44"/>
          <p:cNvSpPr>
            <a:spLocks/>
          </p:cNvSpPr>
          <p:nvPr/>
        </p:nvSpPr>
        <p:spPr bwMode="auto">
          <a:xfrm>
            <a:off x="3830762" y="5613401"/>
            <a:ext cx="66675" cy="66675"/>
          </a:xfrm>
          <a:custGeom>
            <a:avLst/>
            <a:gdLst>
              <a:gd name="T0" fmla="*/ 6 w 7"/>
              <a:gd name="T1" fmla="*/ 6 h 7"/>
              <a:gd name="T2" fmla="*/ 6 w 7"/>
              <a:gd name="T3" fmla="*/ 3 h 7"/>
              <a:gd name="T4" fmla="*/ 3 w 7"/>
              <a:gd name="T5" fmla="*/ 0 h 7"/>
              <a:gd name="T6" fmla="*/ 0 w 7"/>
              <a:gd name="T7" fmla="*/ 3 h 7"/>
              <a:gd name="T8" fmla="*/ 3 w 7"/>
              <a:gd name="T9" fmla="*/ 5 h 7"/>
              <a:gd name="T10" fmla="*/ 6 w 7"/>
              <a:gd name="T11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6" y="6"/>
                </a:moveTo>
                <a:cubicBezTo>
                  <a:pt x="7" y="5"/>
                  <a:pt x="6" y="5"/>
                  <a:pt x="6" y="3"/>
                </a:cubicBezTo>
                <a:cubicBezTo>
                  <a:pt x="5" y="1"/>
                  <a:pt x="5" y="0"/>
                  <a:pt x="3" y="0"/>
                </a:cubicBezTo>
                <a:cubicBezTo>
                  <a:pt x="2" y="2"/>
                  <a:pt x="0" y="2"/>
                  <a:pt x="0" y="3"/>
                </a:cubicBezTo>
                <a:cubicBezTo>
                  <a:pt x="1" y="5"/>
                  <a:pt x="2" y="5"/>
                  <a:pt x="3" y="5"/>
                </a:cubicBezTo>
                <a:cubicBezTo>
                  <a:pt x="4" y="5"/>
                  <a:pt x="5" y="7"/>
                  <a:pt x="6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8" name="Freeform 45"/>
          <p:cNvSpPr>
            <a:spLocks/>
          </p:cNvSpPr>
          <p:nvPr/>
        </p:nvSpPr>
        <p:spPr bwMode="auto">
          <a:xfrm>
            <a:off x="3878387" y="5699126"/>
            <a:ext cx="38100" cy="47625"/>
          </a:xfrm>
          <a:custGeom>
            <a:avLst/>
            <a:gdLst>
              <a:gd name="T0" fmla="*/ 1 w 4"/>
              <a:gd name="T1" fmla="*/ 1 h 5"/>
              <a:gd name="T2" fmla="*/ 2 w 4"/>
              <a:gd name="T3" fmla="*/ 4 h 5"/>
              <a:gd name="T4" fmla="*/ 4 w 4"/>
              <a:gd name="T5" fmla="*/ 3 h 5"/>
              <a:gd name="T6" fmla="*/ 1 w 4"/>
              <a:gd name="T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5">
                <a:moveTo>
                  <a:pt x="1" y="1"/>
                </a:moveTo>
                <a:cubicBezTo>
                  <a:pt x="1" y="3"/>
                  <a:pt x="0" y="4"/>
                  <a:pt x="2" y="4"/>
                </a:cubicBezTo>
                <a:cubicBezTo>
                  <a:pt x="4" y="5"/>
                  <a:pt x="4" y="5"/>
                  <a:pt x="4" y="3"/>
                </a:cubicBezTo>
                <a:cubicBezTo>
                  <a:pt x="4" y="2"/>
                  <a:pt x="1" y="0"/>
                  <a:pt x="1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69" name="Freeform 46"/>
          <p:cNvSpPr>
            <a:spLocks/>
          </p:cNvSpPr>
          <p:nvPr/>
        </p:nvSpPr>
        <p:spPr bwMode="auto">
          <a:xfrm>
            <a:off x="4364162" y="5880101"/>
            <a:ext cx="47625" cy="28575"/>
          </a:xfrm>
          <a:custGeom>
            <a:avLst/>
            <a:gdLst>
              <a:gd name="T0" fmla="*/ 1 w 5"/>
              <a:gd name="T1" fmla="*/ 2 h 3"/>
              <a:gd name="T2" fmla="*/ 4 w 5"/>
              <a:gd name="T3" fmla="*/ 3 h 3"/>
              <a:gd name="T4" fmla="*/ 4 w 5"/>
              <a:gd name="T5" fmla="*/ 0 h 3"/>
              <a:gd name="T6" fmla="*/ 1 w 5"/>
              <a:gd name="T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3">
                <a:moveTo>
                  <a:pt x="1" y="2"/>
                </a:moveTo>
                <a:cubicBezTo>
                  <a:pt x="2" y="2"/>
                  <a:pt x="3" y="3"/>
                  <a:pt x="4" y="3"/>
                </a:cubicBezTo>
                <a:cubicBezTo>
                  <a:pt x="5" y="2"/>
                  <a:pt x="5" y="0"/>
                  <a:pt x="4" y="0"/>
                </a:cubicBezTo>
                <a:cubicBezTo>
                  <a:pt x="2" y="1"/>
                  <a:pt x="0" y="1"/>
                  <a:pt x="1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0" name="Freeform 47"/>
          <p:cNvSpPr>
            <a:spLocks/>
          </p:cNvSpPr>
          <p:nvPr/>
        </p:nvSpPr>
        <p:spPr bwMode="auto">
          <a:xfrm>
            <a:off x="4402262" y="5232401"/>
            <a:ext cx="38100" cy="38100"/>
          </a:xfrm>
          <a:custGeom>
            <a:avLst/>
            <a:gdLst>
              <a:gd name="T0" fmla="*/ 3 w 4"/>
              <a:gd name="T1" fmla="*/ 4 h 4"/>
              <a:gd name="T2" fmla="*/ 4 w 4"/>
              <a:gd name="T3" fmla="*/ 3 h 4"/>
              <a:gd name="T4" fmla="*/ 2 w 4"/>
              <a:gd name="T5" fmla="*/ 0 h 4"/>
              <a:gd name="T6" fmla="*/ 1 w 4"/>
              <a:gd name="T7" fmla="*/ 3 h 4"/>
              <a:gd name="T8" fmla="*/ 3 w 4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4">
                <a:moveTo>
                  <a:pt x="3" y="4"/>
                </a:moveTo>
                <a:cubicBezTo>
                  <a:pt x="4" y="3"/>
                  <a:pt x="4" y="4"/>
                  <a:pt x="4" y="3"/>
                </a:cubicBezTo>
                <a:cubicBezTo>
                  <a:pt x="3" y="1"/>
                  <a:pt x="2" y="0"/>
                  <a:pt x="2" y="0"/>
                </a:cubicBezTo>
                <a:cubicBezTo>
                  <a:pt x="1" y="1"/>
                  <a:pt x="0" y="2"/>
                  <a:pt x="1" y="3"/>
                </a:cubicBezTo>
                <a:cubicBezTo>
                  <a:pt x="2" y="4"/>
                  <a:pt x="2" y="4"/>
                  <a:pt x="3" y="4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1" name="Freeform 48"/>
          <p:cNvSpPr>
            <a:spLocks/>
          </p:cNvSpPr>
          <p:nvPr/>
        </p:nvSpPr>
        <p:spPr bwMode="auto">
          <a:xfrm>
            <a:off x="4278437" y="6042026"/>
            <a:ext cx="409575" cy="133350"/>
          </a:xfrm>
          <a:custGeom>
            <a:avLst/>
            <a:gdLst>
              <a:gd name="T0" fmla="*/ 32 w 43"/>
              <a:gd name="T1" fmla="*/ 10 h 14"/>
              <a:gd name="T2" fmla="*/ 30 w 43"/>
              <a:gd name="T3" fmla="*/ 7 h 14"/>
              <a:gd name="T4" fmla="*/ 24 w 43"/>
              <a:gd name="T5" fmla="*/ 6 h 14"/>
              <a:gd name="T6" fmla="*/ 20 w 43"/>
              <a:gd name="T7" fmla="*/ 5 h 14"/>
              <a:gd name="T8" fmla="*/ 14 w 43"/>
              <a:gd name="T9" fmla="*/ 6 h 14"/>
              <a:gd name="T10" fmla="*/ 10 w 43"/>
              <a:gd name="T11" fmla="*/ 5 h 14"/>
              <a:gd name="T12" fmla="*/ 8 w 43"/>
              <a:gd name="T13" fmla="*/ 2 h 14"/>
              <a:gd name="T14" fmla="*/ 5 w 43"/>
              <a:gd name="T15" fmla="*/ 3 h 14"/>
              <a:gd name="T16" fmla="*/ 2 w 43"/>
              <a:gd name="T17" fmla="*/ 1 h 14"/>
              <a:gd name="T18" fmla="*/ 0 w 43"/>
              <a:gd name="T19" fmla="*/ 7 h 14"/>
              <a:gd name="T20" fmla="*/ 8 w 43"/>
              <a:gd name="T21" fmla="*/ 9 h 14"/>
              <a:gd name="T22" fmla="*/ 17 w 43"/>
              <a:gd name="T23" fmla="*/ 10 h 14"/>
              <a:gd name="T24" fmla="*/ 18 w 43"/>
              <a:gd name="T25" fmla="*/ 13 h 14"/>
              <a:gd name="T26" fmla="*/ 31 w 43"/>
              <a:gd name="T27" fmla="*/ 12 h 14"/>
              <a:gd name="T28" fmla="*/ 39 w 43"/>
              <a:gd name="T29" fmla="*/ 12 h 14"/>
              <a:gd name="T30" fmla="*/ 40 w 43"/>
              <a:gd name="T31" fmla="*/ 7 h 14"/>
              <a:gd name="T32" fmla="*/ 32 w 43"/>
              <a:gd name="T33" fmla="*/ 1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3" h="14">
                <a:moveTo>
                  <a:pt x="32" y="10"/>
                </a:moveTo>
                <a:cubicBezTo>
                  <a:pt x="30" y="11"/>
                  <a:pt x="32" y="7"/>
                  <a:pt x="30" y="7"/>
                </a:cubicBezTo>
                <a:cubicBezTo>
                  <a:pt x="29" y="7"/>
                  <a:pt x="28" y="7"/>
                  <a:pt x="24" y="6"/>
                </a:cubicBezTo>
                <a:cubicBezTo>
                  <a:pt x="22" y="5"/>
                  <a:pt x="21" y="5"/>
                  <a:pt x="20" y="5"/>
                </a:cubicBezTo>
                <a:cubicBezTo>
                  <a:pt x="20" y="5"/>
                  <a:pt x="17" y="6"/>
                  <a:pt x="14" y="6"/>
                </a:cubicBezTo>
                <a:cubicBezTo>
                  <a:pt x="11" y="7"/>
                  <a:pt x="12" y="6"/>
                  <a:pt x="10" y="5"/>
                </a:cubicBezTo>
                <a:cubicBezTo>
                  <a:pt x="8" y="4"/>
                  <a:pt x="8" y="4"/>
                  <a:pt x="8" y="2"/>
                </a:cubicBezTo>
                <a:cubicBezTo>
                  <a:pt x="8" y="1"/>
                  <a:pt x="7" y="3"/>
                  <a:pt x="5" y="3"/>
                </a:cubicBezTo>
                <a:cubicBezTo>
                  <a:pt x="3" y="4"/>
                  <a:pt x="3" y="0"/>
                  <a:pt x="2" y="1"/>
                </a:cubicBezTo>
                <a:cubicBezTo>
                  <a:pt x="0" y="3"/>
                  <a:pt x="0" y="5"/>
                  <a:pt x="0" y="7"/>
                </a:cubicBezTo>
                <a:cubicBezTo>
                  <a:pt x="0" y="9"/>
                  <a:pt x="6" y="8"/>
                  <a:pt x="8" y="9"/>
                </a:cubicBezTo>
                <a:cubicBezTo>
                  <a:pt x="11" y="10"/>
                  <a:pt x="13" y="10"/>
                  <a:pt x="17" y="10"/>
                </a:cubicBezTo>
                <a:cubicBezTo>
                  <a:pt x="20" y="10"/>
                  <a:pt x="17" y="12"/>
                  <a:pt x="18" y="13"/>
                </a:cubicBezTo>
                <a:cubicBezTo>
                  <a:pt x="18" y="14"/>
                  <a:pt x="26" y="13"/>
                  <a:pt x="31" y="12"/>
                </a:cubicBezTo>
                <a:cubicBezTo>
                  <a:pt x="36" y="11"/>
                  <a:pt x="35" y="12"/>
                  <a:pt x="39" y="12"/>
                </a:cubicBezTo>
                <a:cubicBezTo>
                  <a:pt x="43" y="12"/>
                  <a:pt x="40" y="7"/>
                  <a:pt x="40" y="7"/>
                </a:cubicBezTo>
                <a:cubicBezTo>
                  <a:pt x="40" y="7"/>
                  <a:pt x="35" y="9"/>
                  <a:pt x="32" y="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2" name="Freeform 49"/>
          <p:cNvSpPr>
            <a:spLocks/>
          </p:cNvSpPr>
          <p:nvPr/>
        </p:nvSpPr>
        <p:spPr bwMode="auto">
          <a:xfrm>
            <a:off x="4373687" y="5651501"/>
            <a:ext cx="47625" cy="57150"/>
          </a:xfrm>
          <a:custGeom>
            <a:avLst/>
            <a:gdLst>
              <a:gd name="T0" fmla="*/ 5 w 5"/>
              <a:gd name="T1" fmla="*/ 2 h 6"/>
              <a:gd name="T2" fmla="*/ 0 w 5"/>
              <a:gd name="T3" fmla="*/ 2 h 6"/>
              <a:gd name="T4" fmla="*/ 3 w 5"/>
              <a:gd name="T5" fmla="*/ 5 h 6"/>
              <a:gd name="T6" fmla="*/ 5 w 5"/>
              <a:gd name="T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6">
                <a:moveTo>
                  <a:pt x="5" y="2"/>
                </a:moveTo>
                <a:cubicBezTo>
                  <a:pt x="5" y="1"/>
                  <a:pt x="1" y="0"/>
                  <a:pt x="0" y="2"/>
                </a:cubicBezTo>
                <a:cubicBezTo>
                  <a:pt x="1" y="3"/>
                  <a:pt x="2" y="6"/>
                  <a:pt x="3" y="5"/>
                </a:cubicBezTo>
                <a:cubicBezTo>
                  <a:pt x="5" y="3"/>
                  <a:pt x="5" y="3"/>
                  <a:pt x="5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3" name="Freeform 50"/>
          <p:cNvSpPr>
            <a:spLocks/>
          </p:cNvSpPr>
          <p:nvPr/>
        </p:nvSpPr>
        <p:spPr bwMode="auto">
          <a:xfrm>
            <a:off x="4202237" y="5518151"/>
            <a:ext cx="171450" cy="123825"/>
          </a:xfrm>
          <a:custGeom>
            <a:avLst/>
            <a:gdLst>
              <a:gd name="T0" fmla="*/ 17 w 18"/>
              <a:gd name="T1" fmla="*/ 7 h 13"/>
              <a:gd name="T2" fmla="*/ 12 w 18"/>
              <a:gd name="T3" fmla="*/ 5 h 13"/>
              <a:gd name="T4" fmla="*/ 7 w 18"/>
              <a:gd name="T5" fmla="*/ 2 h 13"/>
              <a:gd name="T6" fmla="*/ 4 w 18"/>
              <a:gd name="T7" fmla="*/ 0 h 13"/>
              <a:gd name="T8" fmla="*/ 0 w 18"/>
              <a:gd name="T9" fmla="*/ 2 h 13"/>
              <a:gd name="T10" fmla="*/ 4 w 18"/>
              <a:gd name="T11" fmla="*/ 4 h 13"/>
              <a:gd name="T12" fmla="*/ 7 w 18"/>
              <a:gd name="T13" fmla="*/ 8 h 13"/>
              <a:gd name="T14" fmla="*/ 11 w 18"/>
              <a:gd name="T15" fmla="*/ 9 h 13"/>
              <a:gd name="T16" fmla="*/ 15 w 18"/>
              <a:gd name="T17" fmla="*/ 9 h 13"/>
              <a:gd name="T18" fmla="*/ 17 w 18"/>
              <a:gd name="T19" fmla="*/ 12 h 13"/>
              <a:gd name="T20" fmla="*/ 17 w 18"/>
              <a:gd name="T21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" h="13">
                <a:moveTo>
                  <a:pt x="17" y="7"/>
                </a:moveTo>
                <a:cubicBezTo>
                  <a:pt x="15" y="5"/>
                  <a:pt x="14" y="6"/>
                  <a:pt x="12" y="5"/>
                </a:cubicBezTo>
                <a:cubicBezTo>
                  <a:pt x="9" y="4"/>
                  <a:pt x="8" y="3"/>
                  <a:pt x="7" y="2"/>
                </a:cubicBezTo>
                <a:cubicBezTo>
                  <a:pt x="7" y="1"/>
                  <a:pt x="6" y="0"/>
                  <a:pt x="4" y="0"/>
                </a:cubicBezTo>
                <a:cubicBezTo>
                  <a:pt x="3" y="1"/>
                  <a:pt x="0" y="1"/>
                  <a:pt x="0" y="2"/>
                </a:cubicBezTo>
                <a:cubicBezTo>
                  <a:pt x="1" y="3"/>
                  <a:pt x="3" y="3"/>
                  <a:pt x="4" y="4"/>
                </a:cubicBezTo>
                <a:cubicBezTo>
                  <a:pt x="5" y="5"/>
                  <a:pt x="7" y="7"/>
                  <a:pt x="7" y="8"/>
                </a:cubicBezTo>
                <a:cubicBezTo>
                  <a:pt x="8" y="8"/>
                  <a:pt x="8" y="9"/>
                  <a:pt x="11" y="9"/>
                </a:cubicBezTo>
                <a:cubicBezTo>
                  <a:pt x="13" y="9"/>
                  <a:pt x="14" y="8"/>
                  <a:pt x="15" y="9"/>
                </a:cubicBezTo>
                <a:cubicBezTo>
                  <a:pt x="16" y="11"/>
                  <a:pt x="16" y="13"/>
                  <a:pt x="17" y="12"/>
                </a:cubicBezTo>
                <a:cubicBezTo>
                  <a:pt x="18" y="12"/>
                  <a:pt x="18" y="8"/>
                  <a:pt x="17" y="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4" name="Freeform 51"/>
          <p:cNvSpPr>
            <a:spLocks/>
          </p:cNvSpPr>
          <p:nvPr/>
        </p:nvSpPr>
        <p:spPr bwMode="auto">
          <a:xfrm>
            <a:off x="4668962" y="5689601"/>
            <a:ext cx="66675" cy="47625"/>
          </a:xfrm>
          <a:custGeom>
            <a:avLst/>
            <a:gdLst>
              <a:gd name="T0" fmla="*/ 6 w 7"/>
              <a:gd name="T1" fmla="*/ 2 h 5"/>
              <a:gd name="T2" fmla="*/ 0 w 7"/>
              <a:gd name="T3" fmla="*/ 2 h 5"/>
              <a:gd name="T4" fmla="*/ 3 w 7"/>
              <a:gd name="T5" fmla="*/ 4 h 5"/>
              <a:gd name="T6" fmla="*/ 6 w 7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5">
                <a:moveTo>
                  <a:pt x="6" y="2"/>
                </a:moveTo>
                <a:cubicBezTo>
                  <a:pt x="5" y="1"/>
                  <a:pt x="0" y="0"/>
                  <a:pt x="0" y="2"/>
                </a:cubicBezTo>
                <a:cubicBezTo>
                  <a:pt x="2" y="4"/>
                  <a:pt x="2" y="5"/>
                  <a:pt x="3" y="4"/>
                </a:cubicBezTo>
                <a:cubicBezTo>
                  <a:pt x="5" y="3"/>
                  <a:pt x="7" y="3"/>
                  <a:pt x="6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5" name="Freeform 52"/>
          <p:cNvSpPr>
            <a:spLocks/>
          </p:cNvSpPr>
          <p:nvPr/>
        </p:nvSpPr>
        <p:spPr bwMode="auto">
          <a:xfrm>
            <a:off x="4526087" y="5813426"/>
            <a:ext cx="28575" cy="47625"/>
          </a:xfrm>
          <a:custGeom>
            <a:avLst/>
            <a:gdLst>
              <a:gd name="T0" fmla="*/ 1 w 3"/>
              <a:gd name="T1" fmla="*/ 5 h 5"/>
              <a:gd name="T2" fmla="*/ 3 w 3"/>
              <a:gd name="T3" fmla="*/ 1 h 5"/>
              <a:gd name="T4" fmla="*/ 1 w 3"/>
              <a:gd name="T5" fmla="*/ 1 h 5"/>
              <a:gd name="T6" fmla="*/ 0 w 3"/>
              <a:gd name="T7" fmla="*/ 2 h 5"/>
              <a:gd name="T8" fmla="*/ 1 w 3"/>
              <a:gd name="T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5">
                <a:moveTo>
                  <a:pt x="1" y="5"/>
                </a:moveTo>
                <a:cubicBezTo>
                  <a:pt x="2" y="4"/>
                  <a:pt x="3" y="2"/>
                  <a:pt x="3" y="1"/>
                </a:cubicBezTo>
                <a:cubicBezTo>
                  <a:pt x="3" y="0"/>
                  <a:pt x="2" y="0"/>
                  <a:pt x="1" y="1"/>
                </a:cubicBezTo>
                <a:cubicBezTo>
                  <a:pt x="1" y="1"/>
                  <a:pt x="0" y="1"/>
                  <a:pt x="0" y="2"/>
                </a:cubicBezTo>
                <a:cubicBezTo>
                  <a:pt x="0" y="3"/>
                  <a:pt x="1" y="5"/>
                  <a:pt x="1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6" name="Freeform 53"/>
          <p:cNvSpPr>
            <a:spLocks/>
          </p:cNvSpPr>
          <p:nvPr/>
        </p:nvSpPr>
        <p:spPr bwMode="auto">
          <a:xfrm>
            <a:off x="4173662" y="5937251"/>
            <a:ext cx="28575" cy="76200"/>
          </a:xfrm>
          <a:custGeom>
            <a:avLst/>
            <a:gdLst>
              <a:gd name="T0" fmla="*/ 1 w 3"/>
              <a:gd name="T1" fmla="*/ 2 h 8"/>
              <a:gd name="T2" fmla="*/ 0 w 3"/>
              <a:gd name="T3" fmla="*/ 5 h 8"/>
              <a:gd name="T4" fmla="*/ 3 w 3"/>
              <a:gd name="T5" fmla="*/ 7 h 8"/>
              <a:gd name="T6" fmla="*/ 1 w 3"/>
              <a:gd name="T7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8">
                <a:moveTo>
                  <a:pt x="1" y="2"/>
                </a:moveTo>
                <a:cubicBezTo>
                  <a:pt x="1" y="3"/>
                  <a:pt x="0" y="5"/>
                  <a:pt x="0" y="5"/>
                </a:cubicBezTo>
                <a:cubicBezTo>
                  <a:pt x="0" y="6"/>
                  <a:pt x="2" y="8"/>
                  <a:pt x="3" y="7"/>
                </a:cubicBezTo>
                <a:cubicBezTo>
                  <a:pt x="3" y="6"/>
                  <a:pt x="2" y="0"/>
                  <a:pt x="1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7" name="Freeform 54"/>
          <p:cNvSpPr>
            <a:spLocks/>
          </p:cNvSpPr>
          <p:nvPr/>
        </p:nvSpPr>
        <p:spPr bwMode="auto">
          <a:xfrm>
            <a:off x="4821362" y="5946776"/>
            <a:ext cx="85725" cy="76200"/>
          </a:xfrm>
          <a:custGeom>
            <a:avLst/>
            <a:gdLst>
              <a:gd name="T0" fmla="*/ 6 w 9"/>
              <a:gd name="T1" fmla="*/ 0 h 8"/>
              <a:gd name="T2" fmla="*/ 2 w 9"/>
              <a:gd name="T3" fmla="*/ 3 h 8"/>
              <a:gd name="T4" fmla="*/ 2 w 9"/>
              <a:gd name="T5" fmla="*/ 7 h 8"/>
              <a:gd name="T6" fmla="*/ 7 w 9"/>
              <a:gd name="T7" fmla="*/ 5 h 8"/>
              <a:gd name="T8" fmla="*/ 9 w 9"/>
              <a:gd name="T9" fmla="*/ 2 h 8"/>
              <a:gd name="T10" fmla="*/ 6 w 9"/>
              <a:gd name="T11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8">
                <a:moveTo>
                  <a:pt x="6" y="0"/>
                </a:moveTo>
                <a:cubicBezTo>
                  <a:pt x="4" y="2"/>
                  <a:pt x="3" y="1"/>
                  <a:pt x="2" y="3"/>
                </a:cubicBezTo>
                <a:cubicBezTo>
                  <a:pt x="2" y="4"/>
                  <a:pt x="0" y="6"/>
                  <a:pt x="2" y="7"/>
                </a:cubicBezTo>
                <a:cubicBezTo>
                  <a:pt x="3" y="8"/>
                  <a:pt x="6" y="6"/>
                  <a:pt x="7" y="5"/>
                </a:cubicBezTo>
                <a:cubicBezTo>
                  <a:pt x="8" y="4"/>
                  <a:pt x="9" y="4"/>
                  <a:pt x="9" y="2"/>
                </a:cubicBezTo>
                <a:cubicBezTo>
                  <a:pt x="9" y="0"/>
                  <a:pt x="8" y="0"/>
                  <a:pt x="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8" name="Freeform 55"/>
          <p:cNvSpPr>
            <a:spLocks/>
          </p:cNvSpPr>
          <p:nvPr/>
        </p:nvSpPr>
        <p:spPr bwMode="auto">
          <a:xfrm>
            <a:off x="4735637" y="6032501"/>
            <a:ext cx="47625" cy="66675"/>
          </a:xfrm>
          <a:custGeom>
            <a:avLst/>
            <a:gdLst>
              <a:gd name="T0" fmla="*/ 4 w 5"/>
              <a:gd name="T1" fmla="*/ 3 h 7"/>
              <a:gd name="T2" fmla="*/ 3 w 5"/>
              <a:gd name="T3" fmla="*/ 2 h 7"/>
              <a:gd name="T4" fmla="*/ 2 w 5"/>
              <a:gd name="T5" fmla="*/ 6 h 7"/>
              <a:gd name="T6" fmla="*/ 5 w 5"/>
              <a:gd name="T7" fmla="*/ 6 h 7"/>
              <a:gd name="T8" fmla="*/ 4 w 5"/>
              <a:gd name="T9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7">
                <a:moveTo>
                  <a:pt x="4" y="3"/>
                </a:moveTo>
                <a:cubicBezTo>
                  <a:pt x="4" y="1"/>
                  <a:pt x="5" y="0"/>
                  <a:pt x="3" y="2"/>
                </a:cubicBezTo>
                <a:cubicBezTo>
                  <a:pt x="2" y="4"/>
                  <a:pt x="0" y="4"/>
                  <a:pt x="2" y="6"/>
                </a:cubicBezTo>
                <a:cubicBezTo>
                  <a:pt x="5" y="7"/>
                  <a:pt x="5" y="7"/>
                  <a:pt x="5" y="6"/>
                </a:cubicBezTo>
                <a:cubicBezTo>
                  <a:pt x="5" y="4"/>
                  <a:pt x="4" y="5"/>
                  <a:pt x="4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79" name="Freeform 56"/>
          <p:cNvSpPr>
            <a:spLocks/>
          </p:cNvSpPr>
          <p:nvPr/>
        </p:nvSpPr>
        <p:spPr bwMode="auto">
          <a:xfrm>
            <a:off x="4716587" y="5880101"/>
            <a:ext cx="47625" cy="47625"/>
          </a:xfrm>
          <a:custGeom>
            <a:avLst/>
            <a:gdLst>
              <a:gd name="T0" fmla="*/ 5 w 5"/>
              <a:gd name="T1" fmla="*/ 2 h 5"/>
              <a:gd name="T2" fmla="*/ 2 w 5"/>
              <a:gd name="T3" fmla="*/ 1 h 5"/>
              <a:gd name="T4" fmla="*/ 1 w 5"/>
              <a:gd name="T5" fmla="*/ 5 h 5"/>
              <a:gd name="T6" fmla="*/ 5 w 5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5">
                <a:moveTo>
                  <a:pt x="5" y="2"/>
                </a:moveTo>
                <a:cubicBezTo>
                  <a:pt x="5" y="1"/>
                  <a:pt x="4" y="0"/>
                  <a:pt x="2" y="1"/>
                </a:cubicBezTo>
                <a:cubicBezTo>
                  <a:pt x="1" y="3"/>
                  <a:pt x="0" y="5"/>
                  <a:pt x="1" y="5"/>
                </a:cubicBezTo>
                <a:cubicBezTo>
                  <a:pt x="2" y="5"/>
                  <a:pt x="5" y="3"/>
                  <a:pt x="5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0" name="Freeform 57"/>
          <p:cNvSpPr>
            <a:spLocks/>
          </p:cNvSpPr>
          <p:nvPr/>
        </p:nvSpPr>
        <p:spPr bwMode="auto">
          <a:xfrm>
            <a:off x="3687887" y="4946651"/>
            <a:ext cx="228600" cy="514350"/>
          </a:xfrm>
          <a:custGeom>
            <a:avLst/>
            <a:gdLst>
              <a:gd name="T0" fmla="*/ 14 w 24"/>
              <a:gd name="T1" fmla="*/ 49 h 54"/>
              <a:gd name="T2" fmla="*/ 14 w 24"/>
              <a:gd name="T3" fmla="*/ 47 h 54"/>
              <a:gd name="T4" fmla="*/ 16 w 24"/>
              <a:gd name="T5" fmla="*/ 46 h 54"/>
              <a:gd name="T6" fmla="*/ 15 w 24"/>
              <a:gd name="T7" fmla="*/ 45 h 54"/>
              <a:gd name="T8" fmla="*/ 15 w 24"/>
              <a:gd name="T9" fmla="*/ 43 h 54"/>
              <a:gd name="T10" fmla="*/ 18 w 24"/>
              <a:gd name="T11" fmla="*/ 41 h 54"/>
              <a:gd name="T12" fmla="*/ 20 w 24"/>
              <a:gd name="T13" fmla="*/ 38 h 54"/>
              <a:gd name="T14" fmla="*/ 24 w 24"/>
              <a:gd name="T15" fmla="*/ 33 h 54"/>
              <a:gd name="T16" fmla="*/ 24 w 24"/>
              <a:gd name="T17" fmla="*/ 33 h 54"/>
              <a:gd name="T18" fmla="*/ 24 w 24"/>
              <a:gd name="T19" fmla="*/ 31 h 54"/>
              <a:gd name="T20" fmla="*/ 24 w 24"/>
              <a:gd name="T21" fmla="*/ 29 h 54"/>
              <a:gd name="T22" fmla="*/ 21 w 24"/>
              <a:gd name="T23" fmla="*/ 26 h 54"/>
              <a:gd name="T24" fmla="*/ 18 w 24"/>
              <a:gd name="T25" fmla="*/ 23 h 54"/>
              <a:gd name="T26" fmla="*/ 19 w 24"/>
              <a:gd name="T27" fmla="*/ 20 h 54"/>
              <a:gd name="T28" fmla="*/ 18 w 24"/>
              <a:gd name="T29" fmla="*/ 19 h 54"/>
              <a:gd name="T30" fmla="*/ 18 w 24"/>
              <a:gd name="T31" fmla="*/ 11 h 54"/>
              <a:gd name="T32" fmla="*/ 18 w 24"/>
              <a:gd name="T33" fmla="*/ 10 h 54"/>
              <a:gd name="T34" fmla="*/ 18 w 24"/>
              <a:gd name="T35" fmla="*/ 9 h 54"/>
              <a:gd name="T36" fmla="*/ 17 w 24"/>
              <a:gd name="T37" fmla="*/ 5 h 54"/>
              <a:gd name="T38" fmla="*/ 12 w 24"/>
              <a:gd name="T39" fmla="*/ 2 h 54"/>
              <a:gd name="T40" fmla="*/ 7 w 24"/>
              <a:gd name="T41" fmla="*/ 0 h 54"/>
              <a:gd name="T42" fmla="*/ 6 w 24"/>
              <a:gd name="T43" fmla="*/ 0 h 54"/>
              <a:gd name="T44" fmla="*/ 3 w 24"/>
              <a:gd name="T45" fmla="*/ 4 h 54"/>
              <a:gd name="T46" fmla="*/ 2 w 24"/>
              <a:gd name="T47" fmla="*/ 6 h 54"/>
              <a:gd name="T48" fmla="*/ 2 w 24"/>
              <a:gd name="T49" fmla="*/ 11 h 54"/>
              <a:gd name="T50" fmla="*/ 5 w 24"/>
              <a:gd name="T51" fmla="*/ 16 h 54"/>
              <a:gd name="T52" fmla="*/ 2 w 24"/>
              <a:gd name="T53" fmla="*/ 18 h 54"/>
              <a:gd name="T54" fmla="*/ 3 w 24"/>
              <a:gd name="T55" fmla="*/ 25 h 54"/>
              <a:gd name="T56" fmla="*/ 1 w 24"/>
              <a:gd name="T57" fmla="*/ 31 h 54"/>
              <a:gd name="T58" fmla="*/ 1 w 24"/>
              <a:gd name="T59" fmla="*/ 37 h 54"/>
              <a:gd name="T60" fmla="*/ 9 w 24"/>
              <a:gd name="T61" fmla="*/ 44 h 54"/>
              <a:gd name="T62" fmla="*/ 5 w 24"/>
              <a:gd name="T63" fmla="*/ 46 h 54"/>
              <a:gd name="T64" fmla="*/ 11 w 24"/>
              <a:gd name="T65" fmla="*/ 54 h 54"/>
              <a:gd name="T66" fmla="*/ 11 w 24"/>
              <a:gd name="T67" fmla="*/ 49 h 54"/>
              <a:gd name="T68" fmla="*/ 14 w 24"/>
              <a:gd name="T69" fmla="*/ 4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" h="54">
                <a:moveTo>
                  <a:pt x="14" y="49"/>
                </a:moveTo>
                <a:cubicBezTo>
                  <a:pt x="14" y="49"/>
                  <a:pt x="14" y="49"/>
                  <a:pt x="14" y="49"/>
                </a:cubicBezTo>
                <a:cubicBezTo>
                  <a:pt x="14" y="48"/>
                  <a:pt x="14" y="48"/>
                  <a:pt x="14" y="48"/>
                </a:cubicBezTo>
                <a:cubicBezTo>
                  <a:pt x="14" y="48"/>
                  <a:pt x="14" y="47"/>
                  <a:pt x="14" y="47"/>
                </a:cubicBezTo>
                <a:cubicBezTo>
                  <a:pt x="14" y="47"/>
                  <a:pt x="14" y="47"/>
                  <a:pt x="14" y="47"/>
                </a:cubicBezTo>
                <a:cubicBezTo>
                  <a:pt x="15" y="47"/>
                  <a:pt x="15" y="46"/>
                  <a:pt x="16" y="46"/>
                </a:cubicBezTo>
                <a:cubicBezTo>
                  <a:pt x="15" y="46"/>
                  <a:pt x="15" y="46"/>
                  <a:pt x="15" y="46"/>
                </a:cubicBezTo>
                <a:cubicBezTo>
                  <a:pt x="15" y="45"/>
                  <a:pt x="15" y="45"/>
                  <a:pt x="15" y="45"/>
                </a:cubicBezTo>
                <a:cubicBezTo>
                  <a:pt x="15" y="45"/>
                  <a:pt x="15" y="45"/>
                  <a:pt x="15" y="45"/>
                </a:cubicBezTo>
                <a:cubicBezTo>
                  <a:pt x="15" y="44"/>
                  <a:pt x="15" y="44"/>
                  <a:pt x="15" y="43"/>
                </a:cubicBezTo>
                <a:cubicBezTo>
                  <a:pt x="15" y="43"/>
                  <a:pt x="15" y="42"/>
                  <a:pt x="16" y="42"/>
                </a:cubicBezTo>
                <a:cubicBezTo>
                  <a:pt x="16" y="42"/>
                  <a:pt x="17" y="42"/>
                  <a:pt x="18" y="41"/>
                </a:cubicBezTo>
                <a:cubicBezTo>
                  <a:pt x="18" y="41"/>
                  <a:pt x="19" y="41"/>
                  <a:pt x="19" y="41"/>
                </a:cubicBezTo>
                <a:cubicBezTo>
                  <a:pt x="20" y="41"/>
                  <a:pt x="20" y="40"/>
                  <a:pt x="20" y="38"/>
                </a:cubicBezTo>
                <a:cubicBezTo>
                  <a:pt x="21" y="37"/>
                  <a:pt x="21" y="36"/>
                  <a:pt x="22" y="35"/>
                </a:cubicBezTo>
                <a:cubicBezTo>
                  <a:pt x="23" y="34"/>
                  <a:pt x="24" y="34"/>
                  <a:pt x="24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4" y="33"/>
                  <a:pt x="24" y="33"/>
                  <a:pt x="24" y="32"/>
                </a:cubicBezTo>
                <a:cubicBezTo>
                  <a:pt x="24" y="32"/>
                  <a:pt x="24" y="31"/>
                  <a:pt x="24" y="31"/>
                </a:cubicBezTo>
                <a:cubicBezTo>
                  <a:pt x="24" y="30"/>
                  <a:pt x="24" y="30"/>
                  <a:pt x="24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4" y="29"/>
                  <a:pt x="24" y="29"/>
                  <a:pt x="24" y="29"/>
                </a:cubicBezTo>
                <a:cubicBezTo>
                  <a:pt x="24" y="28"/>
                  <a:pt x="22" y="27"/>
                  <a:pt x="21" y="26"/>
                </a:cubicBezTo>
                <a:cubicBezTo>
                  <a:pt x="21" y="26"/>
                  <a:pt x="20" y="25"/>
                  <a:pt x="19" y="25"/>
                </a:cubicBezTo>
                <a:cubicBezTo>
                  <a:pt x="18" y="24"/>
                  <a:pt x="18" y="23"/>
                  <a:pt x="18" y="23"/>
                </a:cubicBezTo>
                <a:cubicBezTo>
                  <a:pt x="18" y="22"/>
                  <a:pt x="18" y="22"/>
                  <a:pt x="18" y="21"/>
                </a:cubicBezTo>
                <a:cubicBezTo>
                  <a:pt x="18" y="21"/>
                  <a:pt x="19" y="20"/>
                  <a:pt x="19" y="20"/>
                </a:cubicBezTo>
                <a:cubicBezTo>
                  <a:pt x="19" y="20"/>
                  <a:pt x="18" y="20"/>
                  <a:pt x="18" y="19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19"/>
                  <a:pt x="17" y="18"/>
                  <a:pt x="18" y="17"/>
                </a:cubicBezTo>
                <a:cubicBezTo>
                  <a:pt x="18" y="15"/>
                  <a:pt x="18" y="12"/>
                  <a:pt x="18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8" y="10"/>
                  <a:pt x="18" y="9"/>
                </a:cubicBezTo>
                <a:cubicBezTo>
                  <a:pt x="18" y="8"/>
                  <a:pt x="18" y="7"/>
                  <a:pt x="18" y="6"/>
                </a:cubicBezTo>
                <a:cubicBezTo>
                  <a:pt x="17" y="6"/>
                  <a:pt x="17" y="6"/>
                  <a:pt x="17" y="5"/>
                </a:cubicBezTo>
                <a:cubicBezTo>
                  <a:pt x="16" y="4"/>
                  <a:pt x="15" y="3"/>
                  <a:pt x="14" y="2"/>
                </a:cubicBezTo>
                <a:cubicBezTo>
                  <a:pt x="13" y="2"/>
                  <a:pt x="12" y="2"/>
                  <a:pt x="12" y="2"/>
                </a:cubicBezTo>
                <a:cubicBezTo>
                  <a:pt x="11" y="1"/>
                  <a:pt x="10" y="1"/>
                  <a:pt x="9" y="1"/>
                </a:cubicBezTo>
                <a:cubicBezTo>
                  <a:pt x="8" y="2"/>
                  <a:pt x="7" y="1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0"/>
                  <a:pt x="6" y="0"/>
                  <a:pt x="6" y="0"/>
                </a:cubicBezTo>
                <a:cubicBezTo>
                  <a:pt x="4" y="1"/>
                  <a:pt x="4" y="1"/>
                  <a:pt x="3" y="4"/>
                </a:cubicBezTo>
                <a:cubicBezTo>
                  <a:pt x="3" y="4"/>
                  <a:pt x="3" y="4"/>
                  <a:pt x="3" y="4"/>
                </a:cubicBezTo>
                <a:cubicBezTo>
                  <a:pt x="3" y="4"/>
                  <a:pt x="3" y="4"/>
                  <a:pt x="3" y="4"/>
                </a:cubicBezTo>
                <a:cubicBezTo>
                  <a:pt x="2" y="5"/>
                  <a:pt x="2" y="5"/>
                  <a:pt x="2" y="6"/>
                </a:cubicBezTo>
                <a:cubicBezTo>
                  <a:pt x="3" y="6"/>
                  <a:pt x="3" y="6"/>
                  <a:pt x="3" y="7"/>
                </a:cubicBezTo>
                <a:cubicBezTo>
                  <a:pt x="3" y="8"/>
                  <a:pt x="3" y="10"/>
                  <a:pt x="2" y="11"/>
                </a:cubicBezTo>
                <a:cubicBezTo>
                  <a:pt x="3" y="11"/>
                  <a:pt x="4" y="11"/>
                  <a:pt x="4" y="12"/>
                </a:cubicBezTo>
                <a:cubicBezTo>
                  <a:pt x="5" y="13"/>
                  <a:pt x="5" y="14"/>
                  <a:pt x="5" y="16"/>
                </a:cubicBezTo>
                <a:cubicBezTo>
                  <a:pt x="4" y="18"/>
                  <a:pt x="4" y="16"/>
                  <a:pt x="3" y="16"/>
                </a:cubicBezTo>
                <a:cubicBezTo>
                  <a:pt x="2" y="17"/>
                  <a:pt x="2" y="17"/>
                  <a:pt x="2" y="18"/>
                </a:cubicBezTo>
                <a:cubicBezTo>
                  <a:pt x="1" y="19"/>
                  <a:pt x="2" y="20"/>
                  <a:pt x="3" y="22"/>
                </a:cubicBezTo>
                <a:cubicBezTo>
                  <a:pt x="4" y="24"/>
                  <a:pt x="3" y="23"/>
                  <a:pt x="3" y="25"/>
                </a:cubicBezTo>
                <a:cubicBezTo>
                  <a:pt x="2" y="27"/>
                  <a:pt x="3" y="26"/>
                  <a:pt x="3" y="28"/>
                </a:cubicBezTo>
                <a:cubicBezTo>
                  <a:pt x="3" y="29"/>
                  <a:pt x="2" y="29"/>
                  <a:pt x="1" y="31"/>
                </a:cubicBezTo>
                <a:cubicBezTo>
                  <a:pt x="1" y="33"/>
                  <a:pt x="4" y="35"/>
                  <a:pt x="3" y="36"/>
                </a:cubicBezTo>
                <a:cubicBezTo>
                  <a:pt x="3" y="36"/>
                  <a:pt x="2" y="35"/>
                  <a:pt x="1" y="37"/>
                </a:cubicBezTo>
                <a:cubicBezTo>
                  <a:pt x="0" y="38"/>
                  <a:pt x="2" y="39"/>
                  <a:pt x="4" y="40"/>
                </a:cubicBezTo>
                <a:cubicBezTo>
                  <a:pt x="6" y="41"/>
                  <a:pt x="9" y="42"/>
                  <a:pt x="9" y="44"/>
                </a:cubicBezTo>
                <a:cubicBezTo>
                  <a:pt x="10" y="46"/>
                  <a:pt x="9" y="45"/>
                  <a:pt x="8" y="46"/>
                </a:cubicBezTo>
                <a:cubicBezTo>
                  <a:pt x="7" y="47"/>
                  <a:pt x="6" y="46"/>
                  <a:pt x="5" y="46"/>
                </a:cubicBezTo>
                <a:cubicBezTo>
                  <a:pt x="4" y="46"/>
                  <a:pt x="5" y="47"/>
                  <a:pt x="6" y="48"/>
                </a:cubicBezTo>
                <a:cubicBezTo>
                  <a:pt x="7" y="50"/>
                  <a:pt x="11" y="54"/>
                  <a:pt x="11" y="54"/>
                </a:cubicBezTo>
                <a:cubicBezTo>
                  <a:pt x="11" y="53"/>
                  <a:pt x="10" y="51"/>
                  <a:pt x="10" y="50"/>
                </a:cubicBezTo>
                <a:cubicBezTo>
                  <a:pt x="9" y="49"/>
                  <a:pt x="10" y="49"/>
                  <a:pt x="11" y="49"/>
                </a:cubicBezTo>
                <a:cubicBezTo>
                  <a:pt x="12" y="49"/>
                  <a:pt x="12" y="49"/>
                  <a:pt x="12" y="49"/>
                </a:cubicBezTo>
                <a:cubicBezTo>
                  <a:pt x="13" y="49"/>
                  <a:pt x="14" y="49"/>
                  <a:pt x="14" y="49"/>
                </a:cubicBezTo>
                <a:cubicBezTo>
                  <a:pt x="14" y="49"/>
                  <a:pt x="14" y="49"/>
                  <a:pt x="14" y="4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1" name="Freeform 58"/>
          <p:cNvSpPr>
            <a:spLocks/>
          </p:cNvSpPr>
          <p:nvPr/>
        </p:nvSpPr>
        <p:spPr bwMode="auto">
          <a:xfrm>
            <a:off x="3611687" y="4775201"/>
            <a:ext cx="209550" cy="266700"/>
          </a:xfrm>
          <a:custGeom>
            <a:avLst/>
            <a:gdLst>
              <a:gd name="T0" fmla="*/ 9 w 22"/>
              <a:gd name="T1" fmla="*/ 25 h 28"/>
              <a:gd name="T2" fmla="*/ 9 w 22"/>
              <a:gd name="T3" fmla="*/ 24 h 28"/>
              <a:gd name="T4" fmla="*/ 9 w 22"/>
              <a:gd name="T5" fmla="*/ 21 h 28"/>
              <a:gd name="T6" fmla="*/ 9 w 22"/>
              <a:gd name="T7" fmla="*/ 21 h 28"/>
              <a:gd name="T8" fmla="*/ 9 w 22"/>
              <a:gd name="T9" fmla="*/ 21 h 28"/>
              <a:gd name="T10" fmla="*/ 13 w 22"/>
              <a:gd name="T11" fmla="*/ 17 h 28"/>
              <a:gd name="T12" fmla="*/ 16 w 22"/>
              <a:gd name="T13" fmla="*/ 18 h 28"/>
              <a:gd name="T14" fmla="*/ 16 w 22"/>
              <a:gd name="T15" fmla="*/ 18 h 28"/>
              <a:gd name="T16" fmla="*/ 17 w 22"/>
              <a:gd name="T17" fmla="*/ 18 h 28"/>
              <a:gd name="T18" fmla="*/ 19 w 22"/>
              <a:gd name="T19" fmla="*/ 18 h 28"/>
              <a:gd name="T20" fmla="*/ 19 w 22"/>
              <a:gd name="T21" fmla="*/ 17 h 28"/>
              <a:gd name="T22" fmla="*/ 19 w 22"/>
              <a:gd name="T23" fmla="*/ 14 h 28"/>
              <a:gd name="T24" fmla="*/ 22 w 22"/>
              <a:gd name="T25" fmla="*/ 12 h 28"/>
              <a:gd name="T26" fmla="*/ 18 w 22"/>
              <a:gd name="T27" fmla="*/ 9 h 28"/>
              <a:gd name="T28" fmla="*/ 13 w 22"/>
              <a:gd name="T29" fmla="*/ 4 h 28"/>
              <a:gd name="T30" fmla="*/ 8 w 22"/>
              <a:gd name="T31" fmla="*/ 0 h 28"/>
              <a:gd name="T32" fmla="*/ 6 w 22"/>
              <a:gd name="T33" fmla="*/ 1 h 28"/>
              <a:gd name="T34" fmla="*/ 6 w 22"/>
              <a:gd name="T35" fmla="*/ 2 h 28"/>
              <a:gd name="T36" fmla="*/ 6 w 22"/>
              <a:gd name="T37" fmla="*/ 4 h 28"/>
              <a:gd name="T38" fmla="*/ 6 w 22"/>
              <a:gd name="T39" fmla="*/ 4 h 28"/>
              <a:gd name="T40" fmla="*/ 3 w 22"/>
              <a:gd name="T41" fmla="*/ 5 h 28"/>
              <a:gd name="T42" fmla="*/ 3 w 22"/>
              <a:gd name="T43" fmla="*/ 4 h 28"/>
              <a:gd name="T44" fmla="*/ 2 w 22"/>
              <a:gd name="T45" fmla="*/ 6 h 28"/>
              <a:gd name="T46" fmla="*/ 0 w 22"/>
              <a:gd name="T47" fmla="*/ 8 h 28"/>
              <a:gd name="T48" fmla="*/ 0 w 22"/>
              <a:gd name="T49" fmla="*/ 12 h 28"/>
              <a:gd name="T50" fmla="*/ 1 w 22"/>
              <a:gd name="T51" fmla="*/ 16 h 28"/>
              <a:gd name="T52" fmla="*/ 0 w 22"/>
              <a:gd name="T53" fmla="*/ 18 h 28"/>
              <a:gd name="T54" fmla="*/ 0 w 22"/>
              <a:gd name="T55" fmla="*/ 18 h 28"/>
              <a:gd name="T56" fmla="*/ 0 w 22"/>
              <a:gd name="T57" fmla="*/ 21 h 28"/>
              <a:gd name="T58" fmla="*/ 8 w 22"/>
              <a:gd name="T59" fmla="*/ 28 h 28"/>
              <a:gd name="T60" fmla="*/ 9 w 22"/>
              <a:gd name="T61" fmla="*/ 28 h 28"/>
              <a:gd name="T62" fmla="*/ 9 w 22"/>
              <a:gd name="T63" fmla="*/ 25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2" h="28">
                <a:moveTo>
                  <a:pt x="9" y="25"/>
                </a:moveTo>
                <a:cubicBezTo>
                  <a:pt x="9" y="25"/>
                  <a:pt x="9" y="25"/>
                  <a:pt x="9" y="24"/>
                </a:cubicBezTo>
                <a:cubicBezTo>
                  <a:pt x="9" y="24"/>
                  <a:pt x="9" y="23"/>
                  <a:pt x="9" y="21"/>
                </a:cubicBezTo>
                <a:cubicBezTo>
                  <a:pt x="9" y="21"/>
                  <a:pt x="9" y="21"/>
                  <a:pt x="9" y="21"/>
                </a:cubicBezTo>
                <a:cubicBezTo>
                  <a:pt x="9" y="21"/>
                  <a:pt x="9" y="21"/>
                  <a:pt x="9" y="21"/>
                </a:cubicBezTo>
                <a:cubicBezTo>
                  <a:pt x="11" y="19"/>
                  <a:pt x="11" y="17"/>
                  <a:pt x="13" y="17"/>
                </a:cubicBezTo>
                <a:cubicBezTo>
                  <a:pt x="15" y="16"/>
                  <a:pt x="16" y="17"/>
                  <a:pt x="16" y="18"/>
                </a:cubicBezTo>
                <a:cubicBezTo>
                  <a:pt x="16" y="18"/>
                  <a:pt x="16" y="18"/>
                  <a:pt x="16" y="18"/>
                </a:cubicBezTo>
                <a:cubicBezTo>
                  <a:pt x="16" y="18"/>
                  <a:pt x="16" y="18"/>
                  <a:pt x="17" y="18"/>
                </a:cubicBezTo>
                <a:cubicBezTo>
                  <a:pt x="18" y="18"/>
                  <a:pt x="18" y="18"/>
                  <a:pt x="19" y="18"/>
                </a:cubicBezTo>
                <a:cubicBezTo>
                  <a:pt x="19" y="18"/>
                  <a:pt x="19" y="17"/>
                  <a:pt x="19" y="17"/>
                </a:cubicBezTo>
                <a:cubicBezTo>
                  <a:pt x="19" y="16"/>
                  <a:pt x="19" y="15"/>
                  <a:pt x="19" y="14"/>
                </a:cubicBezTo>
                <a:cubicBezTo>
                  <a:pt x="19" y="13"/>
                  <a:pt x="21" y="13"/>
                  <a:pt x="22" y="12"/>
                </a:cubicBezTo>
                <a:cubicBezTo>
                  <a:pt x="21" y="11"/>
                  <a:pt x="20" y="10"/>
                  <a:pt x="18" y="9"/>
                </a:cubicBezTo>
                <a:cubicBezTo>
                  <a:pt x="17" y="7"/>
                  <a:pt x="14" y="5"/>
                  <a:pt x="13" y="4"/>
                </a:cubicBezTo>
                <a:cubicBezTo>
                  <a:pt x="12" y="3"/>
                  <a:pt x="9" y="1"/>
                  <a:pt x="8" y="0"/>
                </a:cubicBezTo>
                <a:cubicBezTo>
                  <a:pt x="7" y="1"/>
                  <a:pt x="6" y="1"/>
                  <a:pt x="6" y="1"/>
                </a:cubicBezTo>
                <a:cubicBezTo>
                  <a:pt x="6" y="1"/>
                  <a:pt x="6" y="2"/>
                  <a:pt x="6" y="2"/>
                </a:cubicBezTo>
                <a:cubicBezTo>
                  <a:pt x="6" y="3"/>
                  <a:pt x="6" y="4"/>
                  <a:pt x="6" y="4"/>
                </a:cubicBezTo>
                <a:cubicBezTo>
                  <a:pt x="6" y="4"/>
                  <a:pt x="6" y="4"/>
                  <a:pt x="6" y="4"/>
                </a:cubicBezTo>
                <a:cubicBezTo>
                  <a:pt x="6" y="5"/>
                  <a:pt x="5" y="5"/>
                  <a:pt x="3" y="5"/>
                </a:cubicBezTo>
                <a:cubicBezTo>
                  <a:pt x="3" y="5"/>
                  <a:pt x="3" y="4"/>
                  <a:pt x="3" y="4"/>
                </a:cubicBezTo>
                <a:cubicBezTo>
                  <a:pt x="3" y="4"/>
                  <a:pt x="2" y="5"/>
                  <a:pt x="2" y="6"/>
                </a:cubicBezTo>
                <a:cubicBezTo>
                  <a:pt x="1" y="6"/>
                  <a:pt x="0" y="8"/>
                  <a:pt x="0" y="8"/>
                </a:cubicBezTo>
                <a:cubicBezTo>
                  <a:pt x="0" y="9"/>
                  <a:pt x="0" y="10"/>
                  <a:pt x="0" y="12"/>
                </a:cubicBezTo>
                <a:cubicBezTo>
                  <a:pt x="1" y="14"/>
                  <a:pt x="1" y="15"/>
                  <a:pt x="1" y="16"/>
                </a:cubicBezTo>
                <a:cubicBezTo>
                  <a:pt x="1" y="16"/>
                  <a:pt x="0" y="17"/>
                  <a:pt x="0" y="18"/>
                </a:cubicBezTo>
                <a:cubicBezTo>
                  <a:pt x="0" y="18"/>
                  <a:pt x="0" y="18"/>
                  <a:pt x="0" y="18"/>
                </a:cubicBezTo>
                <a:cubicBezTo>
                  <a:pt x="4" y="20"/>
                  <a:pt x="0" y="20"/>
                  <a:pt x="0" y="21"/>
                </a:cubicBezTo>
                <a:cubicBezTo>
                  <a:pt x="0" y="23"/>
                  <a:pt x="7" y="27"/>
                  <a:pt x="8" y="28"/>
                </a:cubicBezTo>
                <a:cubicBezTo>
                  <a:pt x="8" y="28"/>
                  <a:pt x="9" y="28"/>
                  <a:pt x="9" y="28"/>
                </a:cubicBezTo>
                <a:cubicBezTo>
                  <a:pt x="9" y="27"/>
                  <a:pt x="10" y="26"/>
                  <a:pt x="9" y="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2" name="Freeform 59"/>
          <p:cNvSpPr>
            <a:spLocks/>
          </p:cNvSpPr>
          <p:nvPr/>
        </p:nvSpPr>
        <p:spPr bwMode="auto">
          <a:xfrm>
            <a:off x="3211637" y="4498976"/>
            <a:ext cx="514350" cy="438150"/>
          </a:xfrm>
          <a:custGeom>
            <a:avLst/>
            <a:gdLst>
              <a:gd name="T0" fmla="*/ 43 w 54"/>
              <a:gd name="T1" fmla="*/ 34 h 46"/>
              <a:gd name="T2" fmla="*/ 46 w 54"/>
              <a:gd name="T3" fmla="*/ 32 h 46"/>
              <a:gd name="T4" fmla="*/ 47 w 54"/>
              <a:gd name="T5" fmla="*/ 32 h 46"/>
              <a:gd name="T6" fmla="*/ 49 w 54"/>
              <a:gd name="T7" fmla="*/ 28 h 46"/>
              <a:gd name="T8" fmla="*/ 52 w 54"/>
              <a:gd name="T9" fmla="*/ 25 h 46"/>
              <a:gd name="T10" fmla="*/ 52 w 54"/>
              <a:gd name="T11" fmla="*/ 21 h 46"/>
              <a:gd name="T12" fmla="*/ 54 w 54"/>
              <a:gd name="T13" fmla="*/ 20 h 46"/>
              <a:gd name="T14" fmla="*/ 48 w 54"/>
              <a:gd name="T15" fmla="*/ 14 h 46"/>
              <a:gd name="T16" fmla="*/ 51 w 54"/>
              <a:gd name="T17" fmla="*/ 7 h 46"/>
              <a:gd name="T18" fmla="*/ 48 w 54"/>
              <a:gd name="T19" fmla="*/ 6 h 46"/>
              <a:gd name="T20" fmla="*/ 41 w 54"/>
              <a:gd name="T21" fmla="*/ 4 h 46"/>
              <a:gd name="T22" fmla="*/ 39 w 54"/>
              <a:gd name="T23" fmla="*/ 3 h 46"/>
              <a:gd name="T24" fmla="*/ 27 w 54"/>
              <a:gd name="T25" fmla="*/ 2 h 46"/>
              <a:gd name="T26" fmla="*/ 19 w 54"/>
              <a:gd name="T27" fmla="*/ 1 h 46"/>
              <a:gd name="T28" fmla="*/ 13 w 54"/>
              <a:gd name="T29" fmla="*/ 0 h 46"/>
              <a:gd name="T30" fmla="*/ 10 w 54"/>
              <a:gd name="T31" fmla="*/ 2 h 46"/>
              <a:gd name="T32" fmla="*/ 6 w 54"/>
              <a:gd name="T33" fmla="*/ 4 h 46"/>
              <a:gd name="T34" fmla="*/ 5 w 54"/>
              <a:gd name="T35" fmla="*/ 2 h 46"/>
              <a:gd name="T36" fmla="*/ 5 w 54"/>
              <a:gd name="T37" fmla="*/ 1 h 46"/>
              <a:gd name="T38" fmla="*/ 4 w 54"/>
              <a:gd name="T39" fmla="*/ 0 h 46"/>
              <a:gd name="T40" fmla="*/ 2 w 54"/>
              <a:gd name="T41" fmla="*/ 1 h 46"/>
              <a:gd name="T42" fmla="*/ 1 w 54"/>
              <a:gd name="T43" fmla="*/ 7 h 46"/>
              <a:gd name="T44" fmla="*/ 4 w 54"/>
              <a:gd name="T45" fmla="*/ 9 h 46"/>
              <a:gd name="T46" fmla="*/ 8 w 54"/>
              <a:gd name="T47" fmla="*/ 18 h 46"/>
              <a:gd name="T48" fmla="*/ 18 w 54"/>
              <a:gd name="T49" fmla="*/ 26 h 46"/>
              <a:gd name="T50" fmla="*/ 24 w 54"/>
              <a:gd name="T51" fmla="*/ 30 h 46"/>
              <a:gd name="T52" fmla="*/ 29 w 54"/>
              <a:gd name="T53" fmla="*/ 35 h 46"/>
              <a:gd name="T54" fmla="*/ 34 w 54"/>
              <a:gd name="T55" fmla="*/ 40 h 46"/>
              <a:gd name="T56" fmla="*/ 37 w 54"/>
              <a:gd name="T57" fmla="*/ 42 h 46"/>
              <a:gd name="T58" fmla="*/ 39 w 54"/>
              <a:gd name="T59" fmla="*/ 46 h 46"/>
              <a:gd name="T60" fmla="*/ 41 w 54"/>
              <a:gd name="T61" fmla="*/ 44 h 46"/>
              <a:gd name="T62" fmla="*/ 41 w 54"/>
              <a:gd name="T63" fmla="*/ 37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4" h="46">
                <a:moveTo>
                  <a:pt x="41" y="37"/>
                </a:moveTo>
                <a:cubicBezTo>
                  <a:pt x="41" y="36"/>
                  <a:pt x="42" y="35"/>
                  <a:pt x="43" y="34"/>
                </a:cubicBezTo>
                <a:cubicBezTo>
                  <a:pt x="44" y="33"/>
                  <a:pt x="44" y="32"/>
                  <a:pt x="45" y="32"/>
                </a:cubicBezTo>
                <a:cubicBezTo>
                  <a:pt x="45" y="32"/>
                  <a:pt x="46" y="32"/>
                  <a:pt x="46" y="32"/>
                </a:cubicBezTo>
                <a:cubicBezTo>
                  <a:pt x="46" y="32"/>
                  <a:pt x="47" y="33"/>
                  <a:pt x="47" y="33"/>
                </a:cubicBezTo>
                <a:cubicBezTo>
                  <a:pt x="47" y="33"/>
                  <a:pt x="47" y="32"/>
                  <a:pt x="47" y="32"/>
                </a:cubicBezTo>
                <a:cubicBezTo>
                  <a:pt x="46" y="31"/>
                  <a:pt x="46" y="30"/>
                  <a:pt x="47" y="29"/>
                </a:cubicBezTo>
                <a:cubicBezTo>
                  <a:pt x="48" y="29"/>
                  <a:pt x="49" y="28"/>
                  <a:pt x="49" y="28"/>
                </a:cubicBezTo>
                <a:cubicBezTo>
                  <a:pt x="51" y="28"/>
                  <a:pt x="53" y="27"/>
                  <a:pt x="53" y="27"/>
                </a:cubicBezTo>
                <a:cubicBezTo>
                  <a:pt x="53" y="27"/>
                  <a:pt x="52" y="26"/>
                  <a:pt x="52" y="25"/>
                </a:cubicBezTo>
                <a:cubicBezTo>
                  <a:pt x="51" y="24"/>
                  <a:pt x="49" y="23"/>
                  <a:pt x="50" y="22"/>
                </a:cubicBezTo>
                <a:cubicBezTo>
                  <a:pt x="51" y="21"/>
                  <a:pt x="52" y="21"/>
                  <a:pt x="52" y="21"/>
                </a:cubicBezTo>
                <a:cubicBezTo>
                  <a:pt x="53" y="21"/>
                  <a:pt x="54" y="20"/>
                  <a:pt x="54" y="20"/>
                </a:cubicBezTo>
                <a:cubicBezTo>
                  <a:pt x="54" y="20"/>
                  <a:pt x="54" y="20"/>
                  <a:pt x="54" y="20"/>
                </a:cubicBezTo>
                <a:cubicBezTo>
                  <a:pt x="54" y="20"/>
                  <a:pt x="53" y="19"/>
                  <a:pt x="52" y="18"/>
                </a:cubicBezTo>
                <a:cubicBezTo>
                  <a:pt x="50" y="17"/>
                  <a:pt x="48" y="15"/>
                  <a:pt x="48" y="14"/>
                </a:cubicBezTo>
                <a:cubicBezTo>
                  <a:pt x="48" y="13"/>
                  <a:pt x="49" y="12"/>
                  <a:pt x="49" y="11"/>
                </a:cubicBezTo>
                <a:cubicBezTo>
                  <a:pt x="50" y="9"/>
                  <a:pt x="51" y="8"/>
                  <a:pt x="51" y="7"/>
                </a:cubicBezTo>
                <a:cubicBezTo>
                  <a:pt x="50" y="7"/>
                  <a:pt x="49" y="6"/>
                  <a:pt x="48" y="6"/>
                </a:cubicBezTo>
                <a:cubicBezTo>
                  <a:pt x="48" y="6"/>
                  <a:pt x="48" y="6"/>
                  <a:pt x="48" y="6"/>
                </a:cubicBezTo>
                <a:cubicBezTo>
                  <a:pt x="47" y="6"/>
                  <a:pt x="45" y="5"/>
                  <a:pt x="43" y="4"/>
                </a:cubicBezTo>
                <a:cubicBezTo>
                  <a:pt x="42" y="4"/>
                  <a:pt x="41" y="4"/>
                  <a:pt x="41" y="4"/>
                </a:cubicBezTo>
                <a:cubicBezTo>
                  <a:pt x="41" y="4"/>
                  <a:pt x="41" y="4"/>
                  <a:pt x="41" y="4"/>
                </a:cubicBezTo>
                <a:cubicBezTo>
                  <a:pt x="41" y="4"/>
                  <a:pt x="40" y="3"/>
                  <a:pt x="39" y="3"/>
                </a:cubicBezTo>
                <a:cubicBezTo>
                  <a:pt x="38" y="3"/>
                  <a:pt x="37" y="3"/>
                  <a:pt x="36" y="3"/>
                </a:cubicBezTo>
                <a:cubicBezTo>
                  <a:pt x="35" y="3"/>
                  <a:pt x="31" y="3"/>
                  <a:pt x="27" y="2"/>
                </a:cubicBezTo>
                <a:cubicBezTo>
                  <a:pt x="25" y="2"/>
                  <a:pt x="24" y="2"/>
                  <a:pt x="23" y="2"/>
                </a:cubicBezTo>
                <a:cubicBezTo>
                  <a:pt x="22" y="2"/>
                  <a:pt x="20" y="1"/>
                  <a:pt x="19" y="1"/>
                </a:cubicBezTo>
                <a:cubicBezTo>
                  <a:pt x="18" y="0"/>
                  <a:pt x="17" y="0"/>
                  <a:pt x="16" y="0"/>
                </a:cubicBezTo>
                <a:cubicBezTo>
                  <a:pt x="15" y="0"/>
                  <a:pt x="14" y="0"/>
                  <a:pt x="13" y="0"/>
                </a:cubicBezTo>
                <a:cubicBezTo>
                  <a:pt x="13" y="0"/>
                  <a:pt x="13" y="0"/>
                  <a:pt x="12" y="0"/>
                </a:cubicBezTo>
                <a:cubicBezTo>
                  <a:pt x="12" y="0"/>
                  <a:pt x="11" y="1"/>
                  <a:pt x="10" y="2"/>
                </a:cubicBezTo>
                <a:cubicBezTo>
                  <a:pt x="9" y="3"/>
                  <a:pt x="9" y="4"/>
                  <a:pt x="8" y="4"/>
                </a:cubicBezTo>
                <a:cubicBezTo>
                  <a:pt x="7" y="5"/>
                  <a:pt x="7" y="4"/>
                  <a:pt x="6" y="4"/>
                </a:cubicBezTo>
                <a:cubicBezTo>
                  <a:pt x="6" y="4"/>
                  <a:pt x="6" y="4"/>
                  <a:pt x="6" y="4"/>
                </a:cubicBezTo>
                <a:cubicBezTo>
                  <a:pt x="6" y="3"/>
                  <a:pt x="6" y="3"/>
                  <a:pt x="5" y="2"/>
                </a:cubicBezTo>
                <a:cubicBezTo>
                  <a:pt x="5" y="2"/>
                  <a:pt x="5" y="1"/>
                  <a:pt x="5" y="1"/>
                </a:cubicBezTo>
                <a:cubicBezTo>
                  <a:pt x="5" y="1"/>
                  <a:pt x="5" y="1"/>
                  <a:pt x="5" y="1"/>
                </a:cubicBezTo>
                <a:cubicBezTo>
                  <a:pt x="5" y="1"/>
                  <a:pt x="5" y="1"/>
                  <a:pt x="5" y="1"/>
                </a:cubicBezTo>
                <a:cubicBezTo>
                  <a:pt x="5" y="1"/>
                  <a:pt x="4" y="0"/>
                  <a:pt x="4" y="0"/>
                </a:cubicBezTo>
                <a:cubicBezTo>
                  <a:pt x="3" y="1"/>
                  <a:pt x="3" y="1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1" y="2"/>
                  <a:pt x="1" y="4"/>
                  <a:pt x="1" y="6"/>
                </a:cubicBezTo>
                <a:cubicBezTo>
                  <a:pt x="1" y="6"/>
                  <a:pt x="1" y="6"/>
                  <a:pt x="1" y="7"/>
                </a:cubicBezTo>
                <a:cubicBezTo>
                  <a:pt x="0" y="7"/>
                  <a:pt x="1" y="8"/>
                  <a:pt x="2" y="8"/>
                </a:cubicBezTo>
                <a:cubicBezTo>
                  <a:pt x="3" y="8"/>
                  <a:pt x="3" y="9"/>
                  <a:pt x="4" y="9"/>
                </a:cubicBezTo>
                <a:cubicBezTo>
                  <a:pt x="7" y="11"/>
                  <a:pt x="8" y="15"/>
                  <a:pt x="8" y="17"/>
                </a:cubicBezTo>
                <a:cubicBezTo>
                  <a:pt x="8" y="18"/>
                  <a:pt x="8" y="18"/>
                  <a:pt x="8" y="18"/>
                </a:cubicBezTo>
                <a:cubicBezTo>
                  <a:pt x="8" y="18"/>
                  <a:pt x="8" y="18"/>
                  <a:pt x="8" y="18"/>
                </a:cubicBezTo>
                <a:cubicBezTo>
                  <a:pt x="8" y="19"/>
                  <a:pt x="14" y="23"/>
                  <a:pt x="18" y="26"/>
                </a:cubicBezTo>
                <a:cubicBezTo>
                  <a:pt x="20" y="27"/>
                  <a:pt x="22" y="28"/>
                  <a:pt x="22" y="29"/>
                </a:cubicBezTo>
                <a:cubicBezTo>
                  <a:pt x="23" y="29"/>
                  <a:pt x="24" y="30"/>
                  <a:pt x="24" y="30"/>
                </a:cubicBezTo>
                <a:cubicBezTo>
                  <a:pt x="26" y="31"/>
                  <a:pt x="27" y="32"/>
                  <a:pt x="28" y="33"/>
                </a:cubicBezTo>
                <a:cubicBezTo>
                  <a:pt x="28" y="33"/>
                  <a:pt x="28" y="34"/>
                  <a:pt x="29" y="35"/>
                </a:cubicBezTo>
                <a:cubicBezTo>
                  <a:pt x="29" y="36"/>
                  <a:pt x="29" y="37"/>
                  <a:pt x="30" y="38"/>
                </a:cubicBezTo>
                <a:cubicBezTo>
                  <a:pt x="31" y="38"/>
                  <a:pt x="33" y="39"/>
                  <a:pt x="34" y="40"/>
                </a:cubicBezTo>
                <a:cubicBezTo>
                  <a:pt x="34" y="40"/>
                  <a:pt x="34" y="40"/>
                  <a:pt x="34" y="40"/>
                </a:cubicBezTo>
                <a:cubicBezTo>
                  <a:pt x="36" y="41"/>
                  <a:pt x="37" y="42"/>
                  <a:pt x="37" y="42"/>
                </a:cubicBezTo>
                <a:cubicBezTo>
                  <a:pt x="38" y="43"/>
                  <a:pt x="38" y="44"/>
                  <a:pt x="39" y="45"/>
                </a:cubicBezTo>
                <a:cubicBezTo>
                  <a:pt x="39" y="45"/>
                  <a:pt x="39" y="45"/>
                  <a:pt x="39" y="46"/>
                </a:cubicBezTo>
                <a:cubicBezTo>
                  <a:pt x="39" y="46"/>
                  <a:pt x="40" y="46"/>
                  <a:pt x="41" y="46"/>
                </a:cubicBezTo>
                <a:cubicBezTo>
                  <a:pt x="41" y="46"/>
                  <a:pt x="41" y="45"/>
                  <a:pt x="41" y="44"/>
                </a:cubicBezTo>
                <a:cubicBezTo>
                  <a:pt x="41" y="44"/>
                  <a:pt x="41" y="43"/>
                  <a:pt x="41" y="41"/>
                </a:cubicBezTo>
                <a:cubicBezTo>
                  <a:pt x="41" y="39"/>
                  <a:pt x="41" y="38"/>
                  <a:pt x="41" y="3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3" name="Freeform 60"/>
          <p:cNvSpPr>
            <a:spLocks/>
          </p:cNvSpPr>
          <p:nvPr/>
        </p:nvSpPr>
        <p:spPr bwMode="auto">
          <a:xfrm>
            <a:off x="3068762" y="4651376"/>
            <a:ext cx="47625" cy="85725"/>
          </a:xfrm>
          <a:custGeom>
            <a:avLst/>
            <a:gdLst>
              <a:gd name="T0" fmla="*/ 0 w 5"/>
              <a:gd name="T1" fmla="*/ 3 h 9"/>
              <a:gd name="T2" fmla="*/ 5 w 5"/>
              <a:gd name="T3" fmla="*/ 7 h 9"/>
              <a:gd name="T4" fmla="*/ 1 w 5"/>
              <a:gd name="T5" fmla="*/ 2 h 9"/>
              <a:gd name="T6" fmla="*/ 0 w 5"/>
              <a:gd name="T7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9">
                <a:moveTo>
                  <a:pt x="0" y="3"/>
                </a:moveTo>
                <a:cubicBezTo>
                  <a:pt x="2" y="4"/>
                  <a:pt x="4" y="9"/>
                  <a:pt x="5" y="7"/>
                </a:cubicBezTo>
                <a:cubicBezTo>
                  <a:pt x="5" y="6"/>
                  <a:pt x="2" y="3"/>
                  <a:pt x="1" y="2"/>
                </a:cubicBezTo>
                <a:cubicBezTo>
                  <a:pt x="0" y="0"/>
                  <a:pt x="0" y="1"/>
                  <a:pt x="0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4" name="Freeform 61"/>
          <p:cNvSpPr>
            <a:spLocks/>
          </p:cNvSpPr>
          <p:nvPr/>
        </p:nvSpPr>
        <p:spPr bwMode="auto">
          <a:xfrm>
            <a:off x="3011612" y="4498976"/>
            <a:ext cx="47625" cy="85725"/>
          </a:xfrm>
          <a:custGeom>
            <a:avLst/>
            <a:gdLst>
              <a:gd name="T0" fmla="*/ 2 w 5"/>
              <a:gd name="T1" fmla="*/ 9 h 9"/>
              <a:gd name="T2" fmla="*/ 3 w 5"/>
              <a:gd name="T3" fmla="*/ 4 h 9"/>
              <a:gd name="T4" fmla="*/ 5 w 5"/>
              <a:gd name="T5" fmla="*/ 3 h 9"/>
              <a:gd name="T6" fmla="*/ 1 w 5"/>
              <a:gd name="T7" fmla="*/ 3 h 9"/>
              <a:gd name="T8" fmla="*/ 2 w 5"/>
              <a:gd name="T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9">
                <a:moveTo>
                  <a:pt x="2" y="9"/>
                </a:moveTo>
                <a:cubicBezTo>
                  <a:pt x="3" y="9"/>
                  <a:pt x="2" y="5"/>
                  <a:pt x="3" y="4"/>
                </a:cubicBezTo>
                <a:cubicBezTo>
                  <a:pt x="4" y="3"/>
                  <a:pt x="5" y="4"/>
                  <a:pt x="5" y="3"/>
                </a:cubicBezTo>
                <a:cubicBezTo>
                  <a:pt x="5" y="2"/>
                  <a:pt x="1" y="0"/>
                  <a:pt x="1" y="3"/>
                </a:cubicBezTo>
                <a:cubicBezTo>
                  <a:pt x="1" y="5"/>
                  <a:pt x="0" y="8"/>
                  <a:pt x="2" y="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5" name="Freeform 62"/>
          <p:cNvSpPr>
            <a:spLocks/>
          </p:cNvSpPr>
          <p:nvPr/>
        </p:nvSpPr>
        <p:spPr bwMode="auto">
          <a:xfrm>
            <a:off x="2916362" y="4268788"/>
            <a:ext cx="790575" cy="668338"/>
          </a:xfrm>
          <a:custGeom>
            <a:avLst/>
            <a:gdLst>
              <a:gd name="T0" fmla="*/ 83 w 83"/>
              <a:gd name="T1" fmla="*/ 23 h 70"/>
              <a:gd name="T2" fmla="*/ 79 w 83"/>
              <a:gd name="T3" fmla="*/ 20 h 70"/>
              <a:gd name="T4" fmla="*/ 76 w 83"/>
              <a:gd name="T5" fmla="*/ 16 h 70"/>
              <a:gd name="T6" fmla="*/ 76 w 83"/>
              <a:gd name="T7" fmla="*/ 11 h 70"/>
              <a:gd name="T8" fmla="*/ 68 w 83"/>
              <a:gd name="T9" fmla="*/ 13 h 70"/>
              <a:gd name="T10" fmla="*/ 58 w 83"/>
              <a:gd name="T11" fmla="*/ 12 h 70"/>
              <a:gd name="T12" fmla="*/ 47 w 83"/>
              <a:gd name="T13" fmla="*/ 5 h 70"/>
              <a:gd name="T14" fmla="*/ 41 w 83"/>
              <a:gd name="T15" fmla="*/ 0 h 70"/>
              <a:gd name="T16" fmla="*/ 39 w 83"/>
              <a:gd name="T17" fmla="*/ 2 h 70"/>
              <a:gd name="T18" fmla="*/ 36 w 83"/>
              <a:gd name="T19" fmla="*/ 3 h 70"/>
              <a:gd name="T20" fmla="*/ 32 w 83"/>
              <a:gd name="T21" fmla="*/ 4 h 70"/>
              <a:gd name="T22" fmla="*/ 30 w 83"/>
              <a:gd name="T23" fmla="*/ 7 h 70"/>
              <a:gd name="T24" fmla="*/ 30 w 83"/>
              <a:gd name="T25" fmla="*/ 11 h 70"/>
              <a:gd name="T26" fmla="*/ 26 w 83"/>
              <a:gd name="T27" fmla="*/ 14 h 70"/>
              <a:gd name="T28" fmla="*/ 26 w 83"/>
              <a:gd name="T29" fmla="*/ 17 h 70"/>
              <a:gd name="T30" fmla="*/ 23 w 83"/>
              <a:gd name="T31" fmla="*/ 19 h 70"/>
              <a:gd name="T32" fmla="*/ 19 w 83"/>
              <a:gd name="T33" fmla="*/ 18 h 70"/>
              <a:gd name="T34" fmla="*/ 13 w 83"/>
              <a:gd name="T35" fmla="*/ 15 h 70"/>
              <a:gd name="T36" fmla="*/ 9 w 83"/>
              <a:gd name="T37" fmla="*/ 18 h 70"/>
              <a:gd name="T38" fmla="*/ 5 w 83"/>
              <a:gd name="T39" fmla="*/ 16 h 70"/>
              <a:gd name="T40" fmla="*/ 0 w 83"/>
              <a:gd name="T41" fmla="*/ 21 h 70"/>
              <a:gd name="T42" fmla="*/ 4 w 83"/>
              <a:gd name="T43" fmla="*/ 31 h 70"/>
              <a:gd name="T44" fmla="*/ 8 w 83"/>
              <a:gd name="T45" fmla="*/ 27 h 70"/>
              <a:gd name="T46" fmla="*/ 9 w 83"/>
              <a:gd name="T47" fmla="*/ 24 h 70"/>
              <a:gd name="T48" fmla="*/ 15 w 83"/>
              <a:gd name="T49" fmla="*/ 24 h 70"/>
              <a:gd name="T50" fmla="*/ 20 w 83"/>
              <a:gd name="T51" fmla="*/ 35 h 70"/>
              <a:gd name="T52" fmla="*/ 28 w 83"/>
              <a:gd name="T53" fmla="*/ 42 h 70"/>
              <a:gd name="T54" fmla="*/ 22 w 83"/>
              <a:gd name="T55" fmla="*/ 41 h 70"/>
              <a:gd name="T56" fmla="*/ 33 w 83"/>
              <a:gd name="T57" fmla="*/ 50 h 70"/>
              <a:gd name="T58" fmla="*/ 41 w 83"/>
              <a:gd name="T59" fmla="*/ 53 h 70"/>
              <a:gd name="T60" fmla="*/ 41 w 83"/>
              <a:gd name="T61" fmla="*/ 56 h 70"/>
              <a:gd name="T62" fmla="*/ 49 w 83"/>
              <a:gd name="T63" fmla="*/ 58 h 70"/>
              <a:gd name="T64" fmla="*/ 51 w 83"/>
              <a:gd name="T65" fmla="*/ 60 h 70"/>
              <a:gd name="T66" fmla="*/ 53 w 83"/>
              <a:gd name="T67" fmla="*/ 63 h 70"/>
              <a:gd name="T68" fmla="*/ 53 w 83"/>
              <a:gd name="T69" fmla="*/ 65 h 70"/>
              <a:gd name="T70" fmla="*/ 65 w 83"/>
              <a:gd name="T71" fmla="*/ 69 h 70"/>
              <a:gd name="T72" fmla="*/ 68 w 83"/>
              <a:gd name="T73" fmla="*/ 69 h 70"/>
              <a:gd name="T74" fmla="*/ 65 w 83"/>
              <a:gd name="T75" fmla="*/ 65 h 70"/>
              <a:gd name="T76" fmla="*/ 60 w 83"/>
              <a:gd name="T77" fmla="*/ 63 h 70"/>
              <a:gd name="T78" fmla="*/ 58 w 83"/>
              <a:gd name="T79" fmla="*/ 58 h 70"/>
              <a:gd name="T80" fmla="*/ 52 w 83"/>
              <a:gd name="T81" fmla="*/ 54 h 70"/>
              <a:gd name="T82" fmla="*/ 38 w 83"/>
              <a:gd name="T83" fmla="*/ 42 h 70"/>
              <a:gd name="T84" fmla="*/ 38 w 83"/>
              <a:gd name="T85" fmla="*/ 42 h 70"/>
              <a:gd name="T86" fmla="*/ 32 w 83"/>
              <a:gd name="T87" fmla="*/ 33 h 70"/>
              <a:gd name="T88" fmla="*/ 30 w 83"/>
              <a:gd name="T89" fmla="*/ 30 h 70"/>
              <a:gd name="T90" fmla="*/ 32 w 83"/>
              <a:gd name="T91" fmla="*/ 24 h 70"/>
              <a:gd name="T92" fmla="*/ 37 w 83"/>
              <a:gd name="T93" fmla="*/ 24 h 70"/>
              <a:gd name="T94" fmla="*/ 37 w 83"/>
              <a:gd name="T95" fmla="*/ 24 h 70"/>
              <a:gd name="T96" fmla="*/ 38 w 83"/>
              <a:gd name="T97" fmla="*/ 27 h 70"/>
              <a:gd name="T98" fmla="*/ 38 w 83"/>
              <a:gd name="T99" fmla="*/ 27 h 70"/>
              <a:gd name="T100" fmla="*/ 43 w 83"/>
              <a:gd name="T101" fmla="*/ 23 h 70"/>
              <a:gd name="T102" fmla="*/ 47 w 83"/>
              <a:gd name="T103" fmla="*/ 23 h 70"/>
              <a:gd name="T104" fmla="*/ 47 w 83"/>
              <a:gd name="T105" fmla="*/ 23 h 70"/>
              <a:gd name="T106" fmla="*/ 54 w 83"/>
              <a:gd name="T107" fmla="*/ 25 h 70"/>
              <a:gd name="T108" fmla="*/ 67 w 83"/>
              <a:gd name="T109" fmla="*/ 26 h 70"/>
              <a:gd name="T110" fmla="*/ 72 w 83"/>
              <a:gd name="T111" fmla="*/ 26 h 70"/>
              <a:gd name="T112" fmla="*/ 78 w 83"/>
              <a:gd name="T113" fmla="*/ 28 h 70"/>
              <a:gd name="T114" fmla="*/ 78 w 83"/>
              <a:gd name="T115" fmla="*/ 28 h 70"/>
              <a:gd name="T116" fmla="*/ 82 w 83"/>
              <a:gd name="T117" fmla="*/ 23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" h="70">
                <a:moveTo>
                  <a:pt x="82" y="23"/>
                </a:moveTo>
                <a:cubicBezTo>
                  <a:pt x="82" y="23"/>
                  <a:pt x="82" y="23"/>
                  <a:pt x="83" y="23"/>
                </a:cubicBezTo>
                <a:cubicBezTo>
                  <a:pt x="82" y="23"/>
                  <a:pt x="82" y="22"/>
                  <a:pt x="82" y="22"/>
                </a:cubicBezTo>
                <a:cubicBezTo>
                  <a:pt x="81" y="22"/>
                  <a:pt x="80" y="21"/>
                  <a:pt x="79" y="20"/>
                </a:cubicBezTo>
                <a:cubicBezTo>
                  <a:pt x="79" y="20"/>
                  <a:pt x="79" y="20"/>
                  <a:pt x="78" y="19"/>
                </a:cubicBezTo>
                <a:cubicBezTo>
                  <a:pt x="77" y="18"/>
                  <a:pt x="76" y="17"/>
                  <a:pt x="76" y="16"/>
                </a:cubicBezTo>
                <a:cubicBezTo>
                  <a:pt x="75" y="15"/>
                  <a:pt x="76" y="14"/>
                  <a:pt x="76" y="13"/>
                </a:cubicBezTo>
                <a:cubicBezTo>
                  <a:pt x="76" y="12"/>
                  <a:pt x="76" y="11"/>
                  <a:pt x="76" y="11"/>
                </a:cubicBezTo>
                <a:cubicBezTo>
                  <a:pt x="75" y="11"/>
                  <a:pt x="74" y="11"/>
                  <a:pt x="73" y="12"/>
                </a:cubicBezTo>
                <a:cubicBezTo>
                  <a:pt x="71" y="12"/>
                  <a:pt x="70" y="13"/>
                  <a:pt x="68" y="13"/>
                </a:cubicBezTo>
                <a:cubicBezTo>
                  <a:pt x="67" y="13"/>
                  <a:pt x="67" y="14"/>
                  <a:pt x="66" y="14"/>
                </a:cubicBezTo>
                <a:cubicBezTo>
                  <a:pt x="63" y="14"/>
                  <a:pt x="60" y="14"/>
                  <a:pt x="58" y="12"/>
                </a:cubicBezTo>
                <a:cubicBezTo>
                  <a:pt x="57" y="12"/>
                  <a:pt x="55" y="11"/>
                  <a:pt x="53" y="9"/>
                </a:cubicBezTo>
                <a:cubicBezTo>
                  <a:pt x="50" y="8"/>
                  <a:pt x="47" y="6"/>
                  <a:pt x="47" y="5"/>
                </a:cubicBezTo>
                <a:cubicBezTo>
                  <a:pt x="47" y="5"/>
                  <a:pt x="45" y="3"/>
                  <a:pt x="44" y="2"/>
                </a:cubicBezTo>
                <a:cubicBezTo>
                  <a:pt x="42" y="1"/>
                  <a:pt x="41" y="0"/>
                  <a:pt x="41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41" y="1"/>
                  <a:pt x="40" y="2"/>
                  <a:pt x="39" y="2"/>
                </a:cubicBezTo>
                <a:cubicBezTo>
                  <a:pt x="39" y="2"/>
                  <a:pt x="39" y="2"/>
                  <a:pt x="39" y="2"/>
                </a:cubicBezTo>
                <a:cubicBezTo>
                  <a:pt x="38" y="3"/>
                  <a:pt x="37" y="3"/>
                  <a:pt x="36" y="3"/>
                </a:cubicBezTo>
                <a:cubicBezTo>
                  <a:pt x="35" y="3"/>
                  <a:pt x="34" y="3"/>
                  <a:pt x="34" y="3"/>
                </a:cubicBezTo>
                <a:cubicBezTo>
                  <a:pt x="34" y="4"/>
                  <a:pt x="33" y="4"/>
                  <a:pt x="32" y="4"/>
                </a:cubicBezTo>
                <a:cubicBezTo>
                  <a:pt x="31" y="5"/>
                  <a:pt x="30" y="5"/>
                  <a:pt x="30" y="5"/>
                </a:cubicBezTo>
                <a:cubicBezTo>
                  <a:pt x="30" y="6"/>
                  <a:pt x="30" y="7"/>
                  <a:pt x="30" y="7"/>
                </a:cubicBezTo>
                <a:cubicBezTo>
                  <a:pt x="30" y="9"/>
                  <a:pt x="31" y="10"/>
                  <a:pt x="30" y="11"/>
                </a:cubicBezTo>
                <a:cubicBezTo>
                  <a:pt x="30" y="11"/>
                  <a:pt x="30" y="11"/>
                  <a:pt x="30" y="11"/>
                </a:cubicBezTo>
                <a:cubicBezTo>
                  <a:pt x="30" y="11"/>
                  <a:pt x="29" y="12"/>
                  <a:pt x="28" y="13"/>
                </a:cubicBezTo>
                <a:cubicBezTo>
                  <a:pt x="27" y="13"/>
                  <a:pt x="26" y="14"/>
                  <a:pt x="26" y="14"/>
                </a:cubicBezTo>
                <a:cubicBezTo>
                  <a:pt x="26" y="14"/>
                  <a:pt x="26" y="15"/>
                  <a:pt x="26" y="15"/>
                </a:cubicBezTo>
                <a:cubicBezTo>
                  <a:pt x="26" y="16"/>
                  <a:pt x="26" y="16"/>
                  <a:pt x="26" y="17"/>
                </a:cubicBezTo>
                <a:cubicBezTo>
                  <a:pt x="26" y="17"/>
                  <a:pt x="25" y="17"/>
                  <a:pt x="25" y="18"/>
                </a:cubicBezTo>
                <a:cubicBezTo>
                  <a:pt x="25" y="19"/>
                  <a:pt x="25" y="20"/>
                  <a:pt x="23" y="19"/>
                </a:cubicBezTo>
                <a:cubicBezTo>
                  <a:pt x="23" y="19"/>
                  <a:pt x="22" y="19"/>
                  <a:pt x="22" y="19"/>
                </a:cubicBezTo>
                <a:cubicBezTo>
                  <a:pt x="21" y="19"/>
                  <a:pt x="19" y="18"/>
                  <a:pt x="19" y="18"/>
                </a:cubicBezTo>
                <a:cubicBezTo>
                  <a:pt x="17" y="19"/>
                  <a:pt x="16" y="18"/>
                  <a:pt x="15" y="17"/>
                </a:cubicBezTo>
                <a:cubicBezTo>
                  <a:pt x="14" y="16"/>
                  <a:pt x="14" y="15"/>
                  <a:pt x="13" y="15"/>
                </a:cubicBezTo>
                <a:cubicBezTo>
                  <a:pt x="13" y="15"/>
                  <a:pt x="13" y="16"/>
                  <a:pt x="13" y="16"/>
                </a:cubicBezTo>
                <a:cubicBezTo>
                  <a:pt x="12" y="17"/>
                  <a:pt x="11" y="19"/>
                  <a:pt x="9" y="18"/>
                </a:cubicBezTo>
                <a:cubicBezTo>
                  <a:pt x="8" y="18"/>
                  <a:pt x="7" y="17"/>
                  <a:pt x="7" y="17"/>
                </a:cubicBezTo>
                <a:cubicBezTo>
                  <a:pt x="6" y="16"/>
                  <a:pt x="6" y="16"/>
                  <a:pt x="5" y="16"/>
                </a:cubicBezTo>
                <a:cubicBezTo>
                  <a:pt x="4" y="17"/>
                  <a:pt x="1" y="18"/>
                  <a:pt x="0" y="19"/>
                </a:cubicBezTo>
                <a:cubicBezTo>
                  <a:pt x="0" y="20"/>
                  <a:pt x="0" y="20"/>
                  <a:pt x="0" y="21"/>
                </a:cubicBezTo>
                <a:cubicBezTo>
                  <a:pt x="0" y="22"/>
                  <a:pt x="0" y="24"/>
                  <a:pt x="0" y="25"/>
                </a:cubicBezTo>
                <a:cubicBezTo>
                  <a:pt x="1" y="27"/>
                  <a:pt x="3" y="31"/>
                  <a:pt x="4" y="31"/>
                </a:cubicBezTo>
                <a:cubicBezTo>
                  <a:pt x="5" y="31"/>
                  <a:pt x="5" y="29"/>
                  <a:pt x="5" y="28"/>
                </a:cubicBezTo>
                <a:cubicBezTo>
                  <a:pt x="5" y="27"/>
                  <a:pt x="7" y="27"/>
                  <a:pt x="8" y="27"/>
                </a:cubicBezTo>
                <a:cubicBezTo>
                  <a:pt x="8" y="27"/>
                  <a:pt x="8" y="26"/>
                  <a:pt x="8" y="26"/>
                </a:cubicBezTo>
                <a:cubicBezTo>
                  <a:pt x="8" y="25"/>
                  <a:pt x="9" y="25"/>
                  <a:pt x="9" y="24"/>
                </a:cubicBezTo>
                <a:cubicBezTo>
                  <a:pt x="9" y="23"/>
                  <a:pt x="10" y="22"/>
                  <a:pt x="10" y="21"/>
                </a:cubicBezTo>
                <a:cubicBezTo>
                  <a:pt x="11" y="21"/>
                  <a:pt x="14" y="23"/>
                  <a:pt x="15" y="24"/>
                </a:cubicBezTo>
                <a:cubicBezTo>
                  <a:pt x="15" y="24"/>
                  <a:pt x="17" y="26"/>
                  <a:pt x="18" y="27"/>
                </a:cubicBezTo>
                <a:cubicBezTo>
                  <a:pt x="19" y="28"/>
                  <a:pt x="19" y="34"/>
                  <a:pt x="20" y="35"/>
                </a:cubicBezTo>
                <a:cubicBezTo>
                  <a:pt x="20" y="36"/>
                  <a:pt x="23" y="38"/>
                  <a:pt x="25" y="39"/>
                </a:cubicBezTo>
                <a:cubicBezTo>
                  <a:pt x="27" y="40"/>
                  <a:pt x="28" y="41"/>
                  <a:pt x="28" y="42"/>
                </a:cubicBezTo>
                <a:cubicBezTo>
                  <a:pt x="29" y="44"/>
                  <a:pt x="28" y="43"/>
                  <a:pt x="26" y="42"/>
                </a:cubicBezTo>
                <a:cubicBezTo>
                  <a:pt x="25" y="42"/>
                  <a:pt x="22" y="40"/>
                  <a:pt x="22" y="41"/>
                </a:cubicBezTo>
                <a:cubicBezTo>
                  <a:pt x="21" y="41"/>
                  <a:pt x="26" y="46"/>
                  <a:pt x="27" y="47"/>
                </a:cubicBezTo>
                <a:cubicBezTo>
                  <a:pt x="29" y="48"/>
                  <a:pt x="31" y="49"/>
                  <a:pt x="33" y="50"/>
                </a:cubicBezTo>
                <a:cubicBezTo>
                  <a:pt x="35" y="51"/>
                  <a:pt x="34" y="52"/>
                  <a:pt x="34" y="53"/>
                </a:cubicBezTo>
                <a:cubicBezTo>
                  <a:pt x="35" y="55"/>
                  <a:pt x="40" y="53"/>
                  <a:pt x="41" y="53"/>
                </a:cubicBezTo>
                <a:cubicBezTo>
                  <a:pt x="42" y="53"/>
                  <a:pt x="44" y="54"/>
                  <a:pt x="43" y="55"/>
                </a:cubicBezTo>
                <a:cubicBezTo>
                  <a:pt x="42" y="56"/>
                  <a:pt x="41" y="55"/>
                  <a:pt x="41" y="56"/>
                </a:cubicBezTo>
                <a:cubicBezTo>
                  <a:pt x="40" y="57"/>
                  <a:pt x="44" y="58"/>
                  <a:pt x="45" y="57"/>
                </a:cubicBezTo>
                <a:cubicBezTo>
                  <a:pt x="46" y="57"/>
                  <a:pt x="48" y="57"/>
                  <a:pt x="49" y="58"/>
                </a:cubicBezTo>
                <a:cubicBezTo>
                  <a:pt x="49" y="59"/>
                  <a:pt x="47" y="59"/>
                  <a:pt x="47" y="60"/>
                </a:cubicBezTo>
                <a:cubicBezTo>
                  <a:pt x="46" y="61"/>
                  <a:pt x="50" y="61"/>
                  <a:pt x="51" y="60"/>
                </a:cubicBezTo>
                <a:cubicBezTo>
                  <a:pt x="52" y="60"/>
                  <a:pt x="55" y="61"/>
                  <a:pt x="55" y="62"/>
                </a:cubicBezTo>
                <a:cubicBezTo>
                  <a:pt x="56" y="63"/>
                  <a:pt x="55" y="63"/>
                  <a:pt x="53" y="63"/>
                </a:cubicBezTo>
                <a:cubicBezTo>
                  <a:pt x="51" y="63"/>
                  <a:pt x="49" y="63"/>
                  <a:pt x="49" y="64"/>
                </a:cubicBezTo>
                <a:cubicBezTo>
                  <a:pt x="48" y="65"/>
                  <a:pt x="51" y="64"/>
                  <a:pt x="53" y="65"/>
                </a:cubicBezTo>
                <a:cubicBezTo>
                  <a:pt x="55" y="65"/>
                  <a:pt x="55" y="66"/>
                  <a:pt x="55" y="67"/>
                </a:cubicBezTo>
                <a:cubicBezTo>
                  <a:pt x="56" y="67"/>
                  <a:pt x="63" y="69"/>
                  <a:pt x="65" y="69"/>
                </a:cubicBezTo>
                <a:cubicBezTo>
                  <a:pt x="66" y="69"/>
                  <a:pt x="67" y="69"/>
                  <a:pt x="68" y="70"/>
                </a:cubicBezTo>
                <a:cubicBezTo>
                  <a:pt x="68" y="69"/>
                  <a:pt x="68" y="69"/>
                  <a:pt x="68" y="69"/>
                </a:cubicBezTo>
                <a:cubicBezTo>
                  <a:pt x="68" y="68"/>
                  <a:pt x="68" y="67"/>
                  <a:pt x="67" y="67"/>
                </a:cubicBezTo>
                <a:cubicBezTo>
                  <a:pt x="67" y="67"/>
                  <a:pt x="66" y="66"/>
                  <a:pt x="65" y="65"/>
                </a:cubicBezTo>
                <a:cubicBezTo>
                  <a:pt x="65" y="65"/>
                  <a:pt x="65" y="65"/>
                  <a:pt x="65" y="65"/>
                </a:cubicBezTo>
                <a:cubicBezTo>
                  <a:pt x="63" y="64"/>
                  <a:pt x="62" y="64"/>
                  <a:pt x="60" y="63"/>
                </a:cubicBezTo>
                <a:cubicBezTo>
                  <a:pt x="59" y="62"/>
                  <a:pt x="59" y="60"/>
                  <a:pt x="58" y="59"/>
                </a:cubicBezTo>
                <a:cubicBezTo>
                  <a:pt x="58" y="59"/>
                  <a:pt x="58" y="58"/>
                  <a:pt x="58" y="58"/>
                </a:cubicBezTo>
                <a:cubicBezTo>
                  <a:pt x="57" y="57"/>
                  <a:pt x="56" y="56"/>
                  <a:pt x="55" y="55"/>
                </a:cubicBezTo>
                <a:cubicBezTo>
                  <a:pt x="54" y="55"/>
                  <a:pt x="53" y="54"/>
                  <a:pt x="52" y="54"/>
                </a:cubicBezTo>
                <a:cubicBezTo>
                  <a:pt x="52" y="53"/>
                  <a:pt x="50" y="52"/>
                  <a:pt x="49" y="51"/>
                </a:cubicBezTo>
                <a:cubicBezTo>
                  <a:pt x="44" y="48"/>
                  <a:pt x="38" y="43"/>
                  <a:pt x="38" y="42"/>
                </a:cubicBezTo>
                <a:cubicBezTo>
                  <a:pt x="38" y="42"/>
                  <a:pt x="38" y="42"/>
                  <a:pt x="38" y="42"/>
                </a:cubicBezTo>
                <a:cubicBezTo>
                  <a:pt x="38" y="42"/>
                  <a:pt x="38" y="42"/>
                  <a:pt x="38" y="42"/>
                </a:cubicBezTo>
                <a:cubicBezTo>
                  <a:pt x="37" y="40"/>
                  <a:pt x="37" y="36"/>
                  <a:pt x="35" y="34"/>
                </a:cubicBezTo>
                <a:cubicBezTo>
                  <a:pt x="34" y="34"/>
                  <a:pt x="33" y="34"/>
                  <a:pt x="32" y="33"/>
                </a:cubicBezTo>
                <a:cubicBezTo>
                  <a:pt x="31" y="33"/>
                  <a:pt x="30" y="32"/>
                  <a:pt x="30" y="30"/>
                </a:cubicBezTo>
                <a:cubicBezTo>
                  <a:pt x="30" y="30"/>
                  <a:pt x="30" y="30"/>
                  <a:pt x="30" y="30"/>
                </a:cubicBezTo>
                <a:cubicBezTo>
                  <a:pt x="30" y="28"/>
                  <a:pt x="31" y="25"/>
                  <a:pt x="32" y="24"/>
                </a:cubicBezTo>
                <a:cubicBezTo>
                  <a:pt x="32" y="24"/>
                  <a:pt x="32" y="24"/>
                  <a:pt x="32" y="24"/>
                </a:cubicBezTo>
                <a:cubicBezTo>
                  <a:pt x="33" y="23"/>
                  <a:pt x="34" y="23"/>
                  <a:pt x="35" y="23"/>
                </a:cubicBezTo>
                <a:cubicBezTo>
                  <a:pt x="36" y="23"/>
                  <a:pt x="36" y="23"/>
                  <a:pt x="37" y="24"/>
                </a:cubicBezTo>
                <a:cubicBezTo>
                  <a:pt x="37" y="24"/>
                  <a:pt x="37" y="24"/>
                  <a:pt x="37" y="24"/>
                </a:cubicBezTo>
                <a:cubicBezTo>
                  <a:pt x="37" y="24"/>
                  <a:pt x="37" y="24"/>
                  <a:pt x="37" y="24"/>
                </a:cubicBezTo>
                <a:cubicBezTo>
                  <a:pt x="37" y="24"/>
                  <a:pt x="37" y="25"/>
                  <a:pt x="38" y="25"/>
                </a:cubicBezTo>
                <a:cubicBezTo>
                  <a:pt x="38" y="26"/>
                  <a:pt x="38" y="27"/>
                  <a:pt x="38" y="27"/>
                </a:cubicBezTo>
                <a:cubicBezTo>
                  <a:pt x="38" y="27"/>
                  <a:pt x="38" y="27"/>
                  <a:pt x="38" y="27"/>
                </a:cubicBezTo>
                <a:cubicBezTo>
                  <a:pt x="38" y="27"/>
                  <a:pt x="38" y="27"/>
                  <a:pt x="38" y="27"/>
                </a:cubicBezTo>
                <a:cubicBezTo>
                  <a:pt x="39" y="27"/>
                  <a:pt x="39" y="26"/>
                  <a:pt x="40" y="25"/>
                </a:cubicBezTo>
                <a:cubicBezTo>
                  <a:pt x="41" y="24"/>
                  <a:pt x="42" y="23"/>
                  <a:pt x="43" y="23"/>
                </a:cubicBezTo>
                <a:cubicBezTo>
                  <a:pt x="44" y="23"/>
                  <a:pt x="44" y="23"/>
                  <a:pt x="44" y="23"/>
                </a:cubicBezTo>
                <a:cubicBezTo>
                  <a:pt x="45" y="23"/>
                  <a:pt x="46" y="23"/>
                  <a:pt x="47" y="23"/>
                </a:cubicBez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7" y="23"/>
                  <a:pt x="47" y="23"/>
                </a:cubicBezTo>
                <a:cubicBezTo>
                  <a:pt x="48" y="22"/>
                  <a:pt x="49" y="23"/>
                  <a:pt x="51" y="24"/>
                </a:cubicBezTo>
                <a:cubicBezTo>
                  <a:pt x="52" y="24"/>
                  <a:pt x="53" y="24"/>
                  <a:pt x="54" y="25"/>
                </a:cubicBezTo>
                <a:cubicBezTo>
                  <a:pt x="55" y="25"/>
                  <a:pt x="57" y="25"/>
                  <a:pt x="59" y="25"/>
                </a:cubicBezTo>
                <a:cubicBezTo>
                  <a:pt x="62" y="25"/>
                  <a:pt x="66" y="26"/>
                  <a:pt x="67" y="26"/>
                </a:cubicBezTo>
                <a:cubicBezTo>
                  <a:pt x="68" y="26"/>
                  <a:pt x="69" y="26"/>
                  <a:pt x="70" y="26"/>
                </a:cubicBezTo>
                <a:cubicBezTo>
                  <a:pt x="71" y="26"/>
                  <a:pt x="72" y="26"/>
                  <a:pt x="72" y="26"/>
                </a:cubicBezTo>
                <a:cubicBezTo>
                  <a:pt x="73" y="26"/>
                  <a:pt x="74" y="27"/>
                  <a:pt x="75" y="27"/>
                </a:cubicBezTo>
                <a:cubicBezTo>
                  <a:pt x="76" y="28"/>
                  <a:pt x="78" y="28"/>
                  <a:pt x="78" y="28"/>
                </a:cubicBezTo>
                <a:cubicBezTo>
                  <a:pt x="78" y="28"/>
                  <a:pt x="78" y="28"/>
                  <a:pt x="78" y="28"/>
                </a:cubicBezTo>
                <a:cubicBezTo>
                  <a:pt x="79" y="28"/>
                  <a:pt x="78" y="28"/>
                  <a:pt x="78" y="28"/>
                </a:cubicBezTo>
                <a:cubicBezTo>
                  <a:pt x="78" y="27"/>
                  <a:pt x="78" y="26"/>
                  <a:pt x="79" y="25"/>
                </a:cubicBezTo>
                <a:cubicBezTo>
                  <a:pt x="80" y="24"/>
                  <a:pt x="81" y="24"/>
                  <a:pt x="82" y="2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6" name="Freeform 63"/>
          <p:cNvSpPr>
            <a:spLocks/>
          </p:cNvSpPr>
          <p:nvPr/>
        </p:nvSpPr>
        <p:spPr bwMode="auto">
          <a:xfrm>
            <a:off x="2878262" y="4192588"/>
            <a:ext cx="419100" cy="247650"/>
          </a:xfrm>
          <a:custGeom>
            <a:avLst/>
            <a:gdLst>
              <a:gd name="T0" fmla="*/ 0 w 44"/>
              <a:gd name="T1" fmla="*/ 23 h 26"/>
              <a:gd name="T2" fmla="*/ 3 w 44"/>
              <a:gd name="T3" fmla="*/ 21 h 26"/>
              <a:gd name="T4" fmla="*/ 5 w 44"/>
              <a:gd name="T5" fmla="*/ 24 h 26"/>
              <a:gd name="T6" fmla="*/ 5 w 44"/>
              <a:gd name="T7" fmla="*/ 25 h 26"/>
              <a:gd name="T8" fmla="*/ 9 w 44"/>
              <a:gd name="T9" fmla="*/ 23 h 26"/>
              <a:gd name="T10" fmla="*/ 12 w 44"/>
              <a:gd name="T11" fmla="*/ 24 h 26"/>
              <a:gd name="T12" fmla="*/ 13 w 44"/>
              <a:gd name="T13" fmla="*/ 25 h 26"/>
              <a:gd name="T14" fmla="*/ 16 w 44"/>
              <a:gd name="T15" fmla="*/ 23 h 26"/>
              <a:gd name="T16" fmla="*/ 17 w 44"/>
              <a:gd name="T17" fmla="*/ 22 h 26"/>
              <a:gd name="T18" fmla="*/ 20 w 44"/>
              <a:gd name="T19" fmla="*/ 24 h 26"/>
              <a:gd name="T20" fmla="*/ 22 w 44"/>
              <a:gd name="T21" fmla="*/ 25 h 26"/>
              <a:gd name="T22" fmla="*/ 26 w 44"/>
              <a:gd name="T23" fmla="*/ 26 h 26"/>
              <a:gd name="T24" fmla="*/ 28 w 44"/>
              <a:gd name="T25" fmla="*/ 26 h 26"/>
              <a:gd name="T26" fmla="*/ 28 w 44"/>
              <a:gd name="T27" fmla="*/ 25 h 26"/>
              <a:gd name="T28" fmla="*/ 28 w 44"/>
              <a:gd name="T29" fmla="*/ 24 h 26"/>
              <a:gd name="T30" fmla="*/ 28 w 44"/>
              <a:gd name="T31" fmla="*/ 23 h 26"/>
              <a:gd name="T32" fmla="*/ 28 w 44"/>
              <a:gd name="T33" fmla="*/ 22 h 26"/>
              <a:gd name="T34" fmla="*/ 28 w 44"/>
              <a:gd name="T35" fmla="*/ 22 h 26"/>
              <a:gd name="T36" fmla="*/ 31 w 44"/>
              <a:gd name="T37" fmla="*/ 19 h 26"/>
              <a:gd name="T38" fmla="*/ 33 w 44"/>
              <a:gd name="T39" fmla="*/ 18 h 26"/>
              <a:gd name="T40" fmla="*/ 33 w 44"/>
              <a:gd name="T41" fmla="*/ 16 h 26"/>
              <a:gd name="T42" fmla="*/ 32 w 44"/>
              <a:gd name="T43" fmla="*/ 13 h 26"/>
              <a:gd name="T44" fmla="*/ 35 w 44"/>
              <a:gd name="T45" fmla="*/ 11 h 26"/>
              <a:gd name="T46" fmla="*/ 37 w 44"/>
              <a:gd name="T47" fmla="*/ 10 h 26"/>
              <a:gd name="T48" fmla="*/ 40 w 44"/>
              <a:gd name="T49" fmla="*/ 10 h 26"/>
              <a:gd name="T50" fmla="*/ 42 w 44"/>
              <a:gd name="T51" fmla="*/ 9 h 26"/>
              <a:gd name="T52" fmla="*/ 43 w 44"/>
              <a:gd name="T53" fmla="*/ 8 h 26"/>
              <a:gd name="T54" fmla="*/ 44 w 44"/>
              <a:gd name="T55" fmla="*/ 7 h 26"/>
              <a:gd name="T56" fmla="*/ 44 w 44"/>
              <a:gd name="T57" fmla="*/ 6 h 26"/>
              <a:gd name="T58" fmla="*/ 44 w 44"/>
              <a:gd name="T59" fmla="*/ 6 h 26"/>
              <a:gd name="T60" fmla="*/ 44 w 44"/>
              <a:gd name="T61" fmla="*/ 4 h 26"/>
              <a:gd name="T62" fmla="*/ 41 w 44"/>
              <a:gd name="T63" fmla="*/ 0 h 26"/>
              <a:gd name="T64" fmla="*/ 39 w 44"/>
              <a:gd name="T65" fmla="*/ 3 h 26"/>
              <a:gd name="T66" fmla="*/ 36 w 44"/>
              <a:gd name="T67" fmla="*/ 4 h 26"/>
              <a:gd name="T68" fmla="*/ 36 w 44"/>
              <a:gd name="T69" fmla="*/ 4 h 26"/>
              <a:gd name="T70" fmla="*/ 34 w 44"/>
              <a:gd name="T71" fmla="*/ 5 h 26"/>
              <a:gd name="T72" fmla="*/ 32 w 44"/>
              <a:gd name="T73" fmla="*/ 6 h 26"/>
              <a:gd name="T74" fmla="*/ 29 w 44"/>
              <a:gd name="T75" fmla="*/ 7 h 26"/>
              <a:gd name="T76" fmla="*/ 26 w 44"/>
              <a:gd name="T77" fmla="*/ 6 h 26"/>
              <a:gd name="T78" fmla="*/ 23 w 44"/>
              <a:gd name="T79" fmla="*/ 6 h 26"/>
              <a:gd name="T80" fmla="*/ 21 w 44"/>
              <a:gd name="T81" fmla="*/ 7 h 26"/>
              <a:gd name="T82" fmla="*/ 18 w 44"/>
              <a:gd name="T83" fmla="*/ 9 h 26"/>
              <a:gd name="T84" fmla="*/ 15 w 44"/>
              <a:gd name="T85" fmla="*/ 9 h 26"/>
              <a:gd name="T86" fmla="*/ 9 w 44"/>
              <a:gd name="T87" fmla="*/ 8 h 26"/>
              <a:gd name="T88" fmla="*/ 8 w 44"/>
              <a:gd name="T89" fmla="*/ 7 h 26"/>
              <a:gd name="T90" fmla="*/ 7 w 44"/>
              <a:gd name="T91" fmla="*/ 8 h 26"/>
              <a:gd name="T92" fmla="*/ 5 w 44"/>
              <a:gd name="T93" fmla="*/ 10 h 26"/>
              <a:gd name="T94" fmla="*/ 3 w 44"/>
              <a:gd name="T95" fmla="*/ 11 h 26"/>
              <a:gd name="T96" fmla="*/ 1 w 44"/>
              <a:gd name="T97" fmla="*/ 12 h 26"/>
              <a:gd name="T98" fmla="*/ 1 w 44"/>
              <a:gd name="T99" fmla="*/ 15 h 26"/>
              <a:gd name="T100" fmla="*/ 1 w 44"/>
              <a:gd name="T101" fmla="*/ 16 h 26"/>
              <a:gd name="T102" fmla="*/ 1 w 44"/>
              <a:gd name="T103" fmla="*/ 17 h 26"/>
              <a:gd name="T104" fmla="*/ 1 w 44"/>
              <a:gd name="T105" fmla="*/ 19 h 26"/>
              <a:gd name="T106" fmla="*/ 0 w 44"/>
              <a:gd name="T107" fmla="*/ 2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" h="26">
                <a:moveTo>
                  <a:pt x="0" y="23"/>
                </a:moveTo>
                <a:cubicBezTo>
                  <a:pt x="1" y="23"/>
                  <a:pt x="2" y="22"/>
                  <a:pt x="3" y="21"/>
                </a:cubicBezTo>
                <a:cubicBezTo>
                  <a:pt x="4" y="21"/>
                  <a:pt x="4" y="23"/>
                  <a:pt x="5" y="24"/>
                </a:cubicBezTo>
                <a:cubicBezTo>
                  <a:pt x="5" y="24"/>
                  <a:pt x="5" y="25"/>
                  <a:pt x="5" y="25"/>
                </a:cubicBezTo>
                <a:cubicBezTo>
                  <a:pt x="6" y="24"/>
                  <a:pt x="8" y="23"/>
                  <a:pt x="9" y="23"/>
                </a:cubicBezTo>
                <a:cubicBezTo>
                  <a:pt x="10" y="23"/>
                  <a:pt x="11" y="23"/>
                  <a:pt x="12" y="24"/>
                </a:cubicBezTo>
                <a:cubicBezTo>
                  <a:pt x="12" y="24"/>
                  <a:pt x="12" y="25"/>
                  <a:pt x="13" y="25"/>
                </a:cubicBezTo>
                <a:cubicBezTo>
                  <a:pt x="14" y="25"/>
                  <a:pt x="15" y="24"/>
                  <a:pt x="16" y="23"/>
                </a:cubicBezTo>
                <a:cubicBezTo>
                  <a:pt x="16" y="23"/>
                  <a:pt x="16" y="22"/>
                  <a:pt x="17" y="22"/>
                </a:cubicBezTo>
                <a:cubicBezTo>
                  <a:pt x="18" y="22"/>
                  <a:pt x="19" y="22"/>
                  <a:pt x="20" y="24"/>
                </a:cubicBezTo>
                <a:cubicBezTo>
                  <a:pt x="21" y="24"/>
                  <a:pt x="22" y="25"/>
                  <a:pt x="22" y="25"/>
                </a:cubicBezTo>
                <a:cubicBezTo>
                  <a:pt x="24" y="25"/>
                  <a:pt x="25" y="25"/>
                  <a:pt x="26" y="26"/>
                </a:cubicBezTo>
                <a:cubicBezTo>
                  <a:pt x="27" y="26"/>
                  <a:pt x="27" y="26"/>
                  <a:pt x="28" y="26"/>
                </a:cubicBezTo>
                <a:cubicBezTo>
                  <a:pt x="28" y="26"/>
                  <a:pt x="28" y="26"/>
                  <a:pt x="28" y="25"/>
                </a:cubicBezTo>
                <a:cubicBezTo>
                  <a:pt x="28" y="25"/>
                  <a:pt x="28" y="25"/>
                  <a:pt x="28" y="24"/>
                </a:cubicBezTo>
                <a:cubicBezTo>
                  <a:pt x="29" y="24"/>
                  <a:pt x="28" y="24"/>
                  <a:pt x="28" y="23"/>
                </a:cubicBezTo>
                <a:cubicBezTo>
                  <a:pt x="28" y="23"/>
                  <a:pt x="28" y="22"/>
                  <a:pt x="28" y="22"/>
                </a:cubicBezTo>
                <a:cubicBezTo>
                  <a:pt x="28" y="22"/>
                  <a:pt x="28" y="22"/>
                  <a:pt x="28" y="22"/>
                </a:cubicBezTo>
                <a:cubicBezTo>
                  <a:pt x="28" y="21"/>
                  <a:pt x="30" y="20"/>
                  <a:pt x="31" y="19"/>
                </a:cubicBezTo>
                <a:cubicBezTo>
                  <a:pt x="32" y="19"/>
                  <a:pt x="33" y="18"/>
                  <a:pt x="33" y="18"/>
                </a:cubicBezTo>
                <a:cubicBezTo>
                  <a:pt x="33" y="18"/>
                  <a:pt x="33" y="17"/>
                  <a:pt x="33" y="16"/>
                </a:cubicBezTo>
                <a:cubicBezTo>
                  <a:pt x="33" y="15"/>
                  <a:pt x="32" y="14"/>
                  <a:pt x="32" y="13"/>
                </a:cubicBezTo>
                <a:cubicBezTo>
                  <a:pt x="33" y="12"/>
                  <a:pt x="34" y="12"/>
                  <a:pt x="35" y="11"/>
                </a:cubicBezTo>
                <a:cubicBezTo>
                  <a:pt x="36" y="11"/>
                  <a:pt x="37" y="11"/>
                  <a:pt x="37" y="10"/>
                </a:cubicBezTo>
                <a:cubicBezTo>
                  <a:pt x="38" y="10"/>
                  <a:pt x="39" y="10"/>
                  <a:pt x="40" y="10"/>
                </a:cubicBezTo>
                <a:cubicBezTo>
                  <a:pt x="40" y="10"/>
                  <a:pt x="41" y="10"/>
                  <a:pt x="42" y="9"/>
                </a:cubicBezTo>
                <a:cubicBezTo>
                  <a:pt x="43" y="9"/>
                  <a:pt x="43" y="8"/>
                  <a:pt x="43" y="8"/>
                </a:cubicBezTo>
                <a:cubicBezTo>
                  <a:pt x="43" y="7"/>
                  <a:pt x="43" y="7"/>
                  <a:pt x="44" y="7"/>
                </a:cubicBezTo>
                <a:cubicBezTo>
                  <a:pt x="44" y="6"/>
                  <a:pt x="44" y="6"/>
                  <a:pt x="44" y="6"/>
                </a:cubicBezTo>
                <a:cubicBezTo>
                  <a:pt x="44" y="6"/>
                  <a:pt x="44" y="6"/>
                  <a:pt x="44" y="6"/>
                </a:cubicBezTo>
                <a:cubicBezTo>
                  <a:pt x="44" y="5"/>
                  <a:pt x="44" y="5"/>
                  <a:pt x="44" y="4"/>
                </a:cubicBezTo>
                <a:cubicBezTo>
                  <a:pt x="43" y="3"/>
                  <a:pt x="42" y="1"/>
                  <a:pt x="41" y="0"/>
                </a:cubicBezTo>
                <a:cubicBezTo>
                  <a:pt x="40" y="1"/>
                  <a:pt x="39" y="2"/>
                  <a:pt x="39" y="3"/>
                </a:cubicBezTo>
                <a:cubicBezTo>
                  <a:pt x="38" y="4"/>
                  <a:pt x="37" y="4"/>
                  <a:pt x="36" y="4"/>
                </a:cubicBezTo>
                <a:cubicBezTo>
                  <a:pt x="36" y="4"/>
                  <a:pt x="36" y="4"/>
                  <a:pt x="36" y="4"/>
                </a:cubicBezTo>
                <a:cubicBezTo>
                  <a:pt x="35" y="4"/>
                  <a:pt x="34" y="4"/>
                  <a:pt x="34" y="5"/>
                </a:cubicBezTo>
                <a:cubicBezTo>
                  <a:pt x="33" y="5"/>
                  <a:pt x="32" y="5"/>
                  <a:pt x="32" y="6"/>
                </a:cubicBezTo>
                <a:cubicBezTo>
                  <a:pt x="31" y="6"/>
                  <a:pt x="30" y="7"/>
                  <a:pt x="29" y="7"/>
                </a:cubicBezTo>
                <a:cubicBezTo>
                  <a:pt x="28" y="7"/>
                  <a:pt x="27" y="6"/>
                  <a:pt x="26" y="6"/>
                </a:cubicBezTo>
                <a:cubicBezTo>
                  <a:pt x="25" y="6"/>
                  <a:pt x="23" y="5"/>
                  <a:pt x="23" y="6"/>
                </a:cubicBezTo>
                <a:cubicBezTo>
                  <a:pt x="22" y="6"/>
                  <a:pt x="22" y="6"/>
                  <a:pt x="21" y="7"/>
                </a:cubicBezTo>
                <a:cubicBezTo>
                  <a:pt x="20" y="8"/>
                  <a:pt x="19" y="9"/>
                  <a:pt x="18" y="9"/>
                </a:cubicBezTo>
                <a:cubicBezTo>
                  <a:pt x="18" y="10"/>
                  <a:pt x="16" y="9"/>
                  <a:pt x="15" y="9"/>
                </a:cubicBezTo>
                <a:cubicBezTo>
                  <a:pt x="13" y="9"/>
                  <a:pt x="11" y="8"/>
                  <a:pt x="9" y="8"/>
                </a:cubicBezTo>
                <a:cubicBezTo>
                  <a:pt x="9" y="8"/>
                  <a:pt x="8" y="8"/>
                  <a:pt x="8" y="7"/>
                </a:cubicBezTo>
                <a:cubicBezTo>
                  <a:pt x="7" y="8"/>
                  <a:pt x="7" y="8"/>
                  <a:pt x="7" y="8"/>
                </a:cubicBezTo>
                <a:cubicBezTo>
                  <a:pt x="6" y="9"/>
                  <a:pt x="5" y="10"/>
                  <a:pt x="5" y="10"/>
                </a:cubicBezTo>
                <a:cubicBezTo>
                  <a:pt x="4" y="10"/>
                  <a:pt x="4" y="11"/>
                  <a:pt x="3" y="11"/>
                </a:cubicBezTo>
                <a:cubicBezTo>
                  <a:pt x="3" y="11"/>
                  <a:pt x="2" y="12"/>
                  <a:pt x="1" y="12"/>
                </a:cubicBezTo>
                <a:cubicBezTo>
                  <a:pt x="1" y="13"/>
                  <a:pt x="1" y="15"/>
                  <a:pt x="1" y="15"/>
                </a:cubicBezTo>
                <a:cubicBezTo>
                  <a:pt x="1" y="16"/>
                  <a:pt x="1" y="16"/>
                  <a:pt x="1" y="16"/>
                </a:cubicBezTo>
                <a:cubicBezTo>
                  <a:pt x="1" y="16"/>
                  <a:pt x="1" y="17"/>
                  <a:pt x="1" y="17"/>
                </a:cubicBezTo>
                <a:cubicBezTo>
                  <a:pt x="1" y="18"/>
                  <a:pt x="2" y="19"/>
                  <a:pt x="1" y="19"/>
                </a:cubicBezTo>
                <a:cubicBezTo>
                  <a:pt x="1" y="20"/>
                  <a:pt x="1" y="21"/>
                  <a:pt x="0" y="2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87" name="Freeform 64"/>
          <p:cNvSpPr>
            <a:spLocks/>
          </p:cNvSpPr>
          <p:nvPr/>
        </p:nvSpPr>
        <p:spPr bwMode="auto">
          <a:xfrm>
            <a:off x="1712" y="5041901"/>
            <a:ext cx="200025" cy="781050"/>
          </a:xfrm>
          <a:custGeom>
            <a:avLst/>
            <a:gdLst>
              <a:gd name="T0" fmla="*/ 3 w 21"/>
              <a:gd name="T1" fmla="*/ 77 h 82"/>
              <a:gd name="T2" fmla="*/ 3 w 21"/>
              <a:gd name="T3" fmla="*/ 77 h 82"/>
              <a:gd name="T4" fmla="*/ 2 w 21"/>
              <a:gd name="T5" fmla="*/ 75 h 82"/>
              <a:gd name="T6" fmla="*/ 3 w 21"/>
              <a:gd name="T7" fmla="*/ 71 h 82"/>
              <a:gd name="T8" fmla="*/ 5 w 21"/>
              <a:gd name="T9" fmla="*/ 68 h 82"/>
              <a:gd name="T10" fmla="*/ 7 w 21"/>
              <a:gd name="T11" fmla="*/ 67 h 82"/>
              <a:gd name="T12" fmla="*/ 7 w 21"/>
              <a:gd name="T13" fmla="*/ 67 h 82"/>
              <a:gd name="T14" fmla="*/ 11 w 21"/>
              <a:gd name="T15" fmla="*/ 64 h 82"/>
              <a:gd name="T16" fmla="*/ 9 w 21"/>
              <a:gd name="T17" fmla="*/ 65 h 82"/>
              <a:gd name="T18" fmla="*/ 8 w 21"/>
              <a:gd name="T19" fmla="*/ 64 h 82"/>
              <a:gd name="T20" fmla="*/ 8 w 21"/>
              <a:gd name="T21" fmla="*/ 64 h 82"/>
              <a:gd name="T22" fmla="*/ 6 w 21"/>
              <a:gd name="T23" fmla="*/ 62 h 82"/>
              <a:gd name="T24" fmla="*/ 5 w 21"/>
              <a:gd name="T25" fmla="*/ 60 h 82"/>
              <a:gd name="T26" fmla="*/ 5 w 21"/>
              <a:gd name="T27" fmla="*/ 57 h 82"/>
              <a:gd name="T28" fmla="*/ 7 w 21"/>
              <a:gd name="T29" fmla="*/ 54 h 82"/>
              <a:gd name="T30" fmla="*/ 8 w 21"/>
              <a:gd name="T31" fmla="*/ 52 h 82"/>
              <a:gd name="T32" fmla="*/ 10 w 21"/>
              <a:gd name="T33" fmla="*/ 50 h 82"/>
              <a:gd name="T34" fmla="*/ 8 w 21"/>
              <a:gd name="T35" fmla="*/ 49 h 82"/>
              <a:gd name="T36" fmla="*/ 7 w 21"/>
              <a:gd name="T37" fmla="*/ 49 h 82"/>
              <a:gd name="T38" fmla="*/ 7 w 21"/>
              <a:gd name="T39" fmla="*/ 48 h 82"/>
              <a:gd name="T40" fmla="*/ 7 w 21"/>
              <a:gd name="T41" fmla="*/ 48 h 82"/>
              <a:gd name="T42" fmla="*/ 6 w 21"/>
              <a:gd name="T43" fmla="*/ 47 h 82"/>
              <a:gd name="T44" fmla="*/ 6 w 21"/>
              <a:gd name="T45" fmla="*/ 46 h 82"/>
              <a:gd name="T46" fmla="*/ 6 w 21"/>
              <a:gd name="T47" fmla="*/ 46 h 82"/>
              <a:gd name="T48" fmla="*/ 5 w 21"/>
              <a:gd name="T49" fmla="*/ 44 h 82"/>
              <a:gd name="T50" fmla="*/ 2 w 21"/>
              <a:gd name="T51" fmla="*/ 40 h 82"/>
              <a:gd name="T52" fmla="*/ 7 w 21"/>
              <a:gd name="T53" fmla="*/ 39 h 82"/>
              <a:gd name="T54" fmla="*/ 9 w 21"/>
              <a:gd name="T55" fmla="*/ 39 h 82"/>
              <a:gd name="T56" fmla="*/ 9 w 21"/>
              <a:gd name="T57" fmla="*/ 38 h 82"/>
              <a:gd name="T58" fmla="*/ 9 w 21"/>
              <a:gd name="T59" fmla="*/ 36 h 82"/>
              <a:gd name="T60" fmla="*/ 9 w 21"/>
              <a:gd name="T61" fmla="*/ 33 h 82"/>
              <a:gd name="T62" fmla="*/ 9 w 21"/>
              <a:gd name="T63" fmla="*/ 31 h 82"/>
              <a:gd name="T64" fmla="*/ 11 w 21"/>
              <a:gd name="T65" fmla="*/ 28 h 82"/>
              <a:gd name="T66" fmla="*/ 11 w 21"/>
              <a:gd name="T67" fmla="*/ 28 h 82"/>
              <a:gd name="T68" fmla="*/ 12 w 21"/>
              <a:gd name="T69" fmla="*/ 25 h 82"/>
              <a:gd name="T70" fmla="*/ 12 w 21"/>
              <a:gd name="T71" fmla="*/ 20 h 82"/>
              <a:gd name="T72" fmla="*/ 11 w 21"/>
              <a:gd name="T73" fmla="*/ 18 h 82"/>
              <a:gd name="T74" fmla="*/ 10 w 21"/>
              <a:gd name="T75" fmla="*/ 16 h 82"/>
              <a:gd name="T76" fmla="*/ 12 w 21"/>
              <a:gd name="T77" fmla="*/ 13 h 82"/>
              <a:gd name="T78" fmla="*/ 12 w 21"/>
              <a:gd name="T79" fmla="*/ 13 h 82"/>
              <a:gd name="T80" fmla="*/ 13 w 21"/>
              <a:gd name="T81" fmla="*/ 12 h 82"/>
              <a:gd name="T82" fmla="*/ 16 w 21"/>
              <a:gd name="T83" fmla="*/ 11 h 82"/>
              <a:gd name="T84" fmla="*/ 18 w 21"/>
              <a:gd name="T85" fmla="*/ 10 h 82"/>
              <a:gd name="T86" fmla="*/ 18 w 21"/>
              <a:gd name="T87" fmla="*/ 10 h 82"/>
              <a:gd name="T88" fmla="*/ 20 w 21"/>
              <a:gd name="T89" fmla="*/ 9 h 82"/>
              <a:gd name="T90" fmla="*/ 21 w 21"/>
              <a:gd name="T91" fmla="*/ 7 h 82"/>
              <a:gd name="T92" fmla="*/ 21 w 21"/>
              <a:gd name="T93" fmla="*/ 7 h 82"/>
              <a:gd name="T94" fmla="*/ 21 w 21"/>
              <a:gd name="T95" fmla="*/ 7 h 82"/>
              <a:gd name="T96" fmla="*/ 18 w 21"/>
              <a:gd name="T97" fmla="*/ 5 h 82"/>
              <a:gd name="T98" fmla="*/ 16 w 21"/>
              <a:gd name="T99" fmla="*/ 4 h 82"/>
              <a:gd name="T100" fmla="*/ 16 w 21"/>
              <a:gd name="T101" fmla="*/ 2 h 82"/>
              <a:gd name="T102" fmla="*/ 16 w 21"/>
              <a:gd name="T103" fmla="*/ 1 h 82"/>
              <a:gd name="T104" fmla="*/ 14 w 21"/>
              <a:gd name="T105" fmla="*/ 0 h 82"/>
              <a:gd name="T106" fmla="*/ 14 w 21"/>
              <a:gd name="T107" fmla="*/ 0 h 82"/>
              <a:gd name="T108" fmla="*/ 12 w 21"/>
              <a:gd name="T109" fmla="*/ 0 h 82"/>
              <a:gd name="T110" fmla="*/ 10 w 21"/>
              <a:gd name="T111" fmla="*/ 0 h 82"/>
              <a:gd name="T112" fmla="*/ 9 w 21"/>
              <a:gd name="T113" fmla="*/ 1 h 82"/>
              <a:gd name="T114" fmla="*/ 5 w 21"/>
              <a:gd name="T115" fmla="*/ 2 h 82"/>
              <a:gd name="T116" fmla="*/ 4 w 21"/>
              <a:gd name="T117" fmla="*/ 3 h 82"/>
              <a:gd name="T118" fmla="*/ 0 w 21"/>
              <a:gd name="T119" fmla="*/ 3 h 82"/>
              <a:gd name="T120" fmla="*/ 0 w 21"/>
              <a:gd name="T121" fmla="*/ 82 h 82"/>
              <a:gd name="T122" fmla="*/ 4 w 21"/>
              <a:gd name="T123" fmla="*/ 80 h 82"/>
              <a:gd name="T124" fmla="*/ 3 w 21"/>
              <a:gd name="T125" fmla="*/ 77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" h="82">
                <a:moveTo>
                  <a:pt x="3" y="77"/>
                </a:moveTo>
                <a:cubicBezTo>
                  <a:pt x="3" y="77"/>
                  <a:pt x="3" y="77"/>
                  <a:pt x="3" y="77"/>
                </a:cubicBezTo>
                <a:cubicBezTo>
                  <a:pt x="2" y="76"/>
                  <a:pt x="2" y="75"/>
                  <a:pt x="2" y="75"/>
                </a:cubicBezTo>
                <a:cubicBezTo>
                  <a:pt x="2" y="74"/>
                  <a:pt x="2" y="73"/>
                  <a:pt x="3" y="71"/>
                </a:cubicBezTo>
                <a:cubicBezTo>
                  <a:pt x="4" y="70"/>
                  <a:pt x="5" y="68"/>
                  <a:pt x="5" y="68"/>
                </a:cubicBezTo>
                <a:cubicBezTo>
                  <a:pt x="5" y="68"/>
                  <a:pt x="6" y="67"/>
                  <a:pt x="7" y="67"/>
                </a:cubicBezTo>
                <a:cubicBezTo>
                  <a:pt x="7" y="67"/>
                  <a:pt x="7" y="67"/>
                  <a:pt x="7" y="67"/>
                </a:cubicBezTo>
                <a:cubicBezTo>
                  <a:pt x="9" y="66"/>
                  <a:pt x="11" y="65"/>
                  <a:pt x="11" y="64"/>
                </a:cubicBezTo>
                <a:cubicBezTo>
                  <a:pt x="11" y="64"/>
                  <a:pt x="10" y="65"/>
                  <a:pt x="9" y="65"/>
                </a:cubicBezTo>
                <a:cubicBezTo>
                  <a:pt x="9" y="65"/>
                  <a:pt x="8" y="65"/>
                  <a:pt x="8" y="64"/>
                </a:cubicBezTo>
                <a:cubicBezTo>
                  <a:pt x="8" y="64"/>
                  <a:pt x="8" y="64"/>
                  <a:pt x="8" y="64"/>
                </a:cubicBezTo>
                <a:cubicBezTo>
                  <a:pt x="8" y="64"/>
                  <a:pt x="7" y="63"/>
                  <a:pt x="6" y="62"/>
                </a:cubicBezTo>
                <a:cubicBezTo>
                  <a:pt x="6" y="62"/>
                  <a:pt x="5" y="61"/>
                  <a:pt x="5" y="60"/>
                </a:cubicBezTo>
                <a:cubicBezTo>
                  <a:pt x="5" y="60"/>
                  <a:pt x="5" y="58"/>
                  <a:pt x="5" y="57"/>
                </a:cubicBezTo>
                <a:cubicBezTo>
                  <a:pt x="6" y="56"/>
                  <a:pt x="6" y="54"/>
                  <a:pt x="7" y="54"/>
                </a:cubicBezTo>
                <a:cubicBezTo>
                  <a:pt x="7" y="53"/>
                  <a:pt x="7" y="53"/>
                  <a:pt x="8" y="52"/>
                </a:cubicBezTo>
                <a:cubicBezTo>
                  <a:pt x="9" y="51"/>
                  <a:pt x="9" y="51"/>
                  <a:pt x="10" y="50"/>
                </a:cubicBezTo>
                <a:cubicBezTo>
                  <a:pt x="10" y="50"/>
                  <a:pt x="9" y="50"/>
                  <a:pt x="8" y="49"/>
                </a:cubicBezTo>
                <a:cubicBezTo>
                  <a:pt x="8" y="49"/>
                  <a:pt x="7" y="49"/>
                  <a:pt x="7" y="49"/>
                </a:cubicBezTo>
                <a:cubicBezTo>
                  <a:pt x="7" y="49"/>
                  <a:pt x="7" y="48"/>
                  <a:pt x="7" y="48"/>
                </a:cubicBezTo>
                <a:cubicBezTo>
                  <a:pt x="7" y="48"/>
                  <a:pt x="7" y="48"/>
                  <a:pt x="7" y="48"/>
                </a:cubicBezTo>
                <a:cubicBezTo>
                  <a:pt x="6" y="48"/>
                  <a:pt x="6" y="48"/>
                  <a:pt x="6" y="47"/>
                </a:cubicBezTo>
                <a:cubicBezTo>
                  <a:pt x="6" y="46"/>
                  <a:pt x="6" y="46"/>
                  <a:pt x="6" y="46"/>
                </a:cubicBezTo>
                <a:cubicBezTo>
                  <a:pt x="6" y="46"/>
                  <a:pt x="6" y="46"/>
                  <a:pt x="6" y="46"/>
                </a:cubicBezTo>
                <a:cubicBezTo>
                  <a:pt x="6" y="45"/>
                  <a:pt x="5" y="45"/>
                  <a:pt x="5" y="44"/>
                </a:cubicBezTo>
                <a:cubicBezTo>
                  <a:pt x="3" y="43"/>
                  <a:pt x="2" y="41"/>
                  <a:pt x="2" y="40"/>
                </a:cubicBezTo>
                <a:cubicBezTo>
                  <a:pt x="3" y="39"/>
                  <a:pt x="6" y="39"/>
                  <a:pt x="7" y="39"/>
                </a:cubicBezTo>
                <a:cubicBezTo>
                  <a:pt x="8" y="39"/>
                  <a:pt x="9" y="39"/>
                  <a:pt x="9" y="39"/>
                </a:cubicBezTo>
                <a:cubicBezTo>
                  <a:pt x="9" y="39"/>
                  <a:pt x="9" y="39"/>
                  <a:pt x="9" y="38"/>
                </a:cubicBezTo>
                <a:cubicBezTo>
                  <a:pt x="9" y="37"/>
                  <a:pt x="9" y="37"/>
                  <a:pt x="9" y="36"/>
                </a:cubicBezTo>
                <a:cubicBezTo>
                  <a:pt x="9" y="35"/>
                  <a:pt x="9" y="34"/>
                  <a:pt x="9" y="33"/>
                </a:cubicBezTo>
                <a:cubicBezTo>
                  <a:pt x="9" y="32"/>
                  <a:pt x="9" y="32"/>
                  <a:pt x="9" y="31"/>
                </a:cubicBezTo>
                <a:cubicBezTo>
                  <a:pt x="9" y="29"/>
                  <a:pt x="10" y="29"/>
                  <a:pt x="11" y="28"/>
                </a:cubicBezTo>
                <a:cubicBezTo>
                  <a:pt x="11" y="28"/>
                  <a:pt x="11" y="28"/>
                  <a:pt x="11" y="28"/>
                </a:cubicBezTo>
                <a:cubicBezTo>
                  <a:pt x="11" y="28"/>
                  <a:pt x="12" y="26"/>
                  <a:pt x="12" y="25"/>
                </a:cubicBezTo>
                <a:cubicBezTo>
                  <a:pt x="12" y="23"/>
                  <a:pt x="12" y="21"/>
                  <a:pt x="12" y="20"/>
                </a:cubicBezTo>
                <a:cubicBezTo>
                  <a:pt x="12" y="20"/>
                  <a:pt x="12" y="19"/>
                  <a:pt x="11" y="18"/>
                </a:cubicBezTo>
                <a:cubicBezTo>
                  <a:pt x="11" y="17"/>
                  <a:pt x="10" y="17"/>
                  <a:pt x="10" y="16"/>
                </a:cubicBezTo>
                <a:cubicBezTo>
                  <a:pt x="10" y="15"/>
                  <a:pt x="11" y="14"/>
                  <a:pt x="12" y="13"/>
                </a:cubicBezTo>
                <a:cubicBezTo>
                  <a:pt x="12" y="13"/>
                  <a:pt x="12" y="13"/>
                  <a:pt x="12" y="13"/>
                </a:cubicBezTo>
                <a:cubicBezTo>
                  <a:pt x="13" y="12"/>
                  <a:pt x="13" y="12"/>
                  <a:pt x="13" y="12"/>
                </a:cubicBezTo>
                <a:cubicBezTo>
                  <a:pt x="14" y="11"/>
                  <a:pt x="15" y="11"/>
                  <a:pt x="16" y="11"/>
                </a:cubicBezTo>
                <a:cubicBezTo>
                  <a:pt x="17" y="11"/>
                  <a:pt x="17" y="11"/>
                  <a:pt x="18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9" y="10"/>
                  <a:pt x="19" y="9"/>
                  <a:pt x="20" y="9"/>
                </a:cubicBezTo>
                <a:cubicBezTo>
                  <a:pt x="21" y="8"/>
                  <a:pt x="21" y="7"/>
                  <a:pt x="21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6"/>
                  <a:pt x="19" y="6"/>
                  <a:pt x="18" y="5"/>
                </a:cubicBezTo>
                <a:cubicBezTo>
                  <a:pt x="18" y="5"/>
                  <a:pt x="17" y="5"/>
                  <a:pt x="16" y="4"/>
                </a:cubicBezTo>
                <a:cubicBezTo>
                  <a:pt x="16" y="3"/>
                  <a:pt x="16" y="3"/>
                  <a:pt x="16" y="2"/>
                </a:cubicBezTo>
                <a:cubicBezTo>
                  <a:pt x="16" y="1"/>
                  <a:pt x="16" y="1"/>
                  <a:pt x="16" y="1"/>
                </a:cubicBezTo>
                <a:cubicBezTo>
                  <a:pt x="15" y="0"/>
                  <a:pt x="15" y="0"/>
                  <a:pt x="1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3" y="1"/>
                  <a:pt x="12" y="1"/>
                  <a:pt x="12" y="0"/>
                </a:cubicBezTo>
                <a:cubicBezTo>
                  <a:pt x="11" y="0"/>
                  <a:pt x="10" y="0"/>
                  <a:pt x="10" y="0"/>
                </a:cubicBezTo>
                <a:cubicBezTo>
                  <a:pt x="10" y="0"/>
                  <a:pt x="10" y="0"/>
                  <a:pt x="9" y="1"/>
                </a:cubicBezTo>
                <a:cubicBezTo>
                  <a:pt x="9" y="1"/>
                  <a:pt x="6" y="2"/>
                  <a:pt x="5" y="2"/>
                </a:cubicBezTo>
                <a:cubicBezTo>
                  <a:pt x="4" y="2"/>
                  <a:pt x="4" y="2"/>
                  <a:pt x="4" y="3"/>
                </a:cubicBezTo>
                <a:cubicBezTo>
                  <a:pt x="3" y="3"/>
                  <a:pt x="1" y="3"/>
                  <a:pt x="0" y="3"/>
                </a:cubicBezTo>
                <a:cubicBezTo>
                  <a:pt x="0" y="82"/>
                  <a:pt x="0" y="82"/>
                  <a:pt x="0" y="82"/>
                </a:cubicBezTo>
                <a:cubicBezTo>
                  <a:pt x="1" y="82"/>
                  <a:pt x="3" y="81"/>
                  <a:pt x="4" y="80"/>
                </a:cubicBezTo>
                <a:cubicBezTo>
                  <a:pt x="3" y="79"/>
                  <a:pt x="3" y="78"/>
                  <a:pt x="3" y="77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88" name="Gruppieren 87"/>
          <p:cNvGrpSpPr/>
          <p:nvPr/>
        </p:nvGrpSpPr>
        <p:grpSpPr>
          <a:xfrm>
            <a:off x="1712" y="4746626"/>
            <a:ext cx="1524000" cy="1247775"/>
            <a:chOff x="1712" y="4746626"/>
            <a:chExt cx="1524000" cy="1247775"/>
          </a:xfrm>
        </p:grpSpPr>
        <p:sp>
          <p:nvSpPr>
            <p:cNvPr id="89" name="Freeform 65"/>
            <p:cNvSpPr>
              <a:spLocks/>
            </p:cNvSpPr>
            <p:nvPr/>
          </p:nvSpPr>
          <p:spPr bwMode="auto">
            <a:xfrm>
              <a:off x="1230437" y="5365751"/>
              <a:ext cx="161925" cy="114300"/>
            </a:xfrm>
            <a:custGeom>
              <a:avLst/>
              <a:gdLst>
                <a:gd name="T0" fmla="*/ 12 w 17"/>
                <a:gd name="T1" fmla="*/ 3 h 12"/>
                <a:gd name="T2" fmla="*/ 13 w 17"/>
                <a:gd name="T3" fmla="*/ 0 h 12"/>
                <a:gd name="T4" fmla="*/ 7 w 17"/>
                <a:gd name="T5" fmla="*/ 2 h 12"/>
                <a:gd name="T6" fmla="*/ 2 w 17"/>
                <a:gd name="T7" fmla="*/ 5 h 12"/>
                <a:gd name="T8" fmla="*/ 1 w 17"/>
                <a:gd name="T9" fmla="*/ 7 h 12"/>
                <a:gd name="T10" fmla="*/ 5 w 17"/>
                <a:gd name="T11" fmla="*/ 7 h 12"/>
                <a:gd name="T12" fmla="*/ 8 w 17"/>
                <a:gd name="T13" fmla="*/ 10 h 12"/>
                <a:gd name="T14" fmla="*/ 11 w 17"/>
                <a:gd name="T15" fmla="*/ 11 h 12"/>
                <a:gd name="T16" fmla="*/ 14 w 17"/>
                <a:gd name="T17" fmla="*/ 10 h 12"/>
                <a:gd name="T18" fmla="*/ 17 w 17"/>
                <a:gd name="T19" fmla="*/ 5 h 12"/>
                <a:gd name="T20" fmla="*/ 12 w 17"/>
                <a:gd name="T2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2">
                  <a:moveTo>
                    <a:pt x="12" y="3"/>
                  </a:moveTo>
                  <a:cubicBezTo>
                    <a:pt x="12" y="2"/>
                    <a:pt x="16" y="1"/>
                    <a:pt x="13" y="0"/>
                  </a:cubicBezTo>
                  <a:cubicBezTo>
                    <a:pt x="11" y="0"/>
                    <a:pt x="9" y="1"/>
                    <a:pt x="7" y="2"/>
                  </a:cubicBezTo>
                  <a:cubicBezTo>
                    <a:pt x="5" y="3"/>
                    <a:pt x="3" y="4"/>
                    <a:pt x="2" y="5"/>
                  </a:cubicBezTo>
                  <a:cubicBezTo>
                    <a:pt x="1" y="6"/>
                    <a:pt x="0" y="7"/>
                    <a:pt x="1" y="7"/>
                  </a:cubicBezTo>
                  <a:cubicBezTo>
                    <a:pt x="2" y="8"/>
                    <a:pt x="3" y="7"/>
                    <a:pt x="5" y="7"/>
                  </a:cubicBezTo>
                  <a:cubicBezTo>
                    <a:pt x="7" y="7"/>
                    <a:pt x="6" y="8"/>
                    <a:pt x="8" y="10"/>
                  </a:cubicBezTo>
                  <a:cubicBezTo>
                    <a:pt x="10" y="11"/>
                    <a:pt x="9" y="12"/>
                    <a:pt x="11" y="11"/>
                  </a:cubicBezTo>
                  <a:cubicBezTo>
                    <a:pt x="13" y="11"/>
                    <a:pt x="12" y="11"/>
                    <a:pt x="14" y="10"/>
                  </a:cubicBezTo>
                  <a:cubicBezTo>
                    <a:pt x="16" y="8"/>
                    <a:pt x="17" y="6"/>
                    <a:pt x="17" y="5"/>
                  </a:cubicBezTo>
                  <a:cubicBezTo>
                    <a:pt x="17" y="4"/>
                    <a:pt x="12" y="4"/>
                    <a:pt x="12" y="3"/>
                  </a:cubicBezTo>
                  <a:close/>
                </a:path>
              </a:pathLst>
            </a:custGeom>
            <a:gradFill>
              <a:gsLst>
                <a:gs pos="30000">
                  <a:schemeClr val="accent2"/>
                </a:gs>
                <a:gs pos="80000">
                  <a:schemeClr val="accent6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90" name="Freeform 66"/>
            <p:cNvSpPr>
              <a:spLocks/>
            </p:cNvSpPr>
            <p:nvPr/>
          </p:nvSpPr>
          <p:spPr bwMode="auto">
            <a:xfrm>
              <a:off x="1211387" y="5508626"/>
              <a:ext cx="57150" cy="57150"/>
            </a:xfrm>
            <a:custGeom>
              <a:avLst/>
              <a:gdLst>
                <a:gd name="T0" fmla="*/ 2 w 6"/>
                <a:gd name="T1" fmla="*/ 1 h 6"/>
                <a:gd name="T2" fmla="*/ 1 w 6"/>
                <a:gd name="T3" fmla="*/ 2 h 6"/>
                <a:gd name="T4" fmla="*/ 2 w 6"/>
                <a:gd name="T5" fmla="*/ 5 h 6"/>
                <a:gd name="T6" fmla="*/ 5 w 6"/>
                <a:gd name="T7" fmla="*/ 1 h 6"/>
                <a:gd name="T8" fmla="*/ 2 w 6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2" y="1"/>
                  </a:move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0" y="6"/>
                    <a:pt x="2" y="5"/>
                  </a:cubicBezTo>
                  <a:cubicBezTo>
                    <a:pt x="3" y="4"/>
                    <a:pt x="5" y="3"/>
                    <a:pt x="5" y="1"/>
                  </a:cubicBezTo>
                  <a:cubicBezTo>
                    <a:pt x="6" y="0"/>
                    <a:pt x="5" y="0"/>
                    <a:pt x="2" y="1"/>
                  </a:cubicBezTo>
                  <a:close/>
                </a:path>
              </a:pathLst>
            </a:custGeom>
            <a:gradFill>
              <a:gsLst>
                <a:gs pos="30000">
                  <a:schemeClr val="accent2"/>
                </a:gs>
                <a:gs pos="80000">
                  <a:schemeClr val="accent6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91" name="Freeform 67"/>
            <p:cNvSpPr>
              <a:spLocks/>
            </p:cNvSpPr>
            <p:nvPr/>
          </p:nvSpPr>
          <p:spPr bwMode="auto">
            <a:xfrm>
              <a:off x="1712" y="4746626"/>
              <a:ext cx="1514475" cy="1247775"/>
            </a:xfrm>
            <a:custGeom>
              <a:avLst/>
              <a:gdLst>
                <a:gd name="T0" fmla="*/ 9 w 159"/>
                <a:gd name="T1" fmla="*/ 31 h 131"/>
                <a:gd name="T2" fmla="*/ 14 w 159"/>
                <a:gd name="T3" fmla="*/ 30 h 131"/>
                <a:gd name="T4" fmla="*/ 17 w 159"/>
                <a:gd name="T5" fmla="*/ 34 h 131"/>
                <a:gd name="T6" fmla="*/ 22 w 159"/>
                <a:gd name="T7" fmla="*/ 37 h 131"/>
                <a:gd name="T8" fmla="*/ 21 w 159"/>
                <a:gd name="T9" fmla="*/ 40 h 131"/>
                <a:gd name="T10" fmla="*/ 18 w 159"/>
                <a:gd name="T11" fmla="*/ 43 h 131"/>
                <a:gd name="T12" fmla="*/ 14 w 159"/>
                <a:gd name="T13" fmla="*/ 44 h 131"/>
                <a:gd name="T14" fmla="*/ 12 w 159"/>
                <a:gd name="T15" fmla="*/ 47 h 131"/>
                <a:gd name="T16" fmla="*/ 13 w 159"/>
                <a:gd name="T17" fmla="*/ 56 h 131"/>
                <a:gd name="T18" fmla="*/ 12 w 159"/>
                <a:gd name="T19" fmla="*/ 60 h 131"/>
                <a:gd name="T20" fmla="*/ 11 w 159"/>
                <a:gd name="T21" fmla="*/ 67 h 131"/>
                <a:gd name="T22" fmla="*/ 7 w 159"/>
                <a:gd name="T23" fmla="*/ 71 h 131"/>
                <a:gd name="T24" fmla="*/ 7 w 159"/>
                <a:gd name="T25" fmla="*/ 76 h 131"/>
                <a:gd name="T26" fmla="*/ 7 w 159"/>
                <a:gd name="T27" fmla="*/ 78 h 131"/>
                <a:gd name="T28" fmla="*/ 11 w 159"/>
                <a:gd name="T29" fmla="*/ 82 h 131"/>
                <a:gd name="T30" fmla="*/ 7 w 159"/>
                <a:gd name="T31" fmla="*/ 88 h 131"/>
                <a:gd name="T32" fmla="*/ 9 w 159"/>
                <a:gd name="T33" fmla="*/ 94 h 131"/>
                <a:gd name="T34" fmla="*/ 8 w 159"/>
                <a:gd name="T35" fmla="*/ 99 h 131"/>
                <a:gd name="T36" fmla="*/ 3 w 159"/>
                <a:gd name="T37" fmla="*/ 105 h 131"/>
                <a:gd name="T38" fmla="*/ 4 w 159"/>
                <a:gd name="T39" fmla="*/ 108 h 131"/>
                <a:gd name="T40" fmla="*/ 11 w 159"/>
                <a:gd name="T41" fmla="*/ 112 h 131"/>
                <a:gd name="T42" fmla="*/ 21 w 159"/>
                <a:gd name="T43" fmla="*/ 117 h 131"/>
                <a:gd name="T44" fmla="*/ 25 w 159"/>
                <a:gd name="T45" fmla="*/ 129 h 131"/>
                <a:gd name="T46" fmla="*/ 35 w 159"/>
                <a:gd name="T47" fmla="*/ 127 h 131"/>
                <a:gd name="T48" fmla="*/ 66 w 159"/>
                <a:gd name="T49" fmla="*/ 119 h 131"/>
                <a:gd name="T50" fmla="*/ 80 w 159"/>
                <a:gd name="T51" fmla="*/ 119 h 131"/>
                <a:gd name="T52" fmla="*/ 90 w 159"/>
                <a:gd name="T53" fmla="*/ 108 h 131"/>
                <a:gd name="T54" fmla="*/ 99 w 159"/>
                <a:gd name="T55" fmla="*/ 103 h 131"/>
                <a:gd name="T56" fmla="*/ 108 w 159"/>
                <a:gd name="T57" fmla="*/ 90 h 131"/>
                <a:gd name="T58" fmla="*/ 110 w 159"/>
                <a:gd name="T59" fmla="*/ 81 h 131"/>
                <a:gd name="T60" fmla="*/ 117 w 159"/>
                <a:gd name="T61" fmla="*/ 57 h 131"/>
                <a:gd name="T62" fmla="*/ 141 w 159"/>
                <a:gd name="T63" fmla="*/ 41 h 131"/>
                <a:gd name="T64" fmla="*/ 155 w 159"/>
                <a:gd name="T65" fmla="*/ 27 h 131"/>
                <a:gd name="T66" fmla="*/ 149 w 159"/>
                <a:gd name="T67" fmla="*/ 25 h 131"/>
                <a:gd name="T68" fmla="*/ 140 w 159"/>
                <a:gd name="T69" fmla="*/ 21 h 131"/>
                <a:gd name="T70" fmla="*/ 131 w 159"/>
                <a:gd name="T71" fmla="*/ 25 h 131"/>
                <a:gd name="T72" fmla="*/ 129 w 159"/>
                <a:gd name="T73" fmla="*/ 19 h 131"/>
                <a:gd name="T74" fmla="*/ 120 w 159"/>
                <a:gd name="T75" fmla="*/ 16 h 131"/>
                <a:gd name="T76" fmla="*/ 120 w 159"/>
                <a:gd name="T77" fmla="*/ 18 h 131"/>
                <a:gd name="T78" fmla="*/ 114 w 159"/>
                <a:gd name="T79" fmla="*/ 19 h 131"/>
                <a:gd name="T80" fmla="*/ 104 w 159"/>
                <a:gd name="T81" fmla="*/ 18 h 131"/>
                <a:gd name="T82" fmla="*/ 100 w 159"/>
                <a:gd name="T83" fmla="*/ 15 h 131"/>
                <a:gd name="T84" fmla="*/ 90 w 159"/>
                <a:gd name="T85" fmla="*/ 11 h 131"/>
                <a:gd name="T86" fmla="*/ 89 w 159"/>
                <a:gd name="T87" fmla="*/ 8 h 131"/>
                <a:gd name="T88" fmla="*/ 86 w 159"/>
                <a:gd name="T89" fmla="*/ 8 h 131"/>
                <a:gd name="T90" fmla="*/ 82 w 159"/>
                <a:gd name="T91" fmla="*/ 6 h 131"/>
                <a:gd name="T92" fmla="*/ 66 w 159"/>
                <a:gd name="T93" fmla="*/ 6 h 131"/>
                <a:gd name="T94" fmla="*/ 40 w 159"/>
                <a:gd name="T95" fmla="*/ 4 h 131"/>
                <a:gd name="T96" fmla="*/ 21 w 159"/>
                <a:gd name="T97" fmla="*/ 2 h 131"/>
                <a:gd name="T98" fmla="*/ 2 w 159"/>
                <a:gd name="T99" fmla="*/ 0 h 131"/>
                <a:gd name="T100" fmla="*/ 3 w 159"/>
                <a:gd name="T101" fmla="*/ 3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9" h="131">
                  <a:moveTo>
                    <a:pt x="3" y="32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6" y="32"/>
                    <a:pt x="8" y="31"/>
                    <a:pt x="9" y="31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2" y="30"/>
                    <a:pt x="13" y="30"/>
                    <a:pt x="14" y="30"/>
                  </a:cubicBezTo>
                  <a:cubicBezTo>
                    <a:pt x="15" y="30"/>
                    <a:pt x="16" y="30"/>
                    <a:pt x="17" y="31"/>
                  </a:cubicBezTo>
                  <a:cubicBezTo>
                    <a:pt x="17" y="31"/>
                    <a:pt x="17" y="32"/>
                    <a:pt x="17" y="33"/>
                  </a:cubicBezTo>
                  <a:cubicBezTo>
                    <a:pt x="17" y="33"/>
                    <a:pt x="17" y="34"/>
                    <a:pt x="17" y="34"/>
                  </a:cubicBezTo>
                  <a:cubicBezTo>
                    <a:pt x="17" y="34"/>
                    <a:pt x="18" y="35"/>
                    <a:pt x="19" y="35"/>
                  </a:cubicBezTo>
                  <a:cubicBezTo>
                    <a:pt x="20" y="36"/>
                    <a:pt x="22" y="36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8"/>
                    <a:pt x="22" y="39"/>
                    <a:pt x="21" y="40"/>
                  </a:cubicBezTo>
                  <a:cubicBezTo>
                    <a:pt x="20" y="41"/>
                    <a:pt x="19" y="42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7" y="43"/>
                    <a:pt x="16" y="43"/>
                  </a:cubicBezTo>
                  <a:cubicBezTo>
                    <a:pt x="15" y="43"/>
                    <a:pt x="15" y="43"/>
                    <a:pt x="14" y="44"/>
                  </a:cubicBezTo>
                  <a:cubicBezTo>
                    <a:pt x="14" y="44"/>
                    <a:pt x="14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5"/>
                    <a:pt x="12" y="47"/>
                    <a:pt x="12" y="47"/>
                  </a:cubicBezTo>
                  <a:cubicBezTo>
                    <a:pt x="12" y="47"/>
                    <a:pt x="12" y="48"/>
                    <a:pt x="12" y="48"/>
                  </a:cubicBezTo>
                  <a:cubicBezTo>
                    <a:pt x="13" y="49"/>
                    <a:pt x="14" y="50"/>
                    <a:pt x="14" y="51"/>
                  </a:cubicBezTo>
                  <a:cubicBezTo>
                    <a:pt x="14" y="52"/>
                    <a:pt x="13" y="54"/>
                    <a:pt x="13" y="56"/>
                  </a:cubicBezTo>
                  <a:cubicBezTo>
                    <a:pt x="13" y="58"/>
                    <a:pt x="13" y="59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1" y="63"/>
                    <a:pt x="11" y="63"/>
                    <a:pt x="11" y="64"/>
                  </a:cubicBezTo>
                  <a:cubicBezTo>
                    <a:pt x="11" y="65"/>
                    <a:pt x="11" y="66"/>
                    <a:pt x="11" y="67"/>
                  </a:cubicBezTo>
                  <a:cubicBezTo>
                    <a:pt x="11" y="68"/>
                    <a:pt x="11" y="69"/>
                    <a:pt x="10" y="69"/>
                  </a:cubicBezTo>
                  <a:cubicBezTo>
                    <a:pt x="10" y="70"/>
                    <a:pt x="10" y="71"/>
                    <a:pt x="9" y="71"/>
                  </a:cubicBezTo>
                  <a:cubicBezTo>
                    <a:pt x="9" y="71"/>
                    <a:pt x="8" y="71"/>
                    <a:pt x="7" y="71"/>
                  </a:cubicBezTo>
                  <a:cubicBezTo>
                    <a:pt x="6" y="71"/>
                    <a:pt x="4" y="71"/>
                    <a:pt x="4" y="71"/>
                  </a:cubicBezTo>
                  <a:cubicBezTo>
                    <a:pt x="3" y="72"/>
                    <a:pt x="5" y="73"/>
                    <a:pt x="6" y="74"/>
                  </a:cubicBezTo>
                  <a:cubicBezTo>
                    <a:pt x="6" y="75"/>
                    <a:pt x="7" y="76"/>
                    <a:pt x="7" y="76"/>
                  </a:cubicBezTo>
                  <a:cubicBezTo>
                    <a:pt x="7" y="77"/>
                    <a:pt x="7" y="77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8"/>
                    <a:pt x="8" y="78"/>
                    <a:pt x="8" y="78"/>
                  </a:cubicBezTo>
                  <a:cubicBezTo>
                    <a:pt x="8" y="78"/>
                    <a:pt x="8" y="79"/>
                    <a:pt x="9" y="79"/>
                  </a:cubicBezTo>
                  <a:cubicBezTo>
                    <a:pt x="10" y="80"/>
                    <a:pt x="12" y="81"/>
                    <a:pt x="11" y="82"/>
                  </a:cubicBezTo>
                  <a:cubicBezTo>
                    <a:pt x="11" y="82"/>
                    <a:pt x="10" y="83"/>
                    <a:pt x="9" y="84"/>
                  </a:cubicBezTo>
                  <a:cubicBezTo>
                    <a:pt x="8" y="85"/>
                    <a:pt x="8" y="85"/>
                    <a:pt x="8" y="86"/>
                  </a:cubicBezTo>
                  <a:cubicBezTo>
                    <a:pt x="7" y="86"/>
                    <a:pt x="7" y="87"/>
                    <a:pt x="7" y="88"/>
                  </a:cubicBezTo>
                  <a:cubicBezTo>
                    <a:pt x="6" y="89"/>
                    <a:pt x="6" y="91"/>
                    <a:pt x="6" y="91"/>
                  </a:cubicBezTo>
                  <a:cubicBezTo>
                    <a:pt x="6" y="91"/>
                    <a:pt x="7" y="92"/>
                    <a:pt x="7" y="93"/>
                  </a:cubicBezTo>
                  <a:cubicBezTo>
                    <a:pt x="8" y="93"/>
                    <a:pt x="8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11" y="94"/>
                    <a:pt x="12" y="94"/>
                    <a:pt x="12" y="95"/>
                  </a:cubicBezTo>
                  <a:cubicBezTo>
                    <a:pt x="12" y="97"/>
                    <a:pt x="10" y="98"/>
                    <a:pt x="8" y="99"/>
                  </a:cubicBezTo>
                  <a:cubicBezTo>
                    <a:pt x="7" y="99"/>
                    <a:pt x="6" y="100"/>
                    <a:pt x="6" y="100"/>
                  </a:cubicBezTo>
                  <a:cubicBezTo>
                    <a:pt x="6" y="100"/>
                    <a:pt x="5" y="101"/>
                    <a:pt x="4" y="103"/>
                  </a:cubicBezTo>
                  <a:cubicBezTo>
                    <a:pt x="4" y="104"/>
                    <a:pt x="3" y="105"/>
                    <a:pt x="3" y="105"/>
                  </a:cubicBezTo>
                  <a:cubicBezTo>
                    <a:pt x="3" y="106"/>
                    <a:pt x="4" y="107"/>
                    <a:pt x="4" y="108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4" y="108"/>
                    <a:pt x="5" y="109"/>
                    <a:pt x="5" y="110"/>
                  </a:cubicBezTo>
                  <a:cubicBezTo>
                    <a:pt x="6" y="110"/>
                    <a:pt x="10" y="110"/>
                    <a:pt x="12" y="110"/>
                  </a:cubicBezTo>
                  <a:cubicBezTo>
                    <a:pt x="14" y="110"/>
                    <a:pt x="11" y="111"/>
                    <a:pt x="11" y="112"/>
                  </a:cubicBezTo>
                  <a:cubicBezTo>
                    <a:pt x="12" y="114"/>
                    <a:pt x="16" y="116"/>
                    <a:pt x="17" y="117"/>
                  </a:cubicBezTo>
                  <a:cubicBezTo>
                    <a:pt x="18" y="118"/>
                    <a:pt x="18" y="117"/>
                    <a:pt x="19" y="116"/>
                  </a:cubicBezTo>
                  <a:cubicBezTo>
                    <a:pt x="19" y="116"/>
                    <a:pt x="21" y="117"/>
                    <a:pt x="21" y="117"/>
                  </a:cubicBezTo>
                  <a:cubicBezTo>
                    <a:pt x="22" y="118"/>
                    <a:pt x="19" y="119"/>
                    <a:pt x="19" y="119"/>
                  </a:cubicBezTo>
                  <a:cubicBezTo>
                    <a:pt x="18" y="120"/>
                    <a:pt x="18" y="121"/>
                    <a:pt x="19" y="123"/>
                  </a:cubicBezTo>
                  <a:cubicBezTo>
                    <a:pt x="20" y="124"/>
                    <a:pt x="23" y="128"/>
                    <a:pt x="25" y="129"/>
                  </a:cubicBezTo>
                  <a:cubicBezTo>
                    <a:pt x="27" y="130"/>
                    <a:pt x="29" y="131"/>
                    <a:pt x="29" y="131"/>
                  </a:cubicBezTo>
                  <a:cubicBezTo>
                    <a:pt x="30" y="131"/>
                    <a:pt x="32" y="130"/>
                    <a:pt x="34" y="129"/>
                  </a:cubicBezTo>
                  <a:cubicBezTo>
                    <a:pt x="35" y="129"/>
                    <a:pt x="35" y="128"/>
                    <a:pt x="35" y="127"/>
                  </a:cubicBezTo>
                  <a:cubicBezTo>
                    <a:pt x="36" y="126"/>
                    <a:pt x="37" y="126"/>
                    <a:pt x="40" y="124"/>
                  </a:cubicBezTo>
                  <a:cubicBezTo>
                    <a:pt x="43" y="123"/>
                    <a:pt x="44" y="121"/>
                    <a:pt x="48" y="120"/>
                  </a:cubicBezTo>
                  <a:cubicBezTo>
                    <a:pt x="51" y="119"/>
                    <a:pt x="64" y="119"/>
                    <a:pt x="66" y="119"/>
                  </a:cubicBezTo>
                  <a:cubicBezTo>
                    <a:pt x="68" y="120"/>
                    <a:pt x="70" y="120"/>
                    <a:pt x="72" y="120"/>
                  </a:cubicBezTo>
                  <a:cubicBezTo>
                    <a:pt x="75" y="120"/>
                    <a:pt x="75" y="119"/>
                    <a:pt x="77" y="118"/>
                  </a:cubicBezTo>
                  <a:cubicBezTo>
                    <a:pt x="78" y="117"/>
                    <a:pt x="79" y="119"/>
                    <a:pt x="80" y="119"/>
                  </a:cubicBezTo>
                  <a:cubicBezTo>
                    <a:pt x="81" y="119"/>
                    <a:pt x="82" y="117"/>
                    <a:pt x="84" y="115"/>
                  </a:cubicBezTo>
                  <a:cubicBezTo>
                    <a:pt x="85" y="113"/>
                    <a:pt x="86" y="109"/>
                    <a:pt x="87" y="109"/>
                  </a:cubicBezTo>
                  <a:cubicBezTo>
                    <a:pt x="89" y="108"/>
                    <a:pt x="88" y="108"/>
                    <a:pt x="90" y="108"/>
                  </a:cubicBezTo>
                  <a:cubicBezTo>
                    <a:pt x="92" y="108"/>
                    <a:pt x="94" y="107"/>
                    <a:pt x="96" y="106"/>
                  </a:cubicBezTo>
                  <a:cubicBezTo>
                    <a:pt x="98" y="106"/>
                    <a:pt x="101" y="106"/>
                    <a:pt x="101" y="106"/>
                  </a:cubicBezTo>
                  <a:cubicBezTo>
                    <a:pt x="102" y="105"/>
                    <a:pt x="99" y="104"/>
                    <a:pt x="99" y="103"/>
                  </a:cubicBezTo>
                  <a:cubicBezTo>
                    <a:pt x="98" y="103"/>
                    <a:pt x="99" y="102"/>
                    <a:pt x="100" y="102"/>
                  </a:cubicBezTo>
                  <a:cubicBezTo>
                    <a:pt x="101" y="101"/>
                    <a:pt x="102" y="95"/>
                    <a:pt x="102" y="94"/>
                  </a:cubicBezTo>
                  <a:cubicBezTo>
                    <a:pt x="103" y="93"/>
                    <a:pt x="106" y="91"/>
                    <a:pt x="108" y="90"/>
                  </a:cubicBezTo>
                  <a:cubicBezTo>
                    <a:pt x="111" y="88"/>
                    <a:pt x="114" y="88"/>
                    <a:pt x="114" y="87"/>
                  </a:cubicBezTo>
                  <a:cubicBezTo>
                    <a:pt x="115" y="86"/>
                    <a:pt x="114" y="86"/>
                    <a:pt x="113" y="85"/>
                  </a:cubicBezTo>
                  <a:cubicBezTo>
                    <a:pt x="111" y="84"/>
                    <a:pt x="110" y="83"/>
                    <a:pt x="110" y="81"/>
                  </a:cubicBezTo>
                  <a:cubicBezTo>
                    <a:pt x="109" y="79"/>
                    <a:pt x="106" y="76"/>
                    <a:pt x="106" y="74"/>
                  </a:cubicBezTo>
                  <a:cubicBezTo>
                    <a:pt x="107" y="73"/>
                    <a:pt x="108" y="70"/>
                    <a:pt x="109" y="67"/>
                  </a:cubicBezTo>
                  <a:cubicBezTo>
                    <a:pt x="110" y="65"/>
                    <a:pt x="115" y="60"/>
                    <a:pt x="117" y="57"/>
                  </a:cubicBezTo>
                  <a:cubicBezTo>
                    <a:pt x="119" y="53"/>
                    <a:pt x="123" y="48"/>
                    <a:pt x="124" y="46"/>
                  </a:cubicBezTo>
                  <a:cubicBezTo>
                    <a:pt x="125" y="45"/>
                    <a:pt x="129" y="45"/>
                    <a:pt x="133" y="44"/>
                  </a:cubicBezTo>
                  <a:cubicBezTo>
                    <a:pt x="137" y="44"/>
                    <a:pt x="138" y="42"/>
                    <a:pt x="141" y="41"/>
                  </a:cubicBezTo>
                  <a:cubicBezTo>
                    <a:pt x="144" y="40"/>
                    <a:pt x="144" y="38"/>
                    <a:pt x="147" y="37"/>
                  </a:cubicBezTo>
                  <a:cubicBezTo>
                    <a:pt x="149" y="36"/>
                    <a:pt x="155" y="34"/>
                    <a:pt x="156" y="32"/>
                  </a:cubicBezTo>
                  <a:cubicBezTo>
                    <a:pt x="157" y="30"/>
                    <a:pt x="155" y="28"/>
                    <a:pt x="155" y="27"/>
                  </a:cubicBezTo>
                  <a:cubicBezTo>
                    <a:pt x="155" y="26"/>
                    <a:pt x="158" y="25"/>
                    <a:pt x="158" y="24"/>
                  </a:cubicBezTo>
                  <a:cubicBezTo>
                    <a:pt x="159" y="24"/>
                    <a:pt x="158" y="24"/>
                    <a:pt x="158" y="23"/>
                  </a:cubicBezTo>
                  <a:cubicBezTo>
                    <a:pt x="155" y="24"/>
                    <a:pt x="150" y="25"/>
                    <a:pt x="149" y="25"/>
                  </a:cubicBezTo>
                  <a:cubicBezTo>
                    <a:pt x="148" y="25"/>
                    <a:pt x="147" y="24"/>
                    <a:pt x="145" y="24"/>
                  </a:cubicBezTo>
                  <a:cubicBezTo>
                    <a:pt x="144" y="24"/>
                    <a:pt x="143" y="23"/>
                    <a:pt x="142" y="23"/>
                  </a:cubicBezTo>
                  <a:cubicBezTo>
                    <a:pt x="141" y="22"/>
                    <a:pt x="141" y="22"/>
                    <a:pt x="140" y="21"/>
                  </a:cubicBezTo>
                  <a:cubicBezTo>
                    <a:pt x="140" y="22"/>
                    <a:pt x="139" y="23"/>
                    <a:pt x="138" y="24"/>
                  </a:cubicBezTo>
                  <a:cubicBezTo>
                    <a:pt x="137" y="24"/>
                    <a:pt x="136" y="24"/>
                    <a:pt x="134" y="25"/>
                  </a:cubicBezTo>
                  <a:cubicBezTo>
                    <a:pt x="133" y="25"/>
                    <a:pt x="131" y="25"/>
                    <a:pt x="131" y="25"/>
                  </a:cubicBezTo>
                  <a:cubicBezTo>
                    <a:pt x="130" y="24"/>
                    <a:pt x="130" y="21"/>
                    <a:pt x="130" y="20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29" y="19"/>
                    <a:pt x="129" y="19"/>
                    <a:pt x="129" y="19"/>
                  </a:cubicBezTo>
                  <a:cubicBezTo>
                    <a:pt x="129" y="19"/>
                    <a:pt x="127" y="18"/>
                    <a:pt x="125" y="17"/>
                  </a:cubicBezTo>
                  <a:cubicBezTo>
                    <a:pt x="124" y="17"/>
                    <a:pt x="122" y="16"/>
                    <a:pt x="121" y="16"/>
                  </a:cubicBezTo>
                  <a:cubicBezTo>
                    <a:pt x="121" y="15"/>
                    <a:pt x="121" y="15"/>
                    <a:pt x="120" y="16"/>
                  </a:cubicBezTo>
                  <a:cubicBezTo>
                    <a:pt x="120" y="16"/>
                    <a:pt x="120" y="16"/>
                    <a:pt x="120" y="17"/>
                  </a:cubicBezTo>
                  <a:cubicBezTo>
                    <a:pt x="120" y="17"/>
                    <a:pt x="120" y="18"/>
                    <a:pt x="120" y="18"/>
                  </a:cubicBezTo>
                  <a:cubicBezTo>
                    <a:pt x="120" y="18"/>
                    <a:pt x="120" y="18"/>
                    <a:pt x="120" y="18"/>
                  </a:cubicBezTo>
                  <a:cubicBezTo>
                    <a:pt x="119" y="20"/>
                    <a:pt x="118" y="20"/>
                    <a:pt x="116" y="20"/>
                  </a:cubicBezTo>
                  <a:cubicBezTo>
                    <a:pt x="116" y="20"/>
                    <a:pt x="116" y="20"/>
                    <a:pt x="116" y="20"/>
                  </a:cubicBezTo>
                  <a:cubicBezTo>
                    <a:pt x="115" y="19"/>
                    <a:pt x="114" y="19"/>
                    <a:pt x="114" y="19"/>
                  </a:cubicBezTo>
                  <a:cubicBezTo>
                    <a:pt x="111" y="20"/>
                    <a:pt x="110" y="18"/>
                    <a:pt x="109" y="18"/>
                  </a:cubicBezTo>
                  <a:cubicBezTo>
                    <a:pt x="109" y="18"/>
                    <a:pt x="109" y="17"/>
                    <a:pt x="109" y="17"/>
                  </a:cubicBezTo>
                  <a:cubicBezTo>
                    <a:pt x="108" y="17"/>
                    <a:pt x="105" y="17"/>
                    <a:pt x="104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1" y="18"/>
                    <a:pt x="101" y="17"/>
                    <a:pt x="100" y="16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8" y="14"/>
                    <a:pt x="97" y="14"/>
                  </a:cubicBezTo>
                  <a:cubicBezTo>
                    <a:pt x="95" y="14"/>
                    <a:pt x="92" y="13"/>
                    <a:pt x="91" y="13"/>
                  </a:cubicBezTo>
                  <a:cubicBezTo>
                    <a:pt x="90" y="13"/>
                    <a:pt x="90" y="12"/>
                    <a:pt x="90" y="11"/>
                  </a:cubicBezTo>
                  <a:cubicBezTo>
                    <a:pt x="90" y="11"/>
                    <a:pt x="90" y="10"/>
                    <a:pt x="90" y="9"/>
                  </a:cubicBezTo>
                  <a:cubicBezTo>
                    <a:pt x="90" y="9"/>
                    <a:pt x="90" y="9"/>
                    <a:pt x="90" y="8"/>
                  </a:cubicBezTo>
                  <a:cubicBezTo>
                    <a:pt x="90" y="8"/>
                    <a:pt x="90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8" y="8"/>
                    <a:pt x="88" y="8"/>
                  </a:cubicBezTo>
                  <a:cubicBezTo>
                    <a:pt x="87" y="8"/>
                    <a:pt x="87" y="8"/>
                    <a:pt x="86" y="8"/>
                  </a:cubicBezTo>
                  <a:cubicBezTo>
                    <a:pt x="86" y="8"/>
                    <a:pt x="85" y="7"/>
                    <a:pt x="84" y="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3" y="6"/>
                    <a:pt x="82" y="6"/>
                    <a:pt x="82" y="6"/>
                  </a:cubicBezTo>
                  <a:cubicBezTo>
                    <a:pt x="80" y="6"/>
                    <a:pt x="78" y="7"/>
                    <a:pt x="76" y="7"/>
                  </a:cubicBezTo>
                  <a:cubicBezTo>
                    <a:pt x="74" y="7"/>
                    <a:pt x="74" y="6"/>
                    <a:pt x="71" y="4"/>
                  </a:cubicBezTo>
                  <a:cubicBezTo>
                    <a:pt x="68" y="3"/>
                    <a:pt x="69" y="5"/>
                    <a:pt x="66" y="6"/>
                  </a:cubicBezTo>
                  <a:cubicBezTo>
                    <a:pt x="63" y="7"/>
                    <a:pt x="59" y="4"/>
                    <a:pt x="57" y="4"/>
                  </a:cubicBezTo>
                  <a:cubicBezTo>
                    <a:pt x="55" y="4"/>
                    <a:pt x="50" y="5"/>
                    <a:pt x="47" y="5"/>
                  </a:cubicBezTo>
                  <a:cubicBezTo>
                    <a:pt x="43" y="6"/>
                    <a:pt x="42" y="5"/>
                    <a:pt x="40" y="4"/>
                  </a:cubicBezTo>
                  <a:cubicBezTo>
                    <a:pt x="39" y="3"/>
                    <a:pt x="34" y="3"/>
                    <a:pt x="31" y="3"/>
                  </a:cubicBezTo>
                  <a:cubicBezTo>
                    <a:pt x="28" y="2"/>
                    <a:pt x="27" y="2"/>
                    <a:pt x="26" y="1"/>
                  </a:cubicBezTo>
                  <a:cubicBezTo>
                    <a:pt x="25" y="0"/>
                    <a:pt x="25" y="1"/>
                    <a:pt x="21" y="2"/>
                  </a:cubicBezTo>
                  <a:cubicBezTo>
                    <a:pt x="17" y="3"/>
                    <a:pt x="10" y="3"/>
                    <a:pt x="8" y="3"/>
                  </a:cubicBezTo>
                  <a:cubicBezTo>
                    <a:pt x="7" y="3"/>
                    <a:pt x="7" y="2"/>
                    <a:pt x="6" y="1"/>
                  </a:cubicBezTo>
                  <a:cubicBezTo>
                    <a:pt x="5" y="0"/>
                    <a:pt x="3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" y="32"/>
                    <a:pt x="2" y="32"/>
                    <a:pt x="3" y="32"/>
                  </a:cubicBezTo>
                  <a:close/>
                </a:path>
              </a:pathLst>
            </a:custGeom>
            <a:gradFill>
              <a:gsLst>
                <a:gs pos="30000">
                  <a:schemeClr val="accent2"/>
                </a:gs>
                <a:gs pos="80000">
                  <a:schemeClr val="accent6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92" name="Freeform 68"/>
            <p:cNvSpPr>
              <a:spLocks/>
            </p:cNvSpPr>
            <p:nvPr/>
          </p:nvSpPr>
          <p:spPr bwMode="auto">
            <a:xfrm>
              <a:off x="1420937" y="5337176"/>
              <a:ext cx="104775" cy="85725"/>
            </a:xfrm>
            <a:custGeom>
              <a:avLst/>
              <a:gdLst>
                <a:gd name="T0" fmla="*/ 7 w 11"/>
                <a:gd name="T1" fmla="*/ 1 h 9"/>
                <a:gd name="T2" fmla="*/ 2 w 11"/>
                <a:gd name="T3" fmla="*/ 3 h 9"/>
                <a:gd name="T4" fmla="*/ 9 w 11"/>
                <a:gd name="T5" fmla="*/ 6 h 9"/>
                <a:gd name="T6" fmla="*/ 7 w 11"/>
                <a:gd name="T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9">
                  <a:moveTo>
                    <a:pt x="7" y="1"/>
                  </a:moveTo>
                  <a:cubicBezTo>
                    <a:pt x="4" y="0"/>
                    <a:pt x="0" y="0"/>
                    <a:pt x="2" y="3"/>
                  </a:cubicBezTo>
                  <a:cubicBezTo>
                    <a:pt x="6" y="5"/>
                    <a:pt x="9" y="9"/>
                    <a:pt x="9" y="6"/>
                  </a:cubicBezTo>
                  <a:cubicBezTo>
                    <a:pt x="8" y="3"/>
                    <a:pt x="11" y="2"/>
                    <a:pt x="7" y="1"/>
                  </a:cubicBezTo>
                  <a:close/>
                </a:path>
              </a:pathLst>
            </a:custGeom>
            <a:gradFill>
              <a:gsLst>
                <a:gs pos="30000">
                  <a:schemeClr val="accent2"/>
                </a:gs>
                <a:gs pos="80000">
                  <a:schemeClr val="accent6"/>
                </a:gs>
              </a:gsLst>
              <a:lin ang="27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93" name="Freeform 69"/>
          <p:cNvSpPr>
            <a:spLocks/>
          </p:cNvSpPr>
          <p:nvPr/>
        </p:nvSpPr>
        <p:spPr bwMode="auto">
          <a:xfrm>
            <a:off x="2221037" y="4841876"/>
            <a:ext cx="142875" cy="295275"/>
          </a:xfrm>
          <a:custGeom>
            <a:avLst/>
            <a:gdLst>
              <a:gd name="T0" fmla="*/ 11 w 15"/>
              <a:gd name="T1" fmla="*/ 7 h 31"/>
              <a:gd name="T2" fmla="*/ 6 w 15"/>
              <a:gd name="T3" fmla="*/ 9 h 31"/>
              <a:gd name="T4" fmla="*/ 3 w 15"/>
              <a:gd name="T5" fmla="*/ 12 h 31"/>
              <a:gd name="T6" fmla="*/ 1 w 15"/>
              <a:gd name="T7" fmla="*/ 14 h 31"/>
              <a:gd name="T8" fmla="*/ 1 w 15"/>
              <a:gd name="T9" fmla="*/ 20 h 31"/>
              <a:gd name="T10" fmla="*/ 4 w 15"/>
              <a:gd name="T11" fmla="*/ 22 h 31"/>
              <a:gd name="T12" fmla="*/ 2 w 15"/>
              <a:gd name="T13" fmla="*/ 24 h 31"/>
              <a:gd name="T14" fmla="*/ 4 w 15"/>
              <a:gd name="T15" fmla="*/ 26 h 31"/>
              <a:gd name="T16" fmla="*/ 4 w 15"/>
              <a:gd name="T17" fmla="*/ 28 h 31"/>
              <a:gd name="T18" fmla="*/ 9 w 15"/>
              <a:gd name="T19" fmla="*/ 30 h 31"/>
              <a:gd name="T20" fmla="*/ 11 w 15"/>
              <a:gd name="T21" fmla="*/ 27 h 31"/>
              <a:gd name="T22" fmla="*/ 14 w 15"/>
              <a:gd name="T23" fmla="*/ 21 h 31"/>
              <a:gd name="T24" fmla="*/ 14 w 15"/>
              <a:gd name="T25" fmla="*/ 16 h 31"/>
              <a:gd name="T26" fmla="*/ 14 w 15"/>
              <a:gd name="T27" fmla="*/ 9 h 31"/>
              <a:gd name="T28" fmla="*/ 14 w 15"/>
              <a:gd name="T29" fmla="*/ 3 h 31"/>
              <a:gd name="T30" fmla="*/ 11 w 15"/>
              <a:gd name="T31" fmla="*/ 2 h 31"/>
              <a:gd name="T32" fmla="*/ 11 w 15"/>
              <a:gd name="T33" fmla="*/ 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" h="31">
                <a:moveTo>
                  <a:pt x="11" y="7"/>
                </a:moveTo>
                <a:cubicBezTo>
                  <a:pt x="8" y="8"/>
                  <a:pt x="7" y="8"/>
                  <a:pt x="6" y="9"/>
                </a:cubicBezTo>
                <a:cubicBezTo>
                  <a:pt x="4" y="10"/>
                  <a:pt x="4" y="11"/>
                  <a:pt x="3" y="12"/>
                </a:cubicBezTo>
                <a:cubicBezTo>
                  <a:pt x="2" y="13"/>
                  <a:pt x="1" y="12"/>
                  <a:pt x="1" y="14"/>
                </a:cubicBezTo>
                <a:cubicBezTo>
                  <a:pt x="1" y="17"/>
                  <a:pt x="0" y="19"/>
                  <a:pt x="1" y="20"/>
                </a:cubicBezTo>
                <a:cubicBezTo>
                  <a:pt x="2" y="21"/>
                  <a:pt x="4" y="21"/>
                  <a:pt x="4" y="22"/>
                </a:cubicBezTo>
                <a:cubicBezTo>
                  <a:pt x="4" y="22"/>
                  <a:pt x="2" y="23"/>
                  <a:pt x="2" y="24"/>
                </a:cubicBezTo>
                <a:cubicBezTo>
                  <a:pt x="3" y="25"/>
                  <a:pt x="4" y="25"/>
                  <a:pt x="4" y="26"/>
                </a:cubicBezTo>
                <a:cubicBezTo>
                  <a:pt x="4" y="26"/>
                  <a:pt x="2" y="26"/>
                  <a:pt x="4" y="28"/>
                </a:cubicBezTo>
                <a:cubicBezTo>
                  <a:pt x="7" y="29"/>
                  <a:pt x="8" y="30"/>
                  <a:pt x="9" y="30"/>
                </a:cubicBezTo>
                <a:cubicBezTo>
                  <a:pt x="11" y="31"/>
                  <a:pt x="11" y="29"/>
                  <a:pt x="11" y="27"/>
                </a:cubicBezTo>
                <a:cubicBezTo>
                  <a:pt x="12" y="25"/>
                  <a:pt x="14" y="23"/>
                  <a:pt x="14" y="21"/>
                </a:cubicBezTo>
                <a:cubicBezTo>
                  <a:pt x="13" y="19"/>
                  <a:pt x="13" y="18"/>
                  <a:pt x="14" y="16"/>
                </a:cubicBezTo>
                <a:cubicBezTo>
                  <a:pt x="15" y="15"/>
                  <a:pt x="15" y="11"/>
                  <a:pt x="14" y="9"/>
                </a:cubicBezTo>
                <a:cubicBezTo>
                  <a:pt x="14" y="8"/>
                  <a:pt x="14" y="5"/>
                  <a:pt x="14" y="3"/>
                </a:cubicBezTo>
                <a:cubicBezTo>
                  <a:pt x="13" y="2"/>
                  <a:pt x="13" y="0"/>
                  <a:pt x="11" y="2"/>
                </a:cubicBezTo>
                <a:cubicBezTo>
                  <a:pt x="11" y="4"/>
                  <a:pt x="13" y="7"/>
                  <a:pt x="11" y="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4" name="Freeform 70"/>
          <p:cNvSpPr>
            <a:spLocks/>
          </p:cNvSpPr>
          <p:nvPr/>
        </p:nvSpPr>
        <p:spPr bwMode="auto">
          <a:xfrm>
            <a:off x="401762" y="3459163"/>
            <a:ext cx="1762125" cy="1506538"/>
          </a:xfrm>
          <a:custGeom>
            <a:avLst/>
            <a:gdLst>
              <a:gd name="T0" fmla="*/ 168 w 185"/>
              <a:gd name="T1" fmla="*/ 124 h 158"/>
              <a:gd name="T2" fmla="*/ 169 w 185"/>
              <a:gd name="T3" fmla="*/ 117 h 158"/>
              <a:gd name="T4" fmla="*/ 169 w 185"/>
              <a:gd name="T5" fmla="*/ 107 h 158"/>
              <a:gd name="T6" fmla="*/ 168 w 185"/>
              <a:gd name="T7" fmla="*/ 102 h 158"/>
              <a:gd name="T8" fmla="*/ 168 w 185"/>
              <a:gd name="T9" fmla="*/ 93 h 158"/>
              <a:gd name="T10" fmla="*/ 163 w 185"/>
              <a:gd name="T11" fmla="*/ 87 h 158"/>
              <a:gd name="T12" fmla="*/ 156 w 185"/>
              <a:gd name="T13" fmla="*/ 90 h 158"/>
              <a:gd name="T14" fmla="*/ 155 w 185"/>
              <a:gd name="T15" fmla="*/ 90 h 158"/>
              <a:gd name="T16" fmla="*/ 155 w 185"/>
              <a:gd name="T17" fmla="*/ 87 h 158"/>
              <a:gd name="T18" fmla="*/ 161 w 185"/>
              <a:gd name="T19" fmla="*/ 75 h 158"/>
              <a:gd name="T20" fmla="*/ 169 w 185"/>
              <a:gd name="T21" fmla="*/ 67 h 158"/>
              <a:gd name="T22" fmla="*/ 177 w 185"/>
              <a:gd name="T23" fmla="*/ 66 h 158"/>
              <a:gd name="T24" fmla="*/ 177 w 185"/>
              <a:gd name="T25" fmla="*/ 55 h 158"/>
              <a:gd name="T26" fmla="*/ 185 w 185"/>
              <a:gd name="T27" fmla="*/ 41 h 158"/>
              <a:gd name="T28" fmla="*/ 182 w 185"/>
              <a:gd name="T29" fmla="*/ 39 h 158"/>
              <a:gd name="T30" fmla="*/ 172 w 185"/>
              <a:gd name="T31" fmla="*/ 36 h 158"/>
              <a:gd name="T32" fmla="*/ 164 w 185"/>
              <a:gd name="T33" fmla="*/ 34 h 158"/>
              <a:gd name="T34" fmla="*/ 155 w 185"/>
              <a:gd name="T35" fmla="*/ 30 h 158"/>
              <a:gd name="T36" fmla="*/ 145 w 185"/>
              <a:gd name="T37" fmla="*/ 28 h 158"/>
              <a:gd name="T38" fmla="*/ 136 w 185"/>
              <a:gd name="T39" fmla="*/ 19 h 158"/>
              <a:gd name="T40" fmla="*/ 129 w 185"/>
              <a:gd name="T41" fmla="*/ 21 h 158"/>
              <a:gd name="T42" fmla="*/ 128 w 185"/>
              <a:gd name="T43" fmla="*/ 14 h 158"/>
              <a:gd name="T44" fmla="*/ 121 w 185"/>
              <a:gd name="T45" fmla="*/ 13 h 158"/>
              <a:gd name="T46" fmla="*/ 117 w 185"/>
              <a:gd name="T47" fmla="*/ 12 h 158"/>
              <a:gd name="T48" fmla="*/ 110 w 185"/>
              <a:gd name="T49" fmla="*/ 7 h 158"/>
              <a:gd name="T50" fmla="*/ 99 w 185"/>
              <a:gd name="T51" fmla="*/ 1 h 158"/>
              <a:gd name="T52" fmla="*/ 86 w 185"/>
              <a:gd name="T53" fmla="*/ 21 h 158"/>
              <a:gd name="T54" fmla="*/ 75 w 185"/>
              <a:gd name="T55" fmla="*/ 30 h 158"/>
              <a:gd name="T56" fmla="*/ 50 w 185"/>
              <a:gd name="T57" fmla="*/ 29 h 158"/>
              <a:gd name="T58" fmla="*/ 45 w 185"/>
              <a:gd name="T59" fmla="*/ 33 h 158"/>
              <a:gd name="T60" fmla="*/ 46 w 185"/>
              <a:gd name="T61" fmla="*/ 46 h 158"/>
              <a:gd name="T62" fmla="*/ 32 w 185"/>
              <a:gd name="T63" fmla="*/ 48 h 158"/>
              <a:gd name="T64" fmla="*/ 7 w 185"/>
              <a:gd name="T65" fmla="*/ 47 h 158"/>
              <a:gd name="T66" fmla="*/ 7 w 185"/>
              <a:gd name="T67" fmla="*/ 50 h 158"/>
              <a:gd name="T68" fmla="*/ 6 w 185"/>
              <a:gd name="T69" fmla="*/ 55 h 158"/>
              <a:gd name="T70" fmla="*/ 19 w 185"/>
              <a:gd name="T71" fmla="*/ 62 h 158"/>
              <a:gd name="T72" fmla="*/ 28 w 185"/>
              <a:gd name="T73" fmla="*/ 65 h 158"/>
              <a:gd name="T74" fmla="*/ 43 w 185"/>
              <a:gd name="T75" fmla="*/ 72 h 158"/>
              <a:gd name="T76" fmla="*/ 40 w 185"/>
              <a:gd name="T77" fmla="*/ 77 h 158"/>
              <a:gd name="T78" fmla="*/ 47 w 185"/>
              <a:gd name="T79" fmla="*/ 86 h 158"/>
              <a:gd name="T80" fmla="*/ 53 w 185"/>
              <a:gd name="T81" fmla="*/ 98 h 158"/>
              <a:gd name="T82" fmla="*/ 60 w 185"/>
              <a:gd name="T83" fmla="*/ 109 h 158"/>
              <a:gd name="T84" fmla="*/ 56 w 185"/>
              <a:gd name="T85" fmla="*/ 105 h 158"/>
              <a:gd name="T86" fmla="*/ 53 w 185"/>
              <a:gd name="T87" fmla="*/ 119 h 158"/>
              <a:gd name="T88" fmla="*/ 45 w 185"/>
              <a:gd name="T89" fmla="*/ 140 h 158"/>
              <a:gd name="T90" fmla="*/ 46 w 185"/>
              <a:gd name="T91" fmla="*/ 142 h 158"/>
              <a:gd name="T92" fmla="*/ 49 w 185"/>
              <a:gd name="T93" fmla="*/ 145 h 158"/>
              <a:gd name="T94" fmla="*/ 55 w 185"/>
              <a:gd name="T95" fmla="*/ 148 h 158"/>
              <a:gd name="T96" fmla="*/ 60 w 185"/>
              <a:gd name="T97" fmla="*/ 151 h 158"/>
              <a:gd name="T98" fmla="*/ 68 w 185"/>
              <a:gd name="T99" fmla="*/ 152 h 158"/>
              <a:gd name="T100" fmla="*/ 77 w 185"/>
              <a:gd name="T101" fmla="*/ 153 h 158"/>
              <a:gd name="T102" fmla="*/ 84 w 185"/>
              <a:gd name="T103" fmla="*/ 151 h 158"/>
              <a:gd name="T104" fmla="*/ 99 w 185"/>
              <a:gd name="T105" fmla="*/ 155 h 158"/>
              <a:gd name="T106" fmla="*/ 115 w 185"/>
              <a:gd name="T107" fmla="*/ 157 h 158"/>
              <a:gd name="T108" fmla="*/ 113 w 185"/>
              <a:gd name="T109" fmla="*/ 144 h 158"/>
              <a:gd name="T110" fmla="*/ 135 w 185"/>
              <a:gd name="T111" fmla="*/ 137 h 158"/>
              <a:gd name="T112" fmla="*/ 143 w 185"/>
              <a:gd name="T113" fmla="*/ 141 h 158"/>
              <a:gd name="T114" fmla="*/ 159 w 185"/>
              <a:gd name="T115" fmla="*/ 145 h 158"/>
              <a:gd name="T116" fmla="*/ 172 w 185"/>
              <a:gd name="T117" fmla="*/ 136 h 158"/>
              <a:gd name="T118" fmla="*/ 178 w 185"/>
              <a:gd name="T119" fmla="*/ 128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5" h="158">
                <a:moveTo>
                  <a:pt x="178" y="128"/>
                </a:moveTo>
                <a:cubicBezTo>
                  <a:pt x="178" y="128"/>
                  <a:pt x="178" y="128"/>
                  <a:pt x="178" y="128"/>
                </a:cubicBezTo>
                <a:cubicBezTo>
                  <a:pt x="178" y="128"/>
                  <a:pt x="175" y="127"/>
                  <a:pt x="172" y="126"/>
                </a:cubicBezTo>
                <a:cubicBezTo>
                  <a:pt x="170" y="125"/>
                  <a:pt x="168" y="124"/>
                  <a:pt x="168" y="124"/>
                </a:cubicBezTo>
                <a:cubicBezTo>
                  <a:pt x="167" y="124"/>
                  <a:pt x="167" y="123"/>
                  <a:pt x="167" y="122"/>
                </a:cubicBezTo>
                <a:cubicBezTo>
                  <a:pt x="167" y="121"/>
                  <a:pt x="167" y="120"/>
                  <a:pt x="167" y="120"/>
                </a:cubicBezTo>
                <a:cubicBezTo>
                  <a:pt x="168" y="119"/>
                  <a:pt x="168" y="119"/>
                  <a:pt x="168" y="119"/>
                </a:cubicBezTo>
                <a:cubicBezTo>
                  <a:pt x="169" y="118"/>
                  <a:pt x="169" y="118"/>
                  <a:pt x="169" y="117"/>
                </a:cubicBezTo>
                <a:cubicBezTo>
                  <a:pt x="169" y="116"/>
                  <a:pt x="167" y="114"/>
                  <a:pt x="166" y="112"/>
                </a:cubicBezTo>
                <a:cubicBezTo>
                  <a:pt x="165" y="111"/>
                  <a:pt x="164" y="110"/>
                  <a:pt x="164" y="109"/>
                </a:cubicBezTo>
                <a:cubicBezTo>
                  <a:pt x="164" y="109"/>
                  <a:pt x="165" y="108"/>
                  <a:pt x="166" y="108"/>
                </a:cubicBezTo>
                <a:cubicBezTo>
                  <a:pt x="167" y="107"/>
                  <a:pt x="168" y="107"/>
                  <a:pt x="169" y="107"/>
                </a:cubicBezTo>
                <a:cubicBezTo>
                  <a:pt x="170" y="106"/>
                  <a:pt x="170" y="105"/>
                  <a:pt x="170" y="104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0" y="104"/>
                  <a:pt x="170" y="104"/>
                  <a:pt x="170" y="104"/>
                </a:cubicBezTo>
                <a:cubicBezTo>
                  <a:pt x="170" y="104"/>
                  <a:pt x="169" y="103"/>
                  <a:pt x="168" y="102"/>
                </a:cubicBezTo>
                <a:cubicBezTo>
                  <a:pt x="167" y="101"/>
                  <a:pt x="166" y="99"/>
                  <a:pt x="166" y="98"/>
                </a:cubicBezTo>
                <a:cubicBezTo>
                  <a:pt x="166" y="97"/>
                  <a:pt x="167" y="96"/>
                  <a:pt x="168" y="95"/>
                </a:cubicBezTo>
                <a:cubicBezTo>
                  <a:pt x="169" y="94"/>
                  <a:pt x="169" y="94"/>
                  <a:pt x="169" y="94"/>
                </a:cubicBezTo>
                <a:cubicBezTo>
                  <a:pt x="169" y="94"/>
                  <a:pt x="168" y="93"/>
                  <a:pt x="168" y="93"/>
                </a:cubicBezTo>
                <a:cubicBezTo>
                  <a:pt x="167" y="92"/>
                  <a:pt x="166" y="92"/>
                  <a:pt x="166" y="91"/>
                </a:cubicBezTo>
                <a:cubicBezTo>
                  <a:pt x="165" y="90"/>
                  <a:pt x="165" y="89"/>
                  <a:pt x="165" y="89"/>
                </a:cubicBezTo>
                <a:cubicBezTo>
                  <a:pt x="165" y="88"/>
                  <a:pt x="165" y="87"/>
                  <a:pt x="165" y="87"/>
                </a:cubicBezTo>
                <a:cubicBezTo>
                  <a:pt x="165" y="87"/>
                  <a:pt x="164" y="87"/>
                  <a:pt x="163" y="87"/>
                </a:cubicBezTo>
                <a:cubicBezTo>
                  <a:pt x="163" y="87"/>
                  <a:pt x="161" y="87"/>
                  <a:pt x="161" y="88"/>
                </a:cubicBezTo>
                <a:cubicBezTo>
                  <a:pt x="160" y="88"/>
                  <a:pt x="159" y="89"/>
                  <a:pt x="157" y="90"/>
                </a:cubicBezTo>
                <a:cubicBezTo>
                  <a:pt x="157" y="90"/>
                  <a:pt x="157" y="90"/>
                  <a:pt x="157" y="90"/>
                </a:cubicBezTo>
                <a:cubicBezTo>
                  <a:pt x="157" y="90"/>
                  <a:pt x="157" y="90"/>
                  <a:pt x="156" y="90"/>
                </a:cubicBezTo>
                <a:cubicBezTo>
                  <a:pt x="156" y="90"/>
                  <a:pt x="155" y="90"/>
                  <a:pt x="155" y="90"/>
                </a:cubicBezTo>
                <a:cubicBezTo>
                  <a:pt x="155" y="90"/>
                  <a:pt x="155" y="90"/>
                  <a:pt x="155" y="90"/>
                </a:cubicBezTo>
                <a:cubicBezTo>
                  <a:pt x="155" y="90"/>
                  <a:pt x="155" y="90"/>
                  <a:pt x="155" y="90"/>
                </a:cubicBezTo>
                <a:cubicBezTo>
                  <a:pt x="155" y="90"/>
                  <a:pt x="155" y="90"/>
                  <a:pt x="155" y="90"/>
                </a:cubicBezTo>
                <a:cubicBezTo>
                  <a:pt x="155" y="89"/>
                  <a:pt x="155" y="89"/>
                  <a:pt x="155" y="89"/>
                </a:cubicBezTo>
                <a:cubicBezTo>
                  <a:pt x="155" y="89"/>
                  <a:pt x="155" y="89"/>
                  <a:pt x="155" y="89"/>
                </a:cubicBezTo>
                <a:cubicBezTo>
                  <a:pt x="155" y="89"/>
                  <a:pt x="155" y="89"/>
                  <a:pt x="155" y="88"/>
                </a:cubicBezTo>
                <a:cubicBezTo>
                  <a:pt x="155" y="88"/>
                  <a:pt x="155" y="87"/>
                  <a:pt x="155" y="87"/>
                </a:cubicBezTo>
                <a:cubicBezTo>
                  <a:pt x="154" y="86"/>
                  <a:pt x="157" y="83"/>
                  <a:pt x="159" y="80"/>
                </a:cubicBezTo>
                <a:cubicBezTo>
                  <a:pt x="160" y="79"/>
                  <a:pt x="161" y="79"/>
                  <a:pt x="161" y="79"/>
                </a:cubicBezTo>
                <a:cubicBezTo>
                  <a:pt x="161" y="78"/>
                  <a:pt x="161" y="78"/>
                  <a:pt x="161" y="78"/>
                </a:cubicBezTo>
                <a:cubicBezTo>
                  <a:pt x="161" y="77"/>
                  <a:pt x="161" y="76"/>
                  <a:pt x="161" y="75"/>
                </a:cubicBezTo>
                <a:cubicBezTo>
                  <a:pt x="162" y="75"/>
                  <a:pt x="163" y="74"/>
                  <a:pt x="165" y="73"/>
                </a:cubicBezTo>
                <a:cubicBezTo>
                  <a:pt x="166" y="72"/>
                  <a:pt x="167" y="71"/>
                  <a:pt x="167" y="71"/>
                </a:cubicBezTo>
                <a:cubicBezTo>
                  <a:pt x="167" y="71"/>
                  <a:pt x="167" y="70"/>
                  <a:pt x="168" y="69"/>
                </a:cubicBezTo>
                <a:cubicBezTo>
                  <a:pt x="168" y="68"/>
                  <a:pt x="169" y="67"/>
                  <a:pt x="169" y="67"/>
                </a:cubicBezTo>
                <a:cubicBezTo>
                  <a:pt x="170" y="67"/>
                  <a:pt x="171" y="67"/>
                  <a:pt x="172" y="67"/>
                </a:cubicBezTo>
                <a:cubicBezTo>
                  <a:pt x="172" y="68"/>
                  <a:pt x="173" y="68"/>
                  <a:pt x="174" y="67"/>
                </a:cubicBezTo>
                <a:cubicBezTo>
                  <a:pt x="175" y="67"/>
                  <a:pt x="176" y="67"/>
                  <a:pt x="176" y="66"/>
                </a:cubicBezTo>
                <a:cubicBezTo>
                  <a:pt x="177" y="66"/>
                  <a:pt x="177" y="66"/>
                  <a:pt x="177" y="66"/>
                </a:cubicBezTo>
                <a:cubicBezTo>
                  <a:pt x="177" y="65"/>
                  <a:pt x="176" y="63"/>
                  <a:pt x="176" y="62"/>
                </a:cubicBezTo>
                <a:cubicBezTo>
                  <a:pt x="176" y="61"/>
                  <a:pt x="176" y="60"/>
                  <a:pt x="176" y="58"/>
                </a:cubicBezTo>
                <a:cubicBezTo>
                  <a:pt x="176" y="57"/>
                  <a:pt x="177" y="56"/>
                  <a:pt x="177" y="55"/>
                </a:cubicBezTo>
                <a:cubicBezTo>
                  <a:pt x="177" y="55"/>
                  <a:pt x="177" y="55"/>
                  <a:pt x="177" y="55"/>
                </a:cubicBezTo>
                <a:cubicBezTo>
                  <a:pt x="177" y="54"/>
                  <a:pt x="178" y="53"/>
                  <a:pt x="178" y="52"/>
                </a:cubicBezTo>
                <a:cubicBezTo>
                  <a:pt x="179" y="51"/>
                  <a:pt x="179" y="50"/>
                  <a:pt x="179" y="49"/>
                </a:cubicBezTo>
                <a:cubicBezTo>
                  <a:pt x="180" y="47"/>
                  <a:pt x="183" y="42"/>
                  <a:pt x="185" y="41"/>
                </a:cubicBezTo>
                <a:cubicBezTo>
                  <a:pt x="185" y="41"/>
                  <a:pt x="185" y="41"/>
                  <a:pt x="185" y="41"/>
                </a:cubicBezTo>
                <a:cubicBezTo>
                  <a:pt x="185" y="41"/>
                  <a:pt x="185" y="41"/>
                  <a:pt x="185" y="41"/>
                </a:cubicBezTo>
                <a:cubicBezTo>
                  <a:pt x="185" y="40"/>
                  <a:pt x="185" y="40"/>
                  <a:pt x="185" y="40"/>
                </a:cubicBezTo>
                <a:cubicBezTo>
                  <a:pt x="185" y="39"/>
                  <a:pt x="185" y="39"/>
                  <a:pt x="184" y="39"/>
                </a:cubicBezTo>
                <a:cubicBezTo>
                  <a:pt x="184" y="38"/>
                  <a:pt x="183" y="38"/>
                  <a:pt x="182" y="39"/>
                </a:cubicBezTo>
                <a:cubicBezTo>
                  <a:pt x="181" y="39"/>
                  <a:pt x="180" y="39"/>
                  <a:pt x="179" y="39"/>
                </a:cubicBezTo>
                <a:cubicBezTo>
                  <a:pt x="177" y="39"/>
                  <a:pt x="176" y="37"/>
                  <a:pt x="175" y="36"/>
                </a:cubicBezTo>
                <a:cubicBezTo>
                  <a:pt x="175" y="36"/>
                  <a:pt x="175" y="36"/>
                  <a:pt x="175" y="36"/>
                </a:cubicBezTo>
                <a:cubicBezTo>
                  <a:pt x="174" y="35"/>
                  <a:pt x="173" y="36"/>
                  <a:pt x="172" y="36"/>
                </a:cubicBezTo>
                <a:cubicBezTo>
                  <a:pt x="172" y="36"/>
                  <a:pt x="172" y="36"/>
                  <a:pt x="171" y="37"/>
                </a:cubicBezTo>
                <a:cubicBezTo>
                  <a:pt x="170" y="37"/>
                  <a:pt x="169" y="37"/>
                  <a:pt x="167" y="37"/>
                </a:cubicBezTo>
                <a:cubicBezTo>
                  <a:pt x="167" y="36"/>
                  <a:pt x="167" y="36"/>
                  <a:pt x="167" y="36"/>
                </a:cubicBezTo>
                <a:cubicBezTo>
                  <a:pt x="165" y="36"/>
                  <a:pt x="164" y="35"/>
                  <a:pt x="164" y="34"/>
                </a:cubicBezTo>
                <a:cubicBezTo>
                  <a:pt x="163" y="34"/>
                  <a:pt x="163" y="33"/>
                  <a:pt x="163" y="33"/>
                </a:cubicBezTo>
                <a:cubicBezTo>
                  <a:pt x="162" y="32"/>
                  <a:pt x="160" y="32"/>
                  <a:pt x="159" y="31"/>
                </a:cubicBezTo>
                <a:cubicBezTo>
                  <a:pt x="159" y="31"/>
                  <a:pt x="159" y="31"/>
                  <a:pt x="159" y="31"/>
                </a:cubicBezTo>
                <a:cubicBezTo>
                  <a:pt x="157" y="31"/>
                  <a:pt x="155" y="30"/>
                  <a:pt x="155" y="30"/>
                </a:cubicBezTo>
                <a:cubicBezTo>
                  <a:pt x="154" y="30"/>
                  <a:pt x="153" y="30"/>
                  <a:pt x="152" y="30"/>
                </a:cubicBezTo>
                <a:cubicBezTo>
                  <a:pt x="150" y="30"/>
                  <a:pt x="149" y="31"/>
                  <a:pt x="147" y="31"/>
                </a:cubicBezTo>
                <a:cubicBezTo>
                  <a:pt x="146" y="31"/>
                  <a:pt x="145" y="30"/>
                  <a:pt x="145" y="29"/>
                </a:cubicBezTo>
                <a:cubicBezTo>
                  <a:pt x="145" y="29"/>
                  <a:pt x="145" y="28"/>
                  <a:pt x="145" y="28"/>
                </a:cubicBezTo>
                <a:cubicBezTo>
                  <a:pt x="145" y="28"/>
                  <a:pt x="145" y="28"/>
                  <a:pt x="145" y="28"/>
                </a:cubicBezTo>
                <a:cubicBezTo>
                  <a:pt x="145" y="27"/>
                  <a:pt x="143" y="27"/>
                  <a:pt x="142" y="26"/>
                </a:cubicBezTo>
                <a:cubicBezTo>
                  <a:pt x="140" y="25"/>
                  <a:pt x="139" y="25"/>
                  <a:pt x="138" y="24"/>
                </a:cubicBezTo>
                <a:cubicBezTo>
                  <a:pt x="135" y="24"/>
                  <a:pt x="136" y="21"/>
                  <a:pt x="136" y="19"/>
                </a:cubicBezTo>
                <a:cubicBezTo>
                  <a:pt x="136" y="20"/>
                  <a:pt x="135" y="20"/>
                  <a:pt x="135" y="20"/>
                </a:cubicBezTo>
                <a:cubicBezTo>
                  <a:pt x="134" y="21"/>
                  <a:pt x="134" y="21"/>
                  <a:pt x="133" y="22"/>
                </a:cubicBezTo>
                <a:cubicBezTo>
                  <a:pt x="132" y="22"/>
                  <a:pt x="130" y="22"/>
                  <a:pt x="129" y="21"/>
                </a:cubicBezTo>
                <a:cubicBezTo>
                  <a:pt x="129" y="21"/>
                  <a:pt x="129" y="21"/>
                  <a:pt x="129" y="21"/>
                </a:cubicBezTo>
                <a:cubicBezTo>
                  <a:pt x="127" y="21"/>
                  <a:pt x="128" y="18"/>
                  <a:pt x="128" y="17"/>
                </a:cubicBezTo>
                <a:cubicBezTo>
                  <a:pt x="129" y="16"/>
                  <a:pt x="129" y="16"/>
                  <a:pt x="129" y="16"/>
                </a:cubicBezTo>
                <a:cubicBezTo>
                  <a:pt x="129" y="16"/>
                  <a:pt x="129" y="15"/>
                  <a:pt x="128" y="15"/>
                </a:cubicBezTo>
                <a:cubicBezTo>
                  <a:pt x="128" y="15"/>
                  <a:pt x="128" y="14"/>
                  <a:pt x="128" y="14"/>
                </a:cubicBezTo>
                <a:cubicBezTo>
                  <a:pt x="127" y="14"/>
                  <a:pt x="126" y="14"/>
                  <a:pt x="124" y="15"/>
                </a:cubicBezTo>
                <a:cubicBezTo>
                  <a:pt x="123" y="15"/>
                  <a:pt x="123" y="15"/>
                  <a:pt x="122" y="15"/>
                </a:cubicBezTo>
                <a:cubicBezTo>
                  <a:pt x="121" y="15"/>
                  <a:pt x="121" y="15"/>
                  <a:pt x="121" y="14"/>
                </a:cubicBezTo>
                <a:cubicBezTo>
                  <a:pt x="120" y="14"/>
                  <a:pt x="121" y="13"/>
                  <a:pt x="121" y="13"/>
                </a:cubicBezTo>
                <a:cubicBezTo>
                  <a:pt x="121" y="12"/>
                  <a:pt x="121" y="12"/>
                  <a:pt x="121" y="12"/>
                </a:cubicBezTo>
                <a:cubicBezTo>
                  <a:pt x="121" y="12"/>
                  <a:pt x="120" y="12"/>
                  <a:pt x="119" y="12"/>
                </a:cubicBezTo>
                <a:cubicBezTo>
                  <a:pt x="119" y="12"/>
                  <a:pt x="119" y="12"/>
                  <a:pt x="119" y="12"/>
                </a:cubicBezTo>
                <a:cubicBezTo>
                  <a:pt x="118" y="12"/>
                  <a:pt x="117" y="12"/>
                  <a:pt x="117" y="12"/>
                </a:cubicBezTo>
                <a:cubicBezTo>
                  <a:pt x="115" y="12"/>
                  <a:pt x="115" y="9"/>
                  <a:pt x="114" y="8"/>
                </a:cubicBezTo>
                <a:cubicBezTo>
                  <a:pt x="114" y="7"/>
                  <a:pt x="114" y="6"/>
                  <a:pt x="114" y="6"/>
                </a:cubicBezTo>
                <a:cubicBezTo>
                  <a:pt x="114" y="6"/>
                  <a:pt x="113" y="6"/>
                  <a:pt x="112" y="6"/>
                </a:cubicBezTo>
                <a:cubicBezTo>
                  <a:pt x="112" y="6"/>
                  <a:pt x="111" y="7"/>
                  <a:pt x="110" y="7"/>
                </a:cubicBezTo>
                <a:cubicBezTo>
                  <a:pt x="110" y="7"/>
                  <a:pt x="109" y="6"/>
                  <a:pt x="108" y="5"/>
                </a:cubicBezTo>
                <a:cubicBezTo>
                  <a:pt x="107" y="4"/>
                  <a:pt x="106" y="3"/>
                  <a:pt x="106" y="3"/>
                </a:cubicBezTo>
                <a:cubicBezTo>
                  <a:pt x="105" y="2"/>
                  <a:pt x="105" y="1"/>
                  <a:pt x="105" y="0"/>
                </a:cubicBezTo>
                <a:cubicBezTo>
                  <a:pt x="103" y="1"/>
                  <a:pt x="102" y="0"/>
                  <a:pt x="99" y="1"/>
                </a:cubicBezTo>
                <a:cubicBezTo>
                  <a:pt x="96" y="2"/>
                  <a:pt x="93" y="3"/>
                  <a:pt x="91" y="4"/>
                </a:cubicBezTo>
                <a:cubicBezTo>
                  <a:pt x="90" y="5"/>
                  <a:pt x="91" y="13"/>
                  <a:pt x="91" y="15"/>
                </a:cubicBezTo>
                <a:cubicBezTo>
                  <a:pt x="92" y="16"/>
                  <a:pt x="92" y="16"/>
                  <a:pt x="92" y="18"/>
                </a:cubicBezTo>
                <a:cubicBezTo>
                  <a:pt x="92" y="19"/>
                  <a:pt x="88" y="20"/>
                  <a:pt x="86" y="21"/>
                </a:cubicBezTo>
                <a:cubicBezTo>
                  <a:pt x="84" y="21"/>
                  <a:pt x="83" y="22"/>
                  <a:pt x="79" y="23"/>
                </a:cubicBezTo>
                <a:cubicBezTo>
                  <a:pt x="76" y="25"/>
                  <a:pt x="75" y="25"/>
                  <a:pt x="73" y="25"/>
                </a:cubicBezTo>
                <a:cubicBezTo>
                  <a:pt x="71" y="26"/>
                  <a:pt x="71" y="27"/>
                  <a:pt x="70" y="28"/>
                </a:cubicBezTo>
                <a:cubicBezTo>
                  <a:pt x="70" y="29"/>
                  <a:pt x="75" y="29"/>
                  <a:pt x="75" y="30"/>
                </a:cubicBezTo>
                <a:cubicBezTo>
                  <a:pt x="76" y="31"/>
                  <a:pt x="69" y="33"/>
                  <a:pt x="66" y="34"/>
                </a:cubicBezTo>
                <a:cubicBezTo>
                  <a:pt x="62" y="35"/>
                  <a:pt x="61" y="34"/>
                  <a:pt x="59" y="33"/>
                </a:cubicBezTo>
                <a:cubicBezTo>
                  <a:pt x="57" y="33"/>
                  <a:pt x="55" y="33"/>
                  <a:pt x="52" y="32"/>
                </a:cubicBezTo>
                <a:cubicBezTo>
                  <a:pt x="50" y="32"/>
                  <a:pt x="51" y="31"/>
                  <a:pt x="50" y="29"/>
                </a:cubicBezTo>
                <a:cubicBezTo>
                  <a:pt x="48" y="28"/>
                  <a:pt x="50" y="27"/>
                  <a:pt x="50" y="26"/>
                </a:cubicBezTo>
                <a:cubicBezTo>
                  <a:pt x="50" y="25"/>
                  <a:pt x="49" y="27"/>
                  <a:pt x="47" y="27"/>
                </a:cubicBezTo>
                <a:cubicBezTo>
                  <a:pt x="45" y="28"/>
                  <a:pt x="43" y="25"/>
                  <a:pt x="42" y="26"/>
                </a:cubicBezTo>
                <a:cubicBezTo>
                  <a:pt x="41" y="27"/>
                  <a:pt x="44" y="32"/>
                  <a:pt x="45" y="33"/>
                </a:cubicBezTo>
                <a:cubicBezTo>
                  <a:pt x="45" y="35"/>
                  <a:pt x="47" y="33"/>
                  <a:pt x="47" y="35"/>
                </a:cubicBezTo>
                <a:cubicBezTo>
                  <a:pt x="47" y="36"/>
                  <a:pt x="48" y="42"/>
                  <a:pt x="48" y="43"/>
                </a:cubicBezTo>
                <a:cubicBezTo>
                  <a:pt x="48" y="45"/>
                  <a:pt x="49" y="45"/>
                  <a:pt x="50" y="46"/>
                </a:cubicBezTo>
                <a:cubicBezTo>
                  <a:pt x="50" y="47"/>
                  <a:pt x="48" y="46"/>
                  <a:pt x="46" y="46"/>
                </a:cubicBezTo>
                <a:cubicBezTo>
                  <a:pt x="44" y="46"/>
                  <a:pt x="44" y="45"/>
                  <a:pt x="42" y="45"/>
                </a:cubicBezTo>
                <a:cubicBezTo>
                  <a:pt x="40" y="45"/>
                  <a:pt x="42" y="47"/>
                  <a:pt x="41" y="48"/>
                </a:cubicBezTo>
                <a:cubicBezTo>
                  <a:pt x="40" y="48"/>
                  <a:pt x="39" y="47"/>
                  <a:pt x="37" y="47"/>
                </a:cubicBezTo>
                <a:cubicBezTo>
                  <a:pt x="36" y="46"/>
                  <a:pt x="35" y="47"/>
                  <a:pt x="32" y="48"/>
                </a:cubicBezTo>
                <a:cubicBezTo>
                  <a:pt x="29" y="49"/>
                  <a:pt x="30" y="49"/>
                  <a:pt x="28" y="47"/>
                </a:cubicBezTo>
                <a:cubicBezTo>
                  <a:pt x="26" y="45"/>
                  <a:pt x="25" y="41"/>
                  <a:pt x="23" y="41"/>
                </a:cubicBezTo>
                <a:cubicBezTo>
                  <a:pt x="22" y="41"/>
                  <a:pt x="18" y="44"/>
                  <a:pt x="17" y="45"/>
                </a:cubicBezTo>
                <a:cubicBezTo>
                  <a:pt x="15" y="45"/>
                  <a:pt x="10" y="46"/>
                  <a:pt x="7" y="47"/>
                </a:cubicBezTo>
                <a:cubicBezTo>
                  <a:pt x="4" y="47"/>
                  <a:pt x="1" y="47"/>
                  <a:pt x="0" y="48"/>
                </a:cubicBezTo>
                <a:cubicBezTo>
                  <a:pt x="0" y="49"/>
                  <a:pt x="0" y="49"/>
                  <a:pt x="0" y="50"/>
                </a:cubicBezTo>
                <a:cubicBezTo>
                  <a:pt x="0" y="51"/>
                  <a:pt x="1" y="50"/>
                  <a:pt x="2" y="50"/>
                </a:cubicBezTo>
                <a:cubicBezTo>
                  <a:pt x="3" y="49"/>
                  <a:pt x="6" y="49"/>
                  <a:pt x="7" y="50"/>
                </a:cubicBezTo>
                <a:cubicBezTo>
                  <a:pt x="7" y="50"/>
                  <a:pt x="7" y="51"/>
                  <a:pt x="5" y="51"/>
                </a:cubicBezTo>
                <a:cubicBezTo>
                  <a:pt x="4" y="52"/>
                  <a:pt x="2" y="52"/>
                  <a:pt x="2" y="53"/>
                </a:cubicBezTo>
                <a:cubicBezTo>
                  <a:pt x="2" y="54"/>
                  <a:pt x="3" y="54"/>
                  <a:pt x="4" y="54"/>
                </a:cubicBezTo>
                <a:cubicBezTo>
                  <a:pt x="6" y="54"/>
                  <a:pt x="6" y="54"/>
                  <a:pt x="6" y="55"/>
                </a:cubicBezTo>
                <a:cubicBezTo>
                  <a:pt x="6" y="57"/>
                  <a:pt x="4" y="56"/>
                  <a:pt x="2" y="57"/>
                </a:cubicBezTo>
                <a:cubicBezTo>
                  <a:pt x="1" y="58"/>
                  <a:pt x="4" y="59"/>
                  <a:pt x="5" y="61"/>
                </a:cubicBezTo>
                <a:cubicBezTo>
                  <a:pt x="7" y="62"/>
                  <a:pt x="8" y="59"/>
                  <a:pt x="9" y="59"/>
                </a:cubicBezTo>
                <a:cubicBezTo>
                  <a:pt x="11" y="59"/>
                  <a:pt x="18" y="61"/>
                  <a:pt x="19" y="62"/>
                </a:cubicBezTo>
                <a:cubicBezTo>
                  <a:pt x="21" y="63"/>
                  <a:pt x="22" y="66"/>
                  <a:pt x="23" y="67"/>
                </a:cubicBezTo>
                <a:cubicBezTo>
                  <a:pt x="25" y="68"/>
                  <a:pt x="23" y="65"/>
                  <a:pt x="23" y="65"/>
                </a:cubicBezTo>
                <a:cubicBezTo>
                  <a:pt x="23" y="64"/>
                  <a:pt x="24" y="63"/>
                  <a:pt x="25" y="63"/>
                </a:cubicBezTo>
                <a:cubicBezTo>
                  <a:pt x="26" y="63"/>
                  <a:pt x="27" y="64"/>
                  <a:pt x="28" y="65"/>
                </a:cubicBezTo>
                <a:cubicBezTo>
                  <a:pt x="29" y="66"/>
                  <a:pt x="31" y="66"/>
                  <a:pt x="33" y="67"/>
                </a:cubicBezTo>
                <a:cubicBezTo>
                  <a:pt x="35" y="69"/>
                  <a:pt x="32" y="69"/>
                  <a:pt x="33" y="70"/>
                </a:cubicBezTo>
                <a:cubicBezTo>
                  <a:pt x="34" y="70"/>
                  <a:pt x="38" y="69"/>
                  <a:pt x="39" y="69"/>
                </a:cubicBezTo>
                <a:cubicBezTo>
                  <a:pt x="41" y="69"/>
                  <a:pt x="43" y="71"/>
                  <a:pt x="43" y="72"/>
                </a:cubicBezTo>
                <a:cubicBezTo>
                  <a:pt x="42" y="73"/>
                  <a:pt x="40" y="72"/>
                  <a:pt x="39" y="72"/>
                </a:cubicBezTo>
                <a:cubicBezTo>
                  <a:pt x="38" y="72"/>
                  <a:pt x="37" y="73"/>
                  <a:pt x="38" y="73"/>
                </a:cubicBezTo>
                <a:cubicBezTo>
                  <a:pt x="38" y="74"/>
                  <a:pt x="40" y="74"/>
                  <a:pt x="41" y="75"/>
                </a:cubicBezTo>
                <a:cubicBezTo>
                  <a:pt x="41" y="75"/>
                  <a:pt x="40" y="76"/>
                  <a:pt x="40" y="77"/>
                </a:cubicBezTo>
                <a:cubicBezTo>
                  <a:pt x="39" y="78"/>
                  <a:pt x="37" y="76"/>
                  <a:pt x="36" y="76"/>
                </a:cubicBezTo>
                <a:cubicBezTo>
                  <a:pt x="36" y="76"/>
                  <a:pt x="38" y="78"/>
                  <a:pt x="38" y="79"/>
                </a:cubicBezTo>
                <a:cubicBezTo>
                  <a:pt x="39" y="80"/>
                  <a:pt x="42" y="83"/>
                  <a:pt x="43" y="84"/>
                </a:cubicBezTo>
                <a:cubicBezTo>
                  <a:pt x="43" y="85"/>
                  <a:pt x="45" y="85"/>
                  <a:pt x="47" y="86"/>
                </a:cubicBezTo>
                <a:cubicBezTo>
                  <a:pt x="50" y="87"/>
                  <a:pt x="52" y="87"/>
                  <a:pt x="53" y="88"/>
                </a:cubicBezTo>
                <a:cubicBezTo>
                  <a:pt x="54" y="89"/>
                  <a:pt x="52" y="90"/>
                  <a:pt x="52" y="91"/>
                </a:cubicBezTo>
                <a:cubicBezTo>
                  <a:pt x="51" y="92"/>
                  <a:pt x="51" y="93"/>
                  <a:pt x="52" y="95"/>
                </a:cubicBezTo>
                <a:cubicBezTo>
                  <a:pt x="52" y="97"/>
                  <a:pt x="53" y="96"/>
                  <a:pt x="53" y="98"/>
                </a:cubicBezTo>
                <a:cubicBezTo>
                  <a:pt x="53" y="99"/>
                  <a:pt x="52" y="98"/>
                  <a:pt x="51" y="99"/>
                </a:cubicBezTo>
                <a:cubicBezTo>
                  <a:pt x="51" y="100"/>
                  <a:pt x="55" y="102"/>
                  <a:pt x="56" y="103"/>
                </a:cubicBezTo>
                <a:cubicBezTo>
                  <a:pt x="57" y="104"/>
                  <a:pt x="59" y="105"/>
                  <a:pt x="59" y="106"/>
                </a:cubicBezTo>
                <a:cubicBezTo>
                  <a:pt x="60" y="107"/>
                  <a:pt x="60" y="108"/>
                  <a:pt x="60" y="109"/>
                </a:cubicBezTo>
                <a:cubicBezTo>
                  <a:pt x="61" y="110"/>
                  <a:pt x="62" y="110"/>
                  <a:pt x="62" y="111"/>
                </a:cubicBezTo>
                <a:cubicBezTo>
                  <a:pt x="62" y="112"/>
                  <a:pt x="61" y="113"/>
                  <a:pt x="60" y="113"/>
                </a:cubicBezTo>
                <a:cubicBezTo>
                  <a:pt x="60" y="113"/>
                  <a:pt x="59" y="110"/>
                  <a:pt x="58" y="109"/>
                </a:cubicBezTo>
                <a:cubicBezTo>
                  <a:pt x="58" y="107"/>
                  <a:pt x="57" y="106"/>
                  <a:pt x="56" y="105"/>
                </a:cubicBezTo>
                <a:cubicBezTo>
                  <a:pt x="56" y="104"/>
                  <a:pt x="53" y="103"/>
                  <a:pt x="53" y="103"/>
                </a:cubicBezTo>
                <a:cubicBezTo>
                  <a:pt x="52" y="104"/>
                  <a:pt x="52" y="105"/>
                  <a:pt x="53" y="107"/>
                </a:cubicBezTo>
                <a:cubicBezTo>
                  <a:pt x="53" y="109"/>
                  <a:pt x="53" y="113"/>
                  <a:pt x="53" y="115"/>
                </a:cubicBezTo>
                <a:cubicBezTo>
                  <a:pt x="54" y="117"/>
                  <a:pt x="53" y="117"/>
                  <a:pt x="53" y="119"/>
                </a:cubicBezTo>
                <a:cubicBezTo>
                  <a:pt x="53" y="120"/>
                  <a:pt x="52" y="120"/>
                  <a:pt x="50" y="121"/>
                </a:cubicBezTo>
                <a:cubicBezTo>
                  <a:pt x="48" y="122"/>
                  <a:pt x="50" y="122"/>
                  <a:pt x="49" y="127"/>
                </a:cubicBezTo>
                <a:cubicBezTo>
                  <a:pt x="48" y="133"/>
                  <a:pt x="47" y="133"/>
                  <a:pt x="47" y="137"/>
                </a:cubicBezTo>
                <a:cubicBezTo>
                  <a:pt x="46" y="141"/>
                  <a:pt x="45" y="139"/>
                  <a:pt x="45" y="140"/>
                </a:cubicBezTo>
                <a:cubicBezTo>
                  <a:pt x="44" y="140"/>
                  <a:pt x="44" y="140"/>
                  <a:pt x="43" y="141"/>
                </a:cubicBezTo>
                <a:cubicBezTo>
                  <a:pt x="43" y="141"/>
                  <a:pt x="43" y="141"/>
                  <a:pt x="43" y="141"/>
                </a:cubicBezTo>
                <a:cubicBezTo>
                  <a:pt x="44" y="141"/>
                  <a:pt x="44" y="142"/>
                  <a:pt x="44" y="142"/>
                </a:cubicBezTo>
                <a:cubicBezTo>
                  <a:pt x="45" y="142"/>
                  <a:pt x="45" y="142"/>
                  <a:pt x="46" y="142"/>
                </a:cubicBezTo>
                <a:cubicBezTo>
                  <a:pt x="46" y="142"/>
                  <a:pt x="47" y="142"/>
                  <a:pt x="47" y="142"/>
                </a:cubicBezTo>
                <a:cubicBezTo>
                  <a:pt x="47" y="142"/>
                  <a:pt x="47" y="142"/>
                  <a:pt x="47" y="142"/>
                </a:cubicBezTo>
                <a:cubicBezTo>
                  <a:pt x="48" y="142"/>
                  <a:pt x="50" y="142"/>
                  <a:pt x="50" y="143"/>
                </a:cubicBezTo>
                <a:cubicBezTo>
                  <a:pt x="50" y="144"/>
                  <a:pt x="49" y="144"/>
                  <a:pt x="49" y="145"/>
                </a:cubicBezTo>
                <a:cubicBezTo>
                  <a:pt x="49" y="145"/>
                  <a:pt x="49" y="145"/>
                  <a:pt x="49" y="145"/>
                </a:cubicBezTo>
                <a:cubicBezTo>
                  <a:pt x="49" y="145"/>
                  <a:pt x="49" y="146"/>
                  <a:pt x="49" y="146"/>
                </a:cubicBezTo>
                <a:cubicBezTo>
                  <a:pt x="49" y="147"/>
                  <a:pt x="49" y="147"/>
                  <a:pt x="49" y="147"/>
                </a:cubicBezTo>
                <a:cubicBezTo>
                  <a:pt x="50" y="147"/>
                  <a:pt x="53" y="147"/>
                  <a:pt x="55" y="148"/>
                </a:cubicBezTo>
                <a:cubicBezTo>
                  <a:pt x="57" y="148"/>
                  <a:pt x="58" y="149"/>
                  <a:pt x="59" y="149"/>
                </a:cubicBezTo>
                <a:cubicBezTo>
                  <a:pt x="59" y="149"/>
                  <a:pt x="59" y="150"/>
                  <a:pt x="59" y="150"/>
                </a:cubicBezTo>
                <a:cubicBezTo>
                  <a:pt x="60" y="151"/>
                  <a:pt x="60" y="151"/>
                  <a:pt x="60" y="151"/>
                </a:cubicBezTo>
                <a:cubicBezTo>
                  <a:pt x="60" y="151"/>
                  <a:pt x="60" y="151"/>
                  <a:pt x="60" y="151"/>
                </a:cubicBezTo>
                <a:cubicBezTo>
                  <a:pt x="61" y="151"/>
                  <a:pt x="61" y="151"/>
                  <a:pt x="61" y="151"/>
                </a:cubicBezTo>
                <a:cubicBezTo>
                  <a:pt x="63" y="151"/>
                  <a:pt x="67" y="151"/>
                  <a:pt x="67" y="151"/>
                </a:cubicBezTo>
                <a:cubicBezTo>
                  <a:pt x="67" y="151"/>
                  <a:pt x="67" y="151"/>
                  <a:pt x="67" y="151"/>
                </a:cubicBezTo>
                <a:cubicBezTo>
                  <a:pt x="68" y="151"/>
                  <a:pt x="68" y="151"/>
                  <a:pt x="68" y="152"/>
                </a:cubicBezTo>
                <a:cubicBezTo>
                  <a:pt x="69" y="152"/>
                  <a:pt x="70" y="153"/>
                  <a:pt x="71" y="153"/>
                </a:cubicBezTo>
                <a:cubicBezTo>
                  <a:pt x="72" y="153"/>
                  <a:pt x="73" y="153"/>
                  <a:pt x="74" y="153"/>
                </a:cubicBezTo>
                <a:cubicBezTo>
                  <a:pt x="75" y="153"/>
                  <a:pt x="76" y="153"/>
                  <a:pt x="77" y="153"/>
                </a:cubicBezTo>
                <a:cubicBezTo>
                  <a:pt x="77" y="153"/>
                  <a:pt x="77" y="153"/>
                  <a:pt x="77" y="153"/>
                </a:cubicBezTo>
                <a:cubicBezTo>
                  <a:pt x="77" y="153"/>
                  <a:pt x="77" y="152"/>
                  <a:pt x="77" y="152"/>
                </a:cubicBezTo>
                <a:cubicBezTo>
                  <a:pt x="77" y="151"/>
                  <a:pt x="77" y="150"/>
                  <a:pt x="77" y="150"/>
                </a:cubicBezTo>
                <a:cubicBezTo>
                  <a:pt x="78" y="149"/>
                  <a:pt x="79" y="149"/>
                  <a:pt x="80" y="149"/>
                </a:cubicBezTo>
                <a:cubicBezTo>
                  <a:pt x="81" y="150"/>
                  <a:pt x="82" y="150"/>
                  <a:pt x="84" y="151"/>
                </a:cubicBezTo>
                <a:cubicBezTo>
                  <a:pt x="86" y="152"/>
                  <a:pt x="88" y="152"/>
                  <a:pt x="89" y="154"/>
                </a:cubicBezTo>
                <a:cubicBezTo>
                  <a:pt x="89" y="154"/>
                  <a:pt x="89" y="153"/>
                  <a:pt x="89" y="153"/>
                </a:cubicBezTo>
                <a:cubicBezTo>
                  <a:pt x="90" y="153"/>
                  <a:pt x="91" y="152"/>
                  <a:pt x="93" y="152"/>
                </a:cubicBezTo>
                <a:cubicBezTo>
                  <a:pt x="96" y="152"/>
                  <a:pt x="98" y="154"/>
                  <a:pt x="99" y="155"/>
                </a:cubicBezTo>
                <a:cubicBezTo>
                  <a:pt x="100" y="156"/>
                  <a:pt x="100" y="156"/>
                  <a:pt x="101" y="157"/>
                </a:cubicBezTo>
                <a:cubicBezTo>
                  <a:pt x="101" y="157"/>
                  <a:pt x="102" y="157"/>
                  <a:pt x="104" y="158"/>
                </a:cubicBezTo>
                <a:cubicBezTo>
                  <a:pt x="105" y="158"/>
                  <a:pt x="106" y="158"/>
                  <a:pt x="107" y="158"/>
                </a:cubicBezTo>
                <a:cubicBezTo>
                  <a:pt x="108" y="158"/>
                  <a:pt x="112" y="157"/>
                  <a:pt x="115" y="157"/>
                </a:cubicBezTo>
                <a:cubicBezTo>
                  <a:pt x="114" y="156"/>
                  <a:pt x="114" y="156"/>
                  <a:pt x="114" y="156"/>
                </a:cubicBezTo>
                <a:cubicBezTo>
                  <a:pt x="113" y="155"/>
                  <a:pt x="113" y="154"/>
                  <a:pt x="113" y="152"/>
                </a:cubicBezTo>
                <a:cubicBezTo>
                  <a:pt x="112" y="151"/>
                  <a:pt x="111" y="150"/>
                  <a:pt x="112" y="149"/>
                </a:cubicBezTo>
                <a:cubicBezTo>
                  <a:pt x="113" y="148"/>
                  <a:pt x="113" y="145"/>
                  <a:pt x="113" y="144"/>
                </a:cubicBezTo>
                <a:cubicBezTo>
                  <a:pt x="114" y="143"/>
                  <a:pt x="119" y="141"/>
                  <a:pt x="122" y="140"/>
                </a:cubicBezTo>
                <a:cubicBezTo>
                  <a:pt x="125" y="140"/>
                  <a:pt x="126" y="137"/>
                  <a:pt x="128" y="138"/>
                </a:cubicBezTo>
                <a:cubicBezTo>
                  <a:pt x="129" y="139"/>
                  <a:pt x="129" y="139"/>
                  <a:pt x="132" y="139"/>
                </a:cubicBezTo>
                <a:cubicBezTo>
                  <a:pt x="134" y="139"/>
                  <a:pt x="134" y="137"/>
                  <a:pt x="135" y="137"/>
                </a:cubicBezTo>
                <a:cubicBezTo>
                  <a:pt x="137" y="137"/>
                  <a:pt x="136" y="139"/>
                  <a:pt x="138" y="140"/>
                </a:cubicBezTo>
                <a:cubicBezTo>
                  <a:pt x="139" y="140"/>
                  <a:pt x="139" y="138"/>
                  <a:pt x="139" y="137"/>
                </a:cubicBezTo>
                <a:cubicBezTo>
                  <a:pt x="140" y="137"/>
                  <a:pt x="140" y="138"/>
                  <a:pt x="140" y="140"/>
                </a:cubicBezTo>
                <a:cubicBezTo>
                  <a:pt x="141" y="142"/>
                  <a:pt x="142" y="141"/>
                  <a:pt x="143" y="141"/>
                </a:cubicBezTo>
                <a:cubicBezTo>
                  <a:pt x="145" y="141"/>
                  <a:pt x="144" y="142"/>
                  <a:pt x="145" y="144"/>
                </a:cubicBezTo>
                <a:cubicBezTo>
                  <a:pt x="145" y="145"/>
                  <a:pt x="147" y="144"/>
                  <a:pt x="149" y="144"/>
                </a:cubicBezTo>
                <a:cubicBezTo>
                  <a:pt x="151" y="144"/>
                  <a:pt x="151" y="145"/>
                  <a:pt x="152" y="146"/>
                </a:cubicBezTo>
                <a:cubicBezTo>
                  <a:pt x="154" y="148"/>
                  <a:pt x="157" y="145"/>
                  <a:pt x="159" y="145"/>
                </a:cubicBezTo>
                <a:cubicBezTo>
                  <a:pt x="162" y="145"/>
                  <a:pt x="162" y="143"/>
                  <a:pt x="163" y="142"/>
                </a:cubicBezTo>
                <a:cubicBezTo>
                  <a:pt x="164" y="142"/>
                  <a:pt x="166" y="140"/>
                  <a:pt x="167" y="138"/>
                </a:cubicBezTo>
                <a:cubicBezTo>
                  <a:pt x="168" y="137"/>
                  <a:pt x="169" y="138"/>
                  <a:pt x="170" y="138"/>
                </a:cubicBezTo>
                <a:cubicBezTo>
                  <a:pt x="171" y="138"/>
                  <a:pt x="171" y="136"/>
                  <a:pt x="172" y="136"/>
                </a:cubicBezTo>
                <a:cubicBezTo>
                  <a:pt x="172" y="136"/>
                  <a:pt x="173" y="135"/>
                  <a:pt x="174" y="135"/>
                </a:cubicBezTo>
                <a:cubicBezTo>
                  <a:pt x="175" y="134"/>
                  <a:pt x="175" y="132"/>
                  <a:pt x="176" y="131"/>
                </a:cubicBezTo>
                <a:cubicBezTo>
                  <a:pt x="176" y="131"/>
                  <a:pt x="177" y="130"/>
                  <a:pt x="177" y="129"/>
                </a:cubicBezTo>
                <a:cubicBezTo>
                  <a:pt x="178" y="129"/>
                  <a:pt x="178" y="128"/>
                  <a:pt x="178" y="12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5" name="Freeform 71"/>
          <p:cNvSpPr>
            <a:spLocks/>
          </p:cNvSpPr>
          <p:nvPr/>
        </p:nvSpPr>
        <p:spPr bwMode="auto">
          <a:xfrm>
            <a:off x="1411412" y="3392488"/>
            <a:ext cx="504825" cy="352425"/>
          </a:xfrm>
          <a:custGeom>
            <a:avLst/>
            <a:gdLst>
              <a:gd name="T0" fmla="*/ 4 w 53"/>
              <a:gd name="T1" fmla="*/ 12 h 37"/>
              <a:gd name="T2" fmla="*/ 9 w 53"/>
              <a:gd name="T3" fmla="*/ 12 h 37"/>
              <a:gd name="T4" fmla="*/ 11 w 53"/>
              <a:gd name="T5" fmla="*/ 18 h 37"/>
              <a:gd name="T6" fmla="*/ 16 w 53"/>
              <a:gd name="T7" fmla="*/ 19 h 37"/>
              <a:gd name="T8" fmla="*/ 16 w 53"/>
              <a:gd name="T9" fmla="*/ 20 h 37"/>
              <a:gd name="T10" fmla="*/ 16 w 53"/>
              <a:gd name="T11" fmla="*/ 21 h 37"/>
              <a:gd name="T12" fmla="*/ 23 w 53"/>
              <a:gd name="T13" fmla="*/ 20 h 37"/>
              <a:gd name="T14" fmla="*/ 24 w 53"/>
              <a:gd name="T15" fmla="*/ 23 h 37"/>
              <a:gd name="T16" fmla="*/ 23 w 53"/>
              <a:gd name="T17" fmla="*/ 27 h 37"/>
              <a:gd name="T18" fmla="*/ 23 w 53"/>
              <a:gd name="T19" fmla="*/ 27 h 37"/>
              <a:gd name="T20" fmla="*/ 28 w 53"/>
              <a:gd name="T21" fmla="*/ 26 h 37"/>
              <a:gd name="T22" fmla="*/ 32 w 53"/>
              <a:gd name="T23" fmla="*/ 25 h 37"/>
              <a:gd name="T24" fmla="*/ 32 w 53"/>
              <a:gd name="T25" fmla="*/ 26 h 37"/>
              <a:gd name="T26" fmla="*/ 32 w 53"/>
              <a:gd name="T27" fmla="*/ 30 h 37"/>
              <a:gd name="T28" fmla="*/ 40 w 53"/>
              <a:gd name="T29" fmla="*/ 34 h 37"/>
              <a:gd name="T30" fmla="*/ 40 w 53"/>
              <a:gd name="T31" fmla="*/ 36 h 37"/>
              <a:gd name="T32" fmla="*/ 46 w 53"/>
              <a:gd name="T33" fmla="*/ 36 h 37"/>
              <a:gd name="T34" fmla="*/ 46 w 53"/>
              <a:gd name="T35" fmla="*/ 33 h 37"/>
              <a:gd name="T36" fmla="*/ 45 w 53"/>
              <a:gd name="T37" fmla="*/ 30 h 37"/>
              <a:gd name="T38" fmla="*/ 47 w 53"/>
              <a:gd name="T39" fmla="*/ 24 h 37"/>
              <a:gd name="T40" fmla="*/ 49 w 53"/>
              <a:gd name="T41" fmla="*/ 23 h 37"/>
              <a:gd name="T42" fmla="*/ 51 w 53"/>
              <a:gd name="T43" fmla="*/ 23 h 37"/>
              <a:gd name="T44" fmla="*/ 52 w 53"/>
              <a:gd name="T45" fmla="*/ 22 h 37"/>
              <a:gd name="T46" fmla="*/ 51 w 53"/>
              <a:gd name="T47" fmla="*/ 16 h 37"/>
              <a:gd name="T48" fmla="*/ 51 w 53"/>
              <a:gd name="T49" fmla="*/ 15 h 37"/>
              <a:gd name="T50" fmla="*/ 46 w 53"/>
              <a:gd name="T51" fmla="*/ 12 h 37"/>
              <a:gd name="T52" fmla="*/ 46 w 53"/>
              <a:gd name="T53" fmla="*/ 7 h 37"/>
              <a:gd name="T54" fmla="*/ 45 w 53"/>
              <a:gd name="T55" fmla="*/ 6 h 37"/>
              <a:gd name="T56" fmla="*/ 40 w 53"/>
              <a:gd name="T57" fmla="*/ 3 h 37"/>
              <a:gd name="T58" fmla="*/ 36 w 53"/>
              <a:gd name="T59" fmla="*/ 3 h 37"/>
              <a:gd name="T60" fmla="*/ 31 w 53"/>
              <a:gd name="T61" fmla="*/ 0 h 37"/>
              <a:gd name="T62" fmla="*/ 26 w 53"/>
              <a:gd name="T63" fmla="*/ 1 h 37"/>
              <a:gd name="T64" fmla="*/ 26 w 53"/>
              <a:gd name="T65" fmla="*/ 1 h 37"/>
              <a:gd name="T66" fmla="*/ 23 w 53"/>
              <a:gd name="T67" fmla="*/ 2 h 37"/>
              <a:gd name="T68" fmla="*/ 20 w 53"/>
              <a:gd name="T69" fmla="*/ 3 h 37"/>
              <a:gd name="T70" fmla="*/ 10 w 53"/>
              <a:gd name="T71" fmla="*/ 2 h 37"/>
              <a:gd name="T72" fmla="*/ 0 w 53"/>
              <a:gd name="T73" fmla="*/ 6 h 37"/>
              <a:gd name="T74" fmla="*/ 3 w 53"/>
              <a:gd name="T75" fmla="*/ 1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3" h="37">
                <a:moveTo>
                  <a:pt x="3" y="11"/>
                </a:moveTo>
                <a:cubicBezTo>
                  <a:pt x="4" y="12"/>
                  <a:pt x="4" y="12"/>
                  <a:pt x="4" y="12"/>
                </a:cubicBezTo>
                <a:cubicBezTo>
                  <a:pt x="4" y="12"/>
                  <a:pt x="5" y="12"/>
                  <a:pt x="6" y="12"/>
                </a:cubicBezTo>
                <a:cubicBezTo>
                  <a:pt x="7" y="12"/>
                  <a:pt x="8" y="12"/>
                  <a:pt x="9" y="12"/>
                </a:cubicBezTo>
                <a:cubicBezTo>
                  <a:pt x="9" y="13"/>
                  <a:pt x="9" y="13"/>
                  <a:pt x="10" y="14"/>
                </a:cubicBezTo>
                <a:cubicBezTo>
                  <a:pt x="10" y="16"/>
                  <a:pt x="11" y="18"/>
                  <a:pt x="11" y="18"/>
                </a:cubicBezTo>
                <a:cubicBezTo>
                  <a:pt x="11" y="18"/>
                  <a:pt x="12" y="18"/>
                  <a:pt x="12" y="18"/>
                </a:cubicBezTo>
                <a:cubicBezTo>
                  <a:pt x="14" y="17"/>
                  <a:pt x="16" y="17"/>
                  <a:pt x="16" y="19"/>
                </a:cubicBezTo>
                <a:cubicBezTo>
                  <a:pt x="16" y="19"/>
                  <a:pt x="16" y="19"/>
                  <a:pt x="16" y="20"/>
                </a:cubicBezTo>
                <a:cubicBezTo>
                  <a:pt x="16" y="20"/>
                  <a:pt x="16" y="20"/>
                  <a:pt x="16" y="20"/>
                </a:cubicBezTo>
                <a:cubicBezTo>
                  <a:pt x="16" y="20"/>
                  <a:pt x="16" y="21"/>
                  <a:pt x="16" y="21"/>
                </a:cubicBezTo>
                <a:cubicBezTo>
                  <a:pt x="16" y="21"/>
                  <a:pt x="16" y="21"/>
                  <a:pt x="16" y="21"/>
                </a:cubicBezTo>
                <a:cubicBezTo>
                  <a:pt x="17" y="21"/>
                  <a:pt x="17" y="21"/>
                  <a:pt x="18" y="20"/>
                </a:cubicBezTo>
                <a:cubicBezTo>
                  <a:pt x="20" y="20"/>
                  <a:pt x="22" y="19"/>
                  <a:pt x="23" y="20"/>
                </a:cubicBezTo>
                <a:cubicBezTo>
                  <a:pt x="23" y="20"/>
                  <a:pt x="23" y="21"/>
                  <a:pt x="24" y="21"/>
                </a:cubicBezTo>
                <a:cubicBezTo>
                  <a:pt x="24" y="22"/>
                  <a:pt x="24" y="22"/>
                  <a:pt x="24" y="23"/>
                </a:cubicBezTo>
                <a:cubicBezTo>
                  <a:pt x="24" y="23"/>
                  <a:pt x="24" y="24"/>
                  <a:pt x="24" y="24"/>
                </a:cubicBezTo>
                <a:cubicBezTo>
                  <a:pt x="23" y="25"/>
                  <a:pt x="23" y="27"/>
                  <a:pt x="23" y="27"/>
                </a:cubicBezTo>
                <a:cubicBezTo>
                  <a:pt x="23" y="27"/>
                  <a:pt x="23" y="27"/>
                  <a:pt x="23" y="27"/>
                </a:cubicBezTo>
                <a:cubicBezTo>
                  <a:pt x="23" y="27"/>
                  <a:pt x="23" y="27"/>
                  <a:pt x="23" y="27"/>
                </a:cubicBezTo>
                <a:cubicBezTo>
                  <a:pt x="24" y="27"/>
                  <a:pt x="26" y="28"/>
                  <a:pt x="26" y="27"/>
                </a:cubicBezTo>
                <a:cubicBezTo>
                  <a:pt x="27" y="27"/>
                  <a:pt x="27" y="27"/>
                  <a:pt x="28" y="26"/>
                </a:cubicBezTo>
                <a:cubicBezTo>
                  <a:pt x="29" y="25"/>
                  <a:pt x="30" y="25"/>
                  <a:pt x="30" y="24"/>
                </a:cubicBezTo>
                <a:cubicBezTo>
                  <a:pt x="31" y="24"/>
                  <a:pt x="32" y="24"/>
                  <a:pt x="32" y="25"/>
                </a:cubicBezTo>
                <a:cubicBezTo>
                  <a:pt x="32" y="25"/>
                  <a:pt x="32" y="25"/>
                  <a:pt x="32" y="25"/>
                </a:cubicBezTo>
                <a:cubicBezTo>
                  <a:pt x="32" y="25"/>
                  <a:pt x="32" y="25"/>
                  <a:pt x="32" y="26"/>
                </a:cubicBezTo>
                <a:cubicBezTo>
                  <a:pt x="32" y="26"/>
                  <a:pt x="32" y="26"/>
                  <a:pt x="32" y="26"/>
                </a:cubicBezTo>
                <a:cubicBezTo>
                  <a:pt x="31" y="27"/>
                  <a:pt x="31" y="30"/>
                  <a:pt x="32" y="30"/>
                </a:cubicBezTo>
                <a:cubicBezTo>
                  <a:pt x="33" y="30"/>
                  <a:pt x="35" y="31"/>
                  <a:pt x="36" y="32"/>
                </a:cubicBezTo>
                <a:cubicBezTo>
                  <a:pt x="38" y="33"/>
                  <a:pt x="40" y="33"/>
                  <a:pt x="40" y="34"/>
                </a:cubicBezTo>
                <a:cubicBezTo>
                  <a:pt x="40" y="34"/>
                  <a:pt x="40" y="34"/>
                  <a:pt x="40" y="35"/>
                </a:cubicBezTo>
                <a:cubicBezTo>
                  <a:pt x="40" y="35"/>
                  <a:pt x="40" y="36"/>
                  <a:pt x="40" y="36"/>
                </a:cubicBezTo>
                <a:cubicBezTo>
                  <a:pt x="40" y="36"/>
                  <a:pt x="41" y="37"/>
                  <a:pt x="41" y="36"/>
                </a:cubicBezTo>
                <a:cubicBezTo>
                  <a:pt x="42" y="36"/>
                  <a:pt x="44" y="36"/>
                  <a:pt x="46" y="36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5"/>
                  <a:pt x="46" y="34"/>
                  <a:pt x="46" y="33"/>
                </a:cubicBezTo>
                <a:cubicBezTo>
                  <a:pt x="46" y="33"/>
                  <a:pt x="46" y="32"/>
                  <a:pt x="46" y="32"/>
                </a:cubicBezTo>
                <a:cubicBezTo>
                  <a:pt x="45" y="32"/>
                  <a:pt x="45" y="31"/>
                  <a:pt x="45" y="30"/>
                </a:cubicBezTo>
                <a:cubicBezTo>
                  <a:pt x="44" y="28"/>
                  <a:pt x="46" y="26"/>
                  <a:pt x="46" y="25"/>
                </a:cubicBezTo>
                <a:cubicBezTo>
                  <a:pt x="47" y="24"/>
                  <a:pt x="47" y="24"/>
                  <a:pt x="47" y="24"/>
                </a:cubicBezTo>
                <a:cubicBezTo>
                  <a:pt x="47" y="24"/>
                  <a:pt x="48" y="23"/>
                  <a:pt x="49" y="23"/>
                </a:cubicBezTo>
                <a:cubicBezTo>
                  <a:pt x="49" y="23"/>
                  <a:pt x="49" y="23"/>
                  <a:pt x="49" y="23"/>
                </a:cubicBezTo>
                <a:cubicBezTo>
                  <a:pt x="50" y="23"/>
                  <a:pt x="50" y="23"/>
                  <a:pt x="51" y="23"/>
                </a:cubicBezTo>
                <a:cubicBezTo>
                  <a:pt x="51" y="23"/>
                  <a:pt x="51" y="23"/>
                  <a:pt x="51" y="23"/>
                </a:cubicBezTo>
                <a:cubicBezTo>
                  <a:pt x="51" y="23"/>
                  <a:pt x="52" y="22"/>
                  <a:pt x="52" y="22"/>
                </a:cubicBezTo>
                <a:cubicBezTo>
                  <a:pt x="52" y="22"/>
                  <a:pt x="52" y="22"/>
                  <a:pt x="52" y="22"/>
                </a:cubicBezTo>
                <a:cubicBezTo>
                  <a:pt x="53" y="21"/>
                  <a:pt x="53" y="21"/>
                  <a:pt x="53" y="20"/>
                </a:cubicBezTo>
                <a:cubicBezTo>
                  <a:pt x="53" y="20"/>
                  <a:pt x="52" y="17"/>
                  <a:pt x="51" y="16"/>
                </a:cubicBezTo>
                <a:cubicBezTo>
                  <a:pt x="51" y="15"/>
                  <a:pt x="51" y="15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51" y="15"/>
                  <a:pt x="50" y="14"/>
                  <a:pt x="48" y="14"/>
                </a:cubicBezTo>
                <a:cubicBezTo>
                  <a:pt x="47" y="13"/>
                  <a:pt x="46" y="12"/>
                  <a:pt x="46" y="12"/>
                </a:cubicBezTo>
                <a:cubicBezTo>
                  <a:pt x="45" y="11"/>
                  <a:pt x="45" y="10"/>
                  <a:pt x="45" y="9"/>
                </a:cubicBezTo>
                <a:cubicBezTo>
                  <a:pt x="46" y="8"/>
                  <a:pt x="46" y="7"/>
                  <a:pt x="46" y="7"/>
                </a:cubicBezTo>
                <a:cubicBezTo>
                  <a:pt x="46" y="7"/>
                  <a:pt x="46" y="7"/>
                  <a:pt x="46" y="7"/>
                </a:cubicBezTo>
                <a:cubicBezTo>
                  <a:pt x="46" y="7"/>
                  <a:pt x="46" y="6"/>
                  <a:pt x="45" y="6"/>
                </a:cubicBezTo>
                <a:cubicBezTo>
                  <a:pt x="45" y="5"/>
                  <a:pt x="44" y="5"/>
                  <a:pt x="42" y="4"/>
                </a:cubicBezTo>
                <a:cubicBezTo>
                  <a:pt x="41" y="3"/>
                  <a:pt x="40" y="3"/>
                  <a:pt x="40" y="3"/>
                </a:cubicBezTo>
                <a:cubicBezTo>
                  <a:pt x="40" y="4"/>
                  <a:pt x="39" y="4"/>
                  <a:pt x="38" y="4"/>
                </a:cubicBezTo>
                <a:cubicBezTo>
                  <a:pt x="37" y="4"/>
                  <a:pt x="36" y="4"/>
                  <a:pt x="36" y="3"/>
                </a:cubicBezTo>
                <a:cubicBezTo>
                  <a:pt x="36" y="2"/>
                  <a:pt x="36" y="2"/>
                  <a:pt x="35" y="1"/>
                </a:cubicBezTo>
                <a:cubicBezTo>
                  <a:pt x="35" y="0"/>
                  <a:pt x="33" y="0"/>
                  <a:pt x="31" y="0"/>
                </a:cubicBezTo>
                <a:cubicBezTo>
                  <a:pt x="31" y="0"/>
                  <a:pt x="30" y="0"/>
                  <a:pt x="30" y="0"/>
                </a:cubicBezTo>
                <a:cubicBezTo>
                  <a:pt x="28" y="0"/>
                  <a:pt x="27" y="1"/>
                  <a:pt x="26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6" y="1"/>
                  <a:pt x="26" y="1"/>
                </a:cubicBezTo>
                <a:cubicBezTo>
                  <a:pt x="25" y="2"/>
                  <a:pt x="24" y="2"/>
                  <a:pt x="23" y="2"/>
                </a:cubicBezTo>
                <a:cubicBezTo>
                  <a:pt x="23" y="2"/>
                  <a:pt x="23" y="2"/>
                  <a:pt x="23" y="3"/>
                </a:cubicBezTo>
                <a:cubicBezTo>
                  <a:pt x="23" y="4"/>
                  <a:pt x="22" y="3"/>
                  <a:pt x="20" y="3"/>
                </a:cubicBezTo>
                <a:cubicBezTo>
                  <a:pt x="19" y="4"/>
                  <a:pt x="17" y="3"/>
                  <a:pt x="16" y="3"/>
                </a:cubicBezTo>
                <a:cubicBezTo>
                  <a:pt x="14" y="3"/>
                  <a:pt x="12" y="2"/>
                  <a:pt x="10" y="2"/>
                </a:cubicBezTo>
                <a:cubicBezTo>
                  <a:pt x="9" y="2"/>
                  <a:pt x="7" y="2"/>
                  <a:pt x="5" y="3"/>
                </a:cubicBezTo>
                <a:cubicBezTo>
                  <a:pt x="4" y="4"/>
                  <a:pt x="2" y="5"/>
                  <a:pt x="0" y="6"/>
                </a:cubicBezTo>
                <a:cubicBezTo>
                  <a:pt x="0" y="7"/>
                  <a:pt x="1" y="9"/>
                  <a:pt x="1" y="9"/>
                </a:cubicBezTo>
                <a:cubicBezTo>
                  <a:pt x="1" y="9"/>
                  <a:pt x="2" y="11"/>
                  <a:pt x="3" y="1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6" name="Freeform 72"/>
          <p:cNvSpPr>
            <a:spLocks/>
          </p:cNvSpPr>
          <p:nvPr/>
        </p:nvSpPr>
        <p:spPr bwMode="auto">
          <a:xfrm>
            <a:off x="3773612" y="2678113"/>
            <a:ext cx="400050" cy="171450"/>
          </a:xfrm>
          <a:custGeom>
            <a:avLst/>
            <a:gdLst>
              <a:gd name="T0" fmla="*/ 1 w 42"/>
              <a:gd name="T1" fmla="*/ 8 h 18"/>
              <a:gd name="T2" fmla="*/ 3 w 42"/>
              <a:gd name="T3" fmla="*/ 10 h 18"/>
              <a:gd name="T4" fmla="*/ 7 w 42"/>
              <a:gd name="T5" fmla="*/ 11 h 18"/>
              <a:gd name="T6" fmla="*/ 5 w 42"/>
              <a:gd name="T7" fmla="*/ 13 h 18"/>
              <a:gd name="T8" fmla="*/ 1 w 42"/>
              <a:gd name="T9" fmla="*/ 15 h 18"/>
              <a:gd name="T10" fmla="*/ 2 w 42"/>
              <a:gd name="T11" fmla="*/ 16 h 18"/>
              <a:gd name="T12" fmla="*/ 4 w 42"/>
              <a:gd name="T13" fmla="*/ 16 h 18"/>
              <a:gd name="T14" fmla="*/ 12 w 42"/>
              <a:gd name="T15" fmla="*/ 17 h 18"/>
              <a:gd name="T16" fmla="*/ 32 w 42"/>
              <a:gd name="T17" fmla="*/ 18 h 18"/>
              <a:gd name="T18" fmla="*/ 35 w 42"/>
              <a:gd name="T19" fmla="*/ 17 h 18"/>
              <a:gd name="T20" fmla="*/ 41 w 42"/>
              <a:gd name="T21" fmla="*/ 17 h 18"/>
              <a:gd name="T22" fmla="*/ 40 w 42"/>
              <a:gd name="T23" fmla="*/ 12 h 18"/>
              <a:gd name="T24" fmla="*/ 42 w 42"/>
              <a:gd name="T25" fmla="*/ 10 h 18"/>
              <a:gd name="T26" fmla="*/ 42 w 42"/>
              <a:gd name="T27" fmla="*/ 10 h 18"/>
              <a:gd name="T28" fmla="*/ 42 w 42"/>
              <a:gd name="T29" fmla="*/ 9 h 18"/>
              <a:gd name="T30" fmla="*/ 41 w 42"/>
              <a:gd name="T31" fmla="*/ 7 h 18"/>
              <a:gd name="T32" fmla="*/ 39 w 42"/>
              <a:gd name="T33" fmla="*/ 5 h 18"/>
              <a:gd name="T34" fmla="*/ 39 w 42"/>
              <a:gd name="T35" fmla="*/ 5 h 18"/>
              <a:gd name="T36" fmla="*/ 39 w 42"/>
              <a:gd name="T37" fmla="*/ 4 h 18"/>
              <a:gd name="T38" fmla="*/ 38 w 42"/>
              <a:gd name="T39" fmla="*/ 3 h 18"/>
              <a:gd name="T40" fmla="*/ 36 w 42"/>
              <a:gd name="T41" fmla="*/ 4 h 18"/>
              <a:gd name="T42" fmla="*/ 32 w 42"/>
              <a:gd name="T43" fmla="*/ 5 h 18"/>
              <a:gd name="T44" fmla="*/ 26 w 42"/>
              <a:gd name="T45" fmla="*/ 3 h 18"/>
              <a:gd name="T46" fmla="*/ 25 w 42"/>
              <a:gd name="T47" fmla="*/ 2 h 18"/>
              <a:gd name="T48" fmla="*/ 20 w 42"/>
              <a:gd name="T49" fmla="*/ 1 h 18"/>
              <a:gd name="T50" fmla="*/ 20 w 42"/>
              <a:gd name="T51" fmla="*/ 0 h 18"/>
              <a:gd name="T52" fmla="*/ 20 w 42"/>
              <a:gd name="T53" fmla="*/ 1 h 18"/>
              <a:gd name="T54" fmla="*/ 18 w 42"/>
              <a:gd name="T55" fmla="*/ 4 h 18"/>
              <a:gd name="T56" fmla="*/ 14 w 42"/>
              <a:gd name="T57" fmla="*/ 7 h 18"/>
              <a:gd name="T58" fmla="*/ 11 w 42"/>
              <a:gd name="T59" fmla="*/ 5 h 18"/>
              <a:gd name="T60" fmla="*/ 13 w 42"/>
              <a:gd name="T61" fmla="*/ 0 h 18"/>
              <a:gd name="T62" fmla="*/ 9 w 42"/>
              <a:gd name="T63" fmla="*/ 4 h 18"/>
              <a:gd name="T64" fmla="*/ 4 w 42"/>
              <a:gd name="T65" fmla="*/ 5 h 18"/>
              <a:gd name="T66" fmla="*/ 1 w 42"/>
              <a:gd name="T67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2" h="18">
                <a:moveTo>
                  <a:pt x="1" y="8"/>
                </a:moveTo>
                <a:cubicBezTo>
                  <a:pt x="0" y="9"/>
                  <a:pt x="1" y="10"/>
                  <a:pt x="3" y="10"/>
                </a:cubicBezTo>
                <a:cubicBezTo>
                  <a:pt x="4" y="11"/>
                  <a:pt x="6" y="11"/>
                  <a:pt x="7" y="11"/>
                </a:cubicBezTo>
                <a:cubicBezTo>
                  <a:pt x="8" y="11"/>
                  <a:pt x="7" y="12"/>
                  <a:pt x="5" y="13"/>
                </a:cubicBezTo>
                <a:cubicBezTo>
                  <a:pt x="4" y="14"/>
                  <a:pt x="2" y="15"/>
                  <a:pt x="1" y="15"/>
                </a:cubicBezTo>
                <a:cubicBezTo>
                  <a:pt x="1" y="16"/>
                  <a:pt x="2" y="16"/>
                  <a:pt x="2" y="16"/>
                </a:cubicBezTo>
                <a:cubicBezTo>
                  <a:pt x="3" y="16"/>
                  <a:pt x="4" y="16"/>
                  <a:pt x="4" y="16"/>
                </a:cubicBezTo>
                <a:cubicBezTo>
                  <a:pt x="6" y="16"/>
                  <a:pt x="8" y="17"/>
                  <a:pt x="12" y="17"/>
                </a:cubicBezTo>
                <a:cubicBezTo>
                  <a:pt x="17" y="18"/>
                  <a:pt x="26" y="18"/>
                  <a:pt x="32" y="18"/>
                </a:cubicBezTo>
                <a:cubicBezTo>
                  <a:pt x="33" y="18"/>
                  <a:pt x="34" y="17"/>
                  <a:pt x="35" y="17"/>
                </a:cubicBezTo>
                <a:cubicBezTo>
                  <a:pt x="37" y="17"/>
                  <a:pt x="40" y="17"/>
                  <a:pt x="41" y="17"/>
                </a:cubicBezTo>
                <a:cubicBezTo>
                  <a:pt x="41" y="16"/>
                  <a:pt x="40" y="12"/>
                  <a:pt x="40" y="12"/>
                </a:cubicBezTo>
                <a:cubicBezTo>
                  <a:pt x="40" y="11"/>
                  <a:pt x="41" y="10"/>
                  <a:pt x="42" y="10"/>
                </a:cubicBezTo>
                <a:cubicBezTo>
                  <a:pt x="42" y="10"/>
                  <a:pt x="42" y="10"/>
                  <a:pt x="42" y="10"/>
                </a:cubicBezTo>
                <a:cubicBezTo>
                  <a:pt x="42" y="9"/>
                  <a:pt x="42" y="10"/>
                  <a:pt x="42" y="9"/>
                </a:cubicBezTo>
                <a:cubicBezTo>
                  <a:pt x="42" y="9"/>
                  <a:pt x="41" y="8"/>
                  <a:pt x="41" y="7"/>
                </a:cubicBezTo>
                <a:cubicBezTo>
                  <a:pt x="40" y="6"/>
                  <a:pt x="40" y="5"/>
                  <a:pt x="39" y="5"/>
                </a:cubicBezTo>
                <a:cubicBezTo>
                  <a:pt x="39" y="5"/>
                  <a:pt x="39" y="5"/>
                  <a:pt x="39" y="5"/>
                </a:cubicBezTo>
                <a:cubicBezTo>
                  <a:pt x="39" y="5"/>
                  <a:pt x="39" y="4"/>
                  <a:pt x="39" y="4"/>
                </a:cubicBezTo>
                <a:cubicBezTo>
                  <a:pt x="38" y="4"/>
                  <a:pt x="38" y="3"/>
                  <a:pt x="38" y="3"/>
                </a:cubicBezTo>
                <a:cubicBezTo>
                  <a:pt x="38" y="3"/>
                  <a:pt x="37" y="4"/>
                  <a:pt x="36" y="4"/>
                </a:cubicBezTo>
                <a:cubicBezTo>
                  <a:pt x="34" y="4"/>
                  <a:pt x="32" y="5"/>
                  <a:pt x="32" y="5"/>
                </a:cubicBezTo>
                <a:cubicBezTo>
                  <a:pt x="31" y="5"/>
                  <a:pt x="28" y="4"/>
                  <a:pt x="26" y="3"/>
                </a:cubicBezTo>
                <a:cubicBezTo>
                  <a:pt x="26" y="2"/>
                  <a:pt x="25" y="2"/>
                  <a:pt x="25" y="2"/>
                </a:cubicBezTo>
                <a:cubicBezTo>
                  <a:pt x="23" y="1"/>
                  <a:pt x="22" y="1"/>
                  <a:pt x="20" y="1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1"/>
                  <a:pt x="20" y="1"/>
                  <a:pt x="20" y="1"/>
                </a:cubicBezTo>
                <a:cubicBezTo>
                  <a:pt x="20" y="4"/>
                  <a:pt x="19" y="3"/>
                  <a:pt x="18" y="4"/>
                </a:cubicBezTo>
                <a:cubicBezTo>
                  <a:pt x="18" y="5"/>
                  <a:pt x="16" y="6"/>
                  <a:pt x="14" y="7"/>
                </a:cubicBezTo>
                <a:cubicBezTo>
                  <a:pt x="12" y="7"/>
                  <a:pt x="11" y="6"/>
                  <a:pt x="11" y="5"/>
                </a:cubicBezTo>
                <a:cubicBezTo>
                  <a:pt x="10" y="5"/>
                  <a:pt x="14" y="1"/>
                  <a:pt x="13" y="0"/>
                </a:cubicBezTo>
                <a:cubicBezTo>
                  <a:pt x="13" y="0"/>
                  <a:pt x="11" y="2"/>
                  <a:pt x="9" y="4"/>
                </a:cubicBezTo>
                <a:cubicBezTo>
                  <a:pt x="6" y="6"/>
                  <a:pt x="7" y="5"/>
                  <a:pt x="4" y="5"/>
                </a:cubicBezTo>
                <a:cubicBezTo>
                  <a:pt x="2" y="6"/>
                  <a:pt x="2" y="6"/>
                  <a:pt x="1" y="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7" name="Freeform 73"/>
          <p:cNvSpPr>
            <a:spLocks/>
          </p:cNvSpPr>
          <p:nvPr/>
        </p:nvSpPr>
        <p:spPr bwMode="auto">
          <a:xfrm>
            <a:off x="3935537" y="2449513"/>
            <a:ext cx="762000" cy="476250"/>
          </a:xfrm>
          <a:custGeom>
            <a:avLst/>
            <a:gdLst>
              <a:gd name="T0" fmla="*/ 25 w 80"/>
              <a:gd name="T1" fmla="*/ 36 h 50"/>
              <a:gd name="T2" fmla="*/ 28 w 80"/>
              <a:gd name="T3" fmla="*/ 40 h 50"/>
              <a:gd name="T4" fmla="*/ 34 w 80"/>
              <a:gd name="T5" fmla="*/ 44 h 50"/>
              <a:gd name="T6" fmla="*/ 36 w 80"/>
              <a:gd name="T7" fmla="*/ 49 h 50"/>
              <a:gd name="T8" fmla="*/ 41 w 80"/>
              <a:gd name="T9" fmla="*/ 49 h 50"/>
              <a:gd name="T10" fmla="*/ 48 w 80"/>
              <a:gd name="T11" fmla="*/ 50 h 50"/>
              <a:gd name="T12" fmla="*/ 50 w 80"/>
              <a:gd name="T13" fmla="*/ 49 h 50"/>
              <a:gd name="T14" fmla="*/ 53 w 80"/>
              <a:gd name="T15" fmla="*/ 48 h 50"/>
              <a:gd name="T16" fmla="*/ 54 w 80"/>
              <a:gd name="T17" fmla="*/ 45 h 50"/>
              <a:gd name="T18" fmla="*/ 57 w 80"/>
              <a:gd name="T19" fmla="*/ 45 h 50"/>
              <a:gd name="T20" fmla="*/ 59 w 80"/>
              <a:gd name="T21" fmla="*/ 45 h 50"/>
              <a:gd name="T22" fmla="*/ 65 w 80"/>
              <a:gd name="T23" fmla="*/ 44 h 50"/>
              <a:gd name="T24" fmla="*/ 66 w 80"/>
              <a:gd name="T25" fmla="*/ 42 h 50"/>
              <a:gd name="T26" fmla="*/ 66 w 80"/>
              <a:gd name="T27" fmla="*/ 37 h 50"/>
              <a:gd name="T28" fmla="*/ 71 w 80"/>
              <a:gd name="T29" fmla="*/ 30 h 50"/>
              <a:gd name="T30" fmla="*/ 76 w 80"/>
              <a:gd name="T31" fmla="*/ 26 h 50"/>
              <a:gd name="T32" fmla="*/ 79 w 80"/>
              <a:gd name="T33" fmla="*/ 24 h 50"/>
              <a:gd name="T34" fmla="*/ 78 w 80"/>
              <a:gd name="T35" fmla="*/ 18 h 50"/>
              <a:gd name="T36" fmla="*/ 78 w 80"/>
              <a:gd name="T37" fmla="*/ 16 h 50"/>
              <a:gd name="T38" fmla="*/ 74 w 80"/>
              <a:gd name="T39" fmla="*/ 13 h 50"/>
              <a:gd name="T40" fmla="*/ 74 w 80"/>
              <a:gd name="T41" fmla="*/ 12 h 50"/>
              <a:gd name="T42" fmla="*/ 66 w 80"/>
              <a:gd name="T43" fmla="*/ 5 h 50"/>
              <a:gd name="T44" fmla="*/ 59 w 80"/>
              <a:gd name="T45" fmla="*/ 5 h 50"/>
              <a:gd name="T46" fmla="*/ 55 w 80"/>
              <a:gd name="T47" fmla="*/ 0 h 50"/>
              <a:gd name="T48" fmla="*/ 52 w 80"/>
              <a:gd name="T49" fmla="*/ 2 h 50"/>
              <a:gd name="T50" fmla="*/ 47 w 80"/>
              <a:gd name="T51" fmla="*/ 3 h 50"/>
              <a:gd name="T52" fmla="*/ 47 w 80"/>
              <a:gd name="T53" fmla="*/ 3 h 50"/>
              <a:gd name="T54" fmla="*/ 44 w 80"/>
              <a:gd name="T55" fmla="*/ 4 h 50"/>
              <a:gd name="T56" fmla="*/ 38 w 80"/>
              <a:gd name="T57" fmla="*/ 1 h 50"/>
              <a:gd name="T58" fmla="*/ 30 w 80"/>
              <a:gd name="T59" fmla="*/ 3 h 50"/>
              <a:gd name="T60" fmla="*/ 27 w 80"/>
              <a:gd name="T61" fmla="*/ 1 h 50"/>
              <a:gd name="T62" fmla="*/ 22 w 80"/>
              <a:gd name="T63" fmla="*/ 1 h 50"/>
              <a:gd name="T64" fmla="*/ 16 w 80"/>
              <a:gd name="T65" fmla="*/ 1 h 50"/>
              <a:gd name="T66" fmla="*/ 7 w 80"/>
              <a:gd name="T67" fmla="*/ 3 h 50"/>
              <a:gd name="T68" fmla="*/ 3 w 80"/>
              <a:gd name="T69" fmla="*/ 6 h 50"/>
              <a:gd name="T70" fmla="*/ 0 w 80"/>
              <a:gd name="T71" fmla="*/ 10 h 50"/>
              <a:gd name="T72" fmla="*/ 2 w 80"/>
              <a:gd name="T73" fmla="*/ 23 h 50"/>
              <a:gd name="T74" fmla="*/ 8 w 80"/>
              <a:gd name="T75" fmla="*/ 25 h 50"/>
              <a:gd name="T76" fmla="*/ 15 w 80"/>
              <a:gd name="T77" fmla="*/ 27 h 50"/>
              <a:gd name="T78" fmla="*/ 21 w 80"/>
              <a:gd name="T79" fmla="*/ 26 h 50"/>
              <a:gd name="T80" fmla="*/ 24 w 80"/>
              <a:gd name="T81" fmla="*/ 28 h 50"/>
              <a:gd name="T82" fmla="*/ 25 w 80"/>
              <a:gd name="T83" fmla="*/ 31 h 50"/>
              <a:gd name="T84" fmla="*/ 26 w 80"/>
              <a:gd name="T85" fmla="*/ 3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0" h="50">
                <a:moveTo>
                  <a:pt x="26" y="35"/>
                </a:moveTo>
                <a:cubicBezTo>
                  <a:pt x="25" y="35"/>
                  <a:pt x="25" y="35"/>
                  <a:pt x="25" y="36"/>
                </a:cubicBezTo>
                <a:cubicBezTo>
                  <a:pt x="25" y="36"/>
                  <a:pt x="26" y="39"/>
                  <a:pt x="26" y="41"/>
                </a:cubicBezTo>
                <a:cubicBezTo>
                  <a:pt x="26" y="41"/>
                  <a:pt x="27" y="40"/>
                  <a:pt x="28" y="40"/>
                </a:cubicBezTo>
                <a:cubicBezTo>
                  <a:pt x="28" y="40"/>
                  <a:pt x="29" y="41"/>
                  <a:pt x="31" y="42"/>
                </a:cubicBezTo>
                <a:cubicBezTo>
                  <a:pt x="32" y="42"/>
                  <a:pt x="33" y="44"/>
                  <a:pt x="34" y="44"/>
                </a:cubicBezTo>
                <a:cubicBezTo>
                  <a:pt x="34" y="45"/>
                  <a:pt x="35" y="47"/>
                  <a:pt x="35" y="49"/>
                </a:cubicBezTo>
                <a:cubicBezTo>
                  <a:pt x="36" y="49"/>
                  <a:pt x="36" y="49"/>
                  <a:pt x="36" y="49"/>
                </a:cubicBezTo>
                <a:cubicBezTo>
                  <a:pt x="36" y="49"/>
                  <a:pt x="37" y="49"/>
                  <a:pt x="38" y="49"/>
                </a:cubicBezTo>
                <a:cubicBezTo>
                  <a:pt x="39" y="49"/>
                  <a:pt x="40" y="49"/>
                  <a:pt x="41" y="49"/>
                </a:cubicBezTo>
                <a:cubicBezTo>
                  <a:pt x="43" y="49"/>
                  <a:pt x="45" y="49"/>
                  <a:pt x="46" y="50"/>
                </a:cubicBezTo>
                <a:cubicBezTo>
                  <a:pt x="47" y="50"/>
                  <a:pt x="48" y="50"/>
                  <a:pt x="48" y="50"/>
                </a:cubicBezTo>
                <a:cubicBezTo>
                  <a:pt x="48" y="50"/>
                  <a:pt x="48" y="50"/>
                  <a:pt x="48" y="50"/>
                </a:cubicBezTo>
                <a:cubicBezTo>
                  <a:pt x="48" y="50"/>
                  <a:pt x="49" y="50"/>
                  <a:pt x="50" y="49"/>
                </a:cubicBezTo>
                <a:cubicBezTo>
                  <a:pt x="51" y="49"/>
                  <a:pt x="52" y="48"/>
                  <a:pt x="53" y="48"/>
                </a:cubicBezTo>
                <a:cubicBezTo>
                  <a:pt x="53" y="48"/>
                  <a:pt x="53" y="48"/>
                  <a:pt x="53" y="48"/>
                </a:cubicBezTo>
                <a:cubicBezTo>
                  <a:pt x="53" y="48"/>
                  <a:pt x="53" y="47"/>
                  <a:pt x="53" y="47"/>
                </a:cubicBezTo>
                <a:cubicBezTo>
                  <a:pt x="53" y="46"/>
                  <a:pt x="53" y="45"/>
                  <a:pt x="54" y="45"/>
                </a:cubicBezTo>
                <a:cubicBezTo>
                  <a:pt x="55" y="45"/>
                  <a:pt x="56" y="45"/>
                  <a:pt x="57" y="45"/>
                </a:cubicBezTo>
                <a:cubicBezTo>
                  <a:pt x="57" y="45"/>
                  <a:pt x="57" y="45"/>
                  <a:pt x="57" y="45"/>
                </a:cubicBezTo>
                <a:cubicBezTo>
                  <a:pt x="58" y="45"/>
                  <a:pt x="59" y="45"/>
                  <a:pt x="59" y="45"/>
                </a:cubicBezTo>
                <a:cubicBezTo>
                  <a:pt x="59" y="45"/>
                  <a:pt x="59" y="45"/>
                  <a:pt x="59" y="45"/>
                </a:cubicBezTo>
                <a:cubicBezTo>
                  <a:pt x="60" y="44"/>
                  <a:pt x="60" y="44"/>
                  <a:pt x="61" y="43"/>
                </a:cubicBezTo>
                <a:cubicBezTo>
                  <a:pt x="63" y="43"/>
                  <a:pt x="64" y="44"/>
                  <a:pt x="65" y="44"/>
                </a:cubicBezTo>
                <a:cubicBezTo>
                  <a:pt x="66" y="45"/>
                  <a:pt x="66" y="45"/>
                  <a:pt x="67" y="45"/>
                </a:cubicBezTo>
                <a:cubicBezTo>
                  <a:pt x="67" y="45"/>
                  <a:pt x="66" y="43"/>
                  <a:pt x="66" y="42"/>
                </a:cubicBezTo>
                <a:cubicBezTo>
                  <a:pt x="66" y="41"/>
                  <a:pt x="65" y="39"/>
                  <a:pt x="65" y="38"/>
                </a:cubicBezTo>
                <a:cubicBezTo>
                  <a:pt x="65" y="38"/>
                  <a:pt x="65" y="38"/>
                  <a:pt x="66" y="37"/>
                </a:cubicBezTo>
                <a:cubicBezTo>
                  <a:pt x="66" y="36"/>
                  <a:pt x="66" y="34"/>
                  <a:pt x="68" y="33"/>
                </a:cubicBezTo>
                <a:cubicBezTo>
                  <a:pt x="68" y="32"/>
                  <a:pt x="69" y="31"/>
                  <a:pt x="71" y="30"/>
                </a:cubicBezTo>
                <a:cubicBezTo>
                  <a:pt x="73" y="28"/>
                  <a:pt x="75" y="27"/>
                  <a:pt x="75" y="27"/>
                </a:cubicBezTo>
                <a:cubicBezTo>
                  <a:pt x="75" y="26"/>
                  <a:pt x="76" y="26"/>
                  <a:pt x="76" y="26"/>
                </a:cubicBezTo>
                <a:cubicBezTo>
                  <a:pt x="77" y="26"/>
                  <a:pt x="79" y="24"/>
                  <a:pt x="80" y="24"/>
                </a:cubicBezTo>
                <a:cubicBezTo>
                  <a:pt x="80" y="24"/>
                  <a:pt x="79" y="24"/>
                  <a:pt x="79" y="24"/>
                </a:cubicBezTo>
                <a:cubicBezTo>
                  <a:pt x="78" y="23"/>
                  <a:pt x="77" y="23"/>
                  <a:pt x="77" y="22"/>
                </a:cubicBezTo>
                <a:cubicBezTo>
                  <a:pt x="76" y="21"/>
                  <a:pt x="77" y="19"/>
                  <a:pt x="78" y="18"/>
                </a:cubicBezTo>
                <a:cubicBezTo>
                  <a:pt x="78" y="18"/>
                  <a:pt x="78" y="17"/>
                  <a:pt x="78" y="17"/>
                </a:cubicBezTo>
                <a:cubicBezTo>
                  <a:pt x="78" y="17"/>
                  <a:pt x="78" y="16"/>
                  <a:pt x="78" y="16"/>
                </a:cubicBezTo>
                <a:cubicBezTo>
                  <a:pt x="76" y="15"/>
                  <a:pt x="75" y="14"/>
                  <a:pt x="74" y="13"/>
                </a:cubicBezTo>
                <a:cubicBezTo>
                  <a:pt x="74" y="13"/>
                  <a:pt x="74" y="13"/>
                  <a:pt x="74" y="13"/>
                </a:cubicBezTo>
                <a:cubicBezTo>
                  <a:pt x="74" y="12"/>
                  <a:pt x="74" y="12"/>
                  <a:pt x="74" y="12"/>
                </a:cubicBezTo>
                <a:cubicBezTo>
                  <a:pt x="74" y="12"/>
                  <a:pt x="74" y="12"/>
                  <a:pt x="74" y="12"/>
                </a:cubicBezTo>
                <a:cubicBezTo>
                  <a:pt x="73" y="12"/>
                  <a:pt x="72" y="11"/>
                  <a:pt x="71" y="10"/>
                </a:cubicBezTo>
                <a:cubicBezTo>
                  <a:pt x="69" y="8"/>
                  <a:pt x="66" y="6"/>
                  <a:pt x="66" y="5"/>
                </a:cubicBezTo>
                <a:cubicBezTo>
                  <a:pt x="65" y="5"/>
                  <a:pt x="64" y="5"/>
                  <a:pt x="62" y="5"/>
                </a:cubicBezTo>
                <a:cubicBezTo>
                  <a:pt x="61" y="5"/>
                  <a:pt x="60" y="5"/>
                  <a:pt x="59" y="5"/>
                </a:cubicBezTo>
                <a:cubicBezTo>
                  <a:pt x="56" y="5"/>
                  <a:pt x="56" y="3"/>
                  <a:pt x="55" y="1"/>
                </a:cubicBezTo>
                <a:cubicBezTo>
                  <a:pt x="55" y="0"/>
                  <a:pt x="55" y="0"/>
                  <a:pt x="55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5" y="0"/>
                  <a:pt x="54" y="1"/>
                  <a:pt x="52" y="2"/>
                </a:cubicBezTo>
                <a:cubicBezTo>
                  <a:pt x="52" y="2"/>
                  <a:pt x="51" y="3"/>
                  <a:pt x="50" y="4"/>
                </a:cubicBezTo>
                <a:cubicBezTo>
                  <a:pt x="49" y="4"/>
                  <a:pt x="48" y="4"/>
                  <a:pt x="47" y="3"/>
                </a:cubicBezTo>
                <a:cubicBezTo>
                  <a:pt x="47" y="3"/>
                  <a:pt x="47" y="3"/>
                  <a:pt x="47" y="3"/>
                </a:cubicBezTo>
                <a:cubicBezTo>
                  <a:pt x="47" y="3"/>
                  <a:pt x="47" y="3"/>
                  <a:pt x="47" y="3"/>
                </a:cubicBezTo>
                <a:cubicBezTo>
                  <a:pt x="47" y="3"/>
                  <a:pt x="47" y="3"/>
                  <a:pt x="46" y="3"/>
                </a:cubicBezTo>
                <a:cubicBezTo>
                  <a:pt x="46" y="3"/>
                  <a:pt x="45" y="4"/>
                  <a:pt x="44" y="4"/>
                </a:cubicBezTo>
                <a:cubicBezTo>
                  <a:pt x="43" y="4"/>
                  <a:pt x="42" y="3"/>
                  <a:pt x="41" y="3"/>
                </a:cubicBezTo>
                <a:cubicBezTo>
                  <a:pt x="40" y="2"/>
                  <a:pt x="39" y="2"/>
                  <a:pt x="38" y="1"/>
                </a:cubicBezTo>
                <a:cubicBezTo>
                  <a:pt x="38" y="1"/>
                  <a:pt x="36" y="1"/>
                  <a:pt x="35" y="2"/>
                </a:cubicBezTo>
                <a:cubicBezTo>
                  <a:pt x="33" y="2"/>
                  <a:pt x="30" y="3"/>
                  <a:pt x="30" y="3"/>
                </a:cubicBezTo>
                <a:cubicBezTo>
                  <a:pt x="29" y="3"/>
                  <a:pt x="28" y="3"/>
                  <a:pt x="28" y="2"/>
                </a:cubicBezTo>
                <a:cubicBezTo>
                  <a:pt x="27" y="2"/>
                  <a:pt x="27" y="1"/>
                  <a:pt x="27" y="1"/>
                </a:cubicBezTo>
                <a:cubicBezTo>
                  <a:pt x="26" y="1"/>
                  <a:pt x="26" y="1"/>
                  <a:pt x="26" y="2"/>
                </a:cubicBezTo>
                <a:cubicBezTo>
                  <a:pt x="25" y="2"/>
                  <a:pt x="24" y="2"/>
                  <a:pt x="22" y="1"/>
                </a:cubicBezTo>
                <a:cubicBezTo>
                  <a:pt x="22" y="1"/>
                  <a:pt x="21" y="1"/>
                  <a:pt x="20" y="0"/>
                </a:cubicBezTo>
                <a:cubicBezTo>
                  <a:pt x="19" y="0"/>
                  <a:pt x="17" y="0"/>
                  <a:pt x="16" y="1"/>
                </a:cubicBezTo>
                <a:cubicBezTo>
                  <a:pt x="15" y="1"/>
                  <a:pt x="13" y="1"/>
                  <a:pt x="12" y="1"/>
                </a:cubicBezTo>
                <a:cubicBezTo>
                  <a:pt x="10" y="2"/>
                  <a:pt x="8" y="2"/>
                  <a:pt x="7" y="3"/>
                </a:cubicBezTo>
                <a:cubicBezTo>
                  <a:pt x="5" y="4"/>
                  <a:pt x="5" y="4"/>
                  <a:pt x="4" y="5"/>
                </a:cubicBezTo>
                <a:cubicBezTo>
                  <a:pt x="4" y="5"/>
                  <a:pt x="4" y="5"/>
                  <a:pt x="3" y="6"/>
                </a:cubicBezTo>
                <a:cubicBezTo>
                  <a:pt x="2" y="7"/>
                  <a:pt x="1" y="7"/>
                  <a:pt x="0" y="7"/>
                </a:cubicBezTo>
                <a:cubicBezTo>
                  <a:pt x="0" y="8"/>
                  <a:pt x="0" y="9"/>
                  <a:pt x="0" y="10"/>
                </a:cubicBezTo>
                <a:cubicBezTo>
                  <a:pt x="0" y="12"/>
                  <a:pt x="1" y="13"/>
                  <a:pt x="1" y="17"/>
                </a:cubicBezTo>
                <a:cubicBezTo>
                  <a:pt x="2" y="19"/>
                  <a:pt x="2" y="21"/>
                  <a:pt x="2" y="23"/>
                </a:cubicBezTo>
                <a:cubicBezTo>
                  <a:pt x="3" y="23"/>
                  <a:pt x="3" y="23"/>
                  <a:pt x="3" y="23"/>
                </a:cubicBezTo>
                <a:cubicBezTo>
                  <a:pt x="5" y="24"/>
                  <a:pt x="7" y="24"/>
                  <a:pt x="8" y="25"/>
                </a:cubicBezTo>
                <a:cubicBezTo>
                  <a:pt x="9" y="25"/>
                  <a:pt x="9" y="25"/>
                  <a:pt x="10" y="25"/>
                </a:cubicBezTo>
                <a:cubicBezTo>
                  <a:pt x="12" y="26"/>
                  <a:pt x="14" y="27"/>
                  <a:pt x="15" y="27"/>
                </a:cubicBezTo>
                <a:cubicBezTo>
                  <a:pt x="15" y="27"/>
                  <a:pt x="17" y="27"/>
                  <a:pt x="19" y="27"/>
                </a:cubicBezTo>
                <a:cubicBezTo>
                  <a:pt x="20" y="26"/>
                  <a:pt x="21" y="26"/>
                  <a:pt x="21" y="26"/>
                </a:cubicBezTo>
                <a:cubicBezTo>
                  <a:pt x="21" y="26"/>
                  <a:pt x="22" y="26"/>
                  <a:pt x="22" y="27"/>
                </a:cubicBezTo>
                <a:cubicBezTo>
                  <a:pt x="23" y="27"/>
                  <a:pt x="24" y="28"/>
                  <a:pt x="24" y="28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29"/>
                  <a:pt x="24" y="30"/>
                  <a:pt x="25" y="31"/>
                </a:cubicBezTo>
                <a:cubicBezTo>
                  <a:pt x="26" y="31"/>
                  <a:pt x="26" y="32"/>
                  <a:pt x="26" y="33"/>
                </a:cubicBezTo>
                <a:cubicBezTo>
                  <a:pt x="27" y="33"/>
                  <a:pt x="26" y="34"/>
                  <a:pt x="26" y="3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8" name="Freeform 74"/>
          <p:cNvSpPr>
            <a:spLocks/>
          </p:cNvSpPr>
          <p:nvPr/>
        </p:nvSpPr>
        <p:spPr bwMode="auto">
          <a:xfrm>
            <a:off x="3916487" y="2125663"/>
            <a:ext cx="990600" cy="457200"/>
          </a:xfrm>
          <a:custGeom>
            <a:avLst/>
            <a:gdLst>
              <a:gd name="T0" fmla="*/ 2 w 104"/>
              <a:gd name="T1" fmla="*/ 40 h 48"/>
              <a:gd name="T2" fmla="*/ 5 w 104"/>
              <a:gd name="T3" fmla="*/ 38 h 48"/>
              <a:gd name="T4" fmla="*/ 13 w 104"/>
              <a:gd name="T5" fmla="*/ 34 h 48"/>
              <a:gd name="T6" fmla="*/ 22 w 104"/>
              <a:gd name="T7" fmla="*/ 33 h 48"/>
              <a:gd name="T8" fmla="*/ 27 w 104"/>
              <a:gd name="T9" fmla="*/ 34 h 48"/>
              <a:gd name="T10" fmla="*/ 30 w 104"/>
              <a:gd name="T11" fmla="*/ 35 h 48"/>
              <a:gd name="T12" fmla="*/ 37 w 104"/>
              <a:gd name="T13" fmla="*/ 34 h 48"/>
              <a:gd name="T14" fmla="*/ 44 w 104"/>
              <a:gd name="T15" fmla="*/ 36 h 48"/>
              <a:gd name="T16" fmla="*/ 48 w 104"/>
              <a:gd name="T17" fmla="*/ 36 h 48"/>
              <a:gd name="T18" fmla="*/ 50 w 104"/>
              <a:gd name="T19" fmla="*/ 36 h 48"/>
              <a:gd name="T20" fmla="*/ 51 w 104"/>
              <a:gd name="T21" fmla="*/ 36 h 48"/>
              <a:gd name="T22" fmla="*/ 58 w 104"/>
              <a:gd name="T23" fmla="*/ 32 h 48"/>
              <a:gd name="T24" fmla="*/ 59 w 104"/>
              <a:gd name="T25" fmla="*/ 35 h 48"/>
              <a:gd name="T26" fmla="*/ 64 w 104"/>
              <a:gd name="T27" fmla="*/ 38 h 48"/>
              <a:gd name="T28" fmla="*/ 74 w 104"/>
              <a:gd name="T29" fmla="*/ 43 h 48"/>
              <a:gd name="T30" fmla="*/ 77 w 104"/>
              <a:gd name="T31" fmla="*/ 45 h 48"/>
              <a:gd name="T32" fmla="*/ 77 w 104"/>
              <a:gd name="T33" fmla="*/ 46 h 48"/>
              <a:gd name="T34" fmla="*/ 83 w 104"/>
              <a:gd name="T35" fmla="*/ 48 h 48"/>
              <a:gd name="T36" fmla="*/ 85 w 104"/>
              <a:gd name="T37" fmla="*/ 47 h 48"/>
              <a:gd name="T38" fmla="*/ 95 w 104"/>
              <a:gd name="T39" fmla="*/ 46 h 48"/>
              <a:gd name="T40" fmla="*/ 96 w 104"/>
              <a:gd name="T41" fmla="*/ 42 h 48"/>
              <a:gd name="T42" fmla="*/ 98 w 104"/>
              <a:gd name="T43" fmla="*/ 40 h 48"/>
              <a:gd name="T44" fmla="*/ 103 w 104"/>
              <a:gd name="T45" fmla="*/ 38 h 48"/>
              <a:gd name="T46" fmla="*/ 104 w 104"/>
              <a:gd name="T47" fmla="*/ 36 h 48"/>
              <a:gd name="T48" fmla="*/ 100 w 104"/>
              <a:gd name="T49" fmla="*/ 26 h 48"/>
              <a:gd name="T50" fmla="*/ 96 w 104"/>
              <a:gd name="T51" fmla="*/ 25 h 48"/>
              <a:gd name="T52" fmla="*/ 97 w 104"/>
              <a:gd name="T53" fmla="*/ 23 h 48"/>
              <a:gd name="T54" fmla="*/ 97 w 104"/>
              <a:gd name="T55" fmla="*/ 21 h 48"/>
              <a:gd name="T56" fmla="*/ 98 w 104"/>
              <a:gd name="T57" fmla="*/ 17 h 48"/>
              <a:gd name="T58" fmla="*/ 94 w 104"/>
              <a:gd name="T59" fmla="*/ 13 h 48"/>
              <a:gd name="T60" fmla="*/ 92 w 104"/>
              <a:gd name="T61" fmla="*/ 11 h 48"/>
              <a:gd name="T62" fmla="*/ 83 w 104"/>
              <a:gd name="T63" fmla="*/ 11 h 48"/>
              <a:gd name="T64" fmla="*/ 77 w 104"/>
              <a:gd name="T65" fmla="*/ 10 h 48"/>
              <a:gd name="T66" fmla="*/ 68 w 104"/>
              <a:gd name="T67" fmla="*/ 3 h 48"/>
              <a:gd name="T68" fmla="*/ 68 w 104"/>
              <a:gd name="T69" fmla="*/ 3 h 48"/>
              <a:gd name="T70" fmla="*/ 63 w 104"/>
              <a:gd name="T71" fmla="*/ 3 h 48"/>
              <a:gd name="T72" fmla="*/ 59 w 104"/>
              <a:gd name="T73" fmla="*/ 1 h 48"/>
              <a:gd name="T74" fmla="*/ 54 w 104"/>
              <a:gd name="T75" fmla="*/ 3 h 48"/>
              <a:gd name="T76" fmla="*/ 48 w 104"/>
              <a:gd name="T77" fmla="*/ 7 h 48"/>
              <a:gd name="T78" fmla="*/ 45 w 104"/>
              <a:gd name="T79" fmla="*/ 20 h 48"/>
              <a:gd name="T80" fmla="*/ 35 w 104"/>
              <a:gd name="T81" fmla="*/ 21 h 48"/>
              <a:gd name="T82" fmla="*/ 30 w 104"/>
              <a:gd name="T83" fmla="*/ 13 h 48"/>
              <a:gd name="T84" fmla="*/ 13 w 104"/>
              <a:gd name="T85" fmla="*/ 10 h 48"/>
              <a:gd name="T86" fmla="*/ 7 w 104"/>
              <a:gd name="T87" fmla="*/ 21 h 48"/>
              <a:gd name="T88" fmla="*/ 2 w 104"/>
              <a:gd name="T89" fmla="*/ 32 h 48"/>
              <a:gd name="T90" fmla="*/ 2 w 104"/>
              <a:gd name="T91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4" h="48">
                <a:moveTo>
                  <a:pt x="2" y="40"/>
                </a:moveTo>
                <a:cubicBezTo>
                  <a:pt x="2" y="40"/>
                  <a:pt x="2" y="40"/>
                  <a:pt x="2" y="40"/>
                </a:cubicBezTo>
                <a:cubicBezTo>
                  <a:pt x="3" y="40"/>
                  <a:pt x="3" y="39"/>
                  <a:pt x="4" y="39"/>
                </a:cubicBezTo>
                <a:cubicBezTo>
                  <a:pt x="5" y="38"/>
                  <a:pt x="5" y="38"/>
                  <a:pt x="5" y="38"/>
                </a:cubicBezTo>
                <a:cubicBezTo>
                  <a:pt x="6" y="37"/>
                  <a:pt x="6" y="36"/>
                  <a:pt x="8" y="36"/>
                </a:cubicBezTo>
                <a:cubicBezTo>
                  <a:pt x="9" y="35"/>
                  <a:pt x="11" y="35"/>
                  <a:pt x="13" y="34"/>
                </a:cubicBezTo>
                <a:cubicBezTo>
                  <a:pt x="15" y="34"/>
                  <a:pt x="17" y="33"/>
                  <a:pt x="18" y="33"/>
                </a:cubicBezTo>
                <a:cubicBezTo>
                  <a:pt x="19" y="33"/>
                  <a:pt x="21" y="33"/>
                  <a:pt x="22" y="33"/>
                </a:cubicBezTo>
                <a:cubicBezTo>
                  <a:pt x="23" y="33"/>
                  <a:pt x="25" y="33"/>
                  <a:pt x="25" y="34"/>
                </a:cubicBezTo>
                <a:cubicBezTo>
                  <a:pt x="26" y="35"/>
                  <a:pt x="27" y="34"/>
                  <a:pt x="27" y="34"/>
                </a:cubicBezTo>
                <a:cubicBezTo>
                  <a:pt x="28" y="34"/>
                  <a:pt x="28" y="34"/>
                  <a:pt x="29" y="34"/>
                </a:cubicBezTo>
                <a:cubicBezTo>
                  <a:pt x="29" y="34"/>
                  <a:pt x="30" y="35"/>
                  <a:pt x="30" y="35"/>
                </a:cubicBezTo>
                <a:cubicBezTo>
                  <a:pt x="31" y="35"/>
                  <a:pt x="31" y="36"/>
                  <a:pt x="31" y="36"/>
                </a:cubicBezTo>
                <a:cubicBezTo>
                  <a:pt x="32" y="35"/>
                  <a:pt x="34" y="35"/>
                  <a:pt x="37" y="34"/>
                </a:cubicBezTo>
                <a:cubicBezTo>
                  <a:pt x="38" y="34"/>
                  <a:pt x="40" y="34"/>
                  <a:pt x="41" y="34"/>
                </a:cubicBezTo>
                <a:cubicBezTo>
                  <a:pt x="42" y="34"/>
                  <a:pt x="43" y="35"/>
                  <a:pt x="44" y="36"/>
                </a:cubicBezTo>
                <a:cubicBezTo>
                  <a:pt x="45" y="36"/>
                  <a:pt x="45" y="37"/>
                  <a:pt x="46" y="36"/>
                </a:cubicBezTo>
                <a:cubicBezTo>
                  <a:pt x="47" y="36"/>
                  <a:pt x="47" y="36"/>
                  <a:pt x="48" y="36"/>
                </a:cubicBezTo>
                <a:cubicBezTo>
                  <a:pt x="48" y="35"/>
                  <a:pt x="49" y="35"/>
                  <a:pt x="49" y="35"/>
                </a:cubicBezTo>
                <a:cubicBezTo>
                  <a:pt x="50" y="36"/>
                  <a:pt x="50" y="36"/>
                  <a:pt x="50" y="36"/>
                </a:cubicBezTo>
                <a:cubicBezTo>
                  <a:pt x="50" y="36"/>
                  <a:pt x="50" y="36"/>
                  <a:pt x="50" y="36"/>
                </a:cubicBezTo>
                <a:cubicBezTo>
                  <a:pt x="51" y="36"/>
                  <a:pt x="51" y="37"/>
                  <a:pt x="51" y="36"/>
                </a:cubicBezTo>
                <a:cubicBezTo>
                  <a:pt x="52" y="36"/>
                  <a:pt x="53" y="35"/>
                  <a:pt x="54" y="35"/>
                </a:cubicBezTo>
                <a:cubicBezTo>
                  <a:pt x="55" y="33"/>
                  <a:pt x="56" y="32"/>
                  <a:pt x="58" y="32"/>
                </a:cubicBezTo>
                <a:cubicBezTo>
                  <a:pt x="58" y="32"/>
                  <a:pt x="58" y="32"/>
                  <a:pt x="58" y="32"/>
                </a:cubicBezTo>
                <a:cubicBezTo>
                  <a:pt x="58" y="33"/>
                  <a:pt x="58" y="34"/>
                  <a:pt x="59" y="35"/>
                </a:cubicBezTo>
                <a:cubicBezTo>
                  <a:pt x="59" y="36"/>
                  <a:pt x="59" y="37"/>
                  <a:pt x="61" y="37"/>
                </a:cubicBezTo>
                <a:cubicBezTo>
                  <a:pt x="62" y="38"/>
                  <a:pt x="63" y="38"/>
                  <a:pt x="64" y="38"/>
                </a:cubicBezTo>
                <a:cubicBezTo>
                  <a:pt x="66" y="38"/>
                  <a:pt x="68" y="38"/>
                  <a:pt x="68" y="38"/>
                </a:cubicBezTo>
                <a:cubicBezTo>
                  <a:pt x="69" y="39"/>
                  <a:pt x="72" y="41"/>
                  <a:pt x="74" y="43"/>
                </a:cubicBezTo>
                <a:cubicBezTo>
                  <a:pt x="75" y="44"/>
                  <a:pt x="76" y="45"/>
                  <a:pt x="77" y="45"/>
                </a:cubicBezTo>
                <a:cubicBezTo>
                  <a:pt x="77" y="45"/>
                  <a:pt x="77" y="45"/>
                  <a:pt x="77" y="45"/>
                </a:cubicBezTo>
                <a:cubicBezTo>
                  <a:pt x="77" y="46"/>
                  <a:pt x="77" y="46"/>
                  <a:pt x="77" y="46"/>
                </a:cubicBezTo>
                <a:cubicBezTo>
                  <a:pt x="77" y="46"/>
                  <a:pt x="77" y="46"/>
                  <a:pt x="77" y="46"/>
                </a:cubicBezTo>
                <a:cubicBezTo>
                  <a:pt x="78" y="47"/>
                  <a:pt x="79" y="48"/>
                  <a:pt x="81" y="48"/>
                </a:cubicBezTo>
                <a:cubicBezTo>
                  <a:pt x="82" y="48"/>
                  <a:pt x="82" y="48"/>
                  <a:pt x="83" y="48"/>
                </a:cubicBezTo>
                <a:cubicBezTo>
                  <a:pt x="83" y="48"/>
                  <a:pt x="83" y="48"/>
                  <a:pt x="83" y="48"/>
                </a:cubicBezTo>
                <a:cubicBezTo>
                  <a:pt x="83" y="48"/>
                  <a:pt x="84" y="48"/>
                  <a:pt x="85" y="47"/>
                </a:cubicBezTo>
                <a:cubicBezTo>
                  <a:pt x="86" y="46"/>
                  <a:pt x="89" y="46"/>
                  <a:pt x="91" y="46"/>
                </a:cubicBezTo>
                <a:cubicBezTo>
                  <a:pt x="93" y="46"/>
                  <a:pt x="95" y="46"/>
                  <a:pt x="95" y="46"/>
                </a:cubicBezTo>
                <a:cubicBezTo>
                  <a:pt x="95" y="45"/>
                  <a:pt x="96" y="45"/>
                  <a:pt x="96" y="44"/>
                </a:cubicBezTo>
                <a:cubicBezTo>
                  <a:pt x="96" y="44"/>
                  <a:pt x="96" y="43"/>
                  <a:pt x="96" y="42"/>
                </a:cubicBezTo>
                <a:cubicBezTo>
                  <a:pt x="96" y="42"/>
                  <a:pt x="96" y="42"/>
                  <a:pt x="96" y="42"/>
                </a:cubicBezTo>
                <a:cubicBezTo>
                  <a:pt x="97" y="42"/>
                  <a:pt x="98" y="41"/>
                  <a:pt x="98" y="40"/>
                </a:cubicBezTo>
                <a:cubicBezTo>
                  <a:pt x="99" y="40"/>
                  <a:pt x="100" y="39"/>
                  <a:pt x="100" y="39"/>
                </a:cubicBezTo>
                <a:cubicBezTo>
                  <a:pt x="101" y="39"/>
                  <a:pt x="102" y="39"/>
                  <a:pt x="103" y="38"/>
                </a:cubicBezTo>
                <a:cubicBezTo>
                  <a:pt x="103" y="38"/>
                  <a:pt x="103" y="37"/>
                  <a:pt x="103" y="37"/>
                </a:cubicBezTo>
                <a:cubicBezTo>
                  <a:pt x="103" y="37"/>
                  <a:pt x="104" y="36"/>
                  <a:pt x="104" y="36"/>
                </a:cubicBezTo>
                <a:cubicBezTo>
                  <a:pt x="104" y="36"/>
                  <a:pt x="103" y="34"/>
                  <a:pt x="102" y="32"/>
                </a:cubicBezTo>
                <a:cubicBezTo>
                  <a:pt x="101" y="29"/>
                  <a:pt x="100" y="27"/>
                  <a:pt x="100" y="26"/>
                </a:cubicBezTo>
                <a:cubicBezTo>
                  <a:pt x="100" y="26"/>
                  <a:pt x="99" y="26"/>
                  <a:pt x="98" y="26"/>
                </a:cubicBezTo>
                <a:cubicBezTo>
                  <a:pt x="97" y="26"/>
                  <a:pt x="97" y="26"/>
                  <a:pt x="96" y="25"/>
                </a:cubicBezTo>
                <a:cubicBezTo>
                  <a:pt x="96" y="25"/>
                  <a:pt x="96" y="25"/>
                  <a:pt x="96" y="25"/>
                </a:cubicBezTo>
                <a:cubicBezTo>
                  <a:pt x="95" y="25"/>
                  <a:pt x="96" y="24"/>
                  <a:pt x="97" y="23"/>
                </a:cubicBezTo>
                <a:cubicBezTo>
                  <a:pt x="97" y="22"/>
                  <a:pt x="97" y="22"/>
                  <a:pt x="97" y="22"/>
                </a:cubicBezTo>
                <a:cubicBezTo>
                  <a:pt x="97" y="22"/>
                  <a:pt x="97" y="21"/>
                  <a:pt x="97" y="21"/>
                </a:cubicBezTo>
                <a:cubicBezTo>
                  <a:pt x="97" y="21"/>
                  <a:pt x="97" y="20"/>
                  <a:pt x="97" y="20"/>
                </a:cubicBezTo>
                <a:cubicBezTo>
                  <a:pt x="97" y="19"/>
                  <a:pt x="97" y="18"/>
                  <a:pt x="98" y="17"/>
                </a:cubicBezTo>
                <a:cubicBezTo>
                  <a:pt x="98" y="16"/>
                  <a:pt x="98" y="16"/>
                  <a:pt x="98" y="15"/>
                </a:cubicBezTo>
                <a:cubicBezTo>
                  <a:pt x="98" y="15"/>
                  <a:pt x="96" y="14"/>
                  <a:pt x="94" y="13"/>
                </a:cubicBezTo>
                <a:cubicBezTo>
                  <a:pt x="93" y="12"/>
                  <a:pt x="92" y="12"/>
                  <a:pt x="92" y="12"/>
                </a:cubicBezTo>
                <a:cubicBezTo>
                  <a:pt x="92" y="11"/>
                  <a:pt x="92" y="11"/>
                  <a:pt x="92" y="11"/>
                </a:cubicBezTo>
                <a:cubicBezTo>
                  <a:pt x="90" y="11"/>
                  <a:pt x="86" y="10"/>
                  <a:pt x="85" y="10"/>
                </a:cubicBezTo>
                <a:cubicBezTo>
                  <a:pt x="84" y="10"/>
                  <a:pt x="84" y="11"/>
                  <a:pt x="83" y="11"/>
                </a:cubicBezTo>
                <a:cubicBezTo>
                  <a:pt x="82" y="11"/>
                  <a:pt x="82" y="12"/>
                  <a:pt x="81" y="12"/>
                </a:cubicBezTo>
                <a:cubicBezTo>
                  <a:pt x="80" y="12"/>
                  <a:pt x="79" y="12"/>
                  <a:pt x="77" y="10"/>
                </a:cubicBezTo>
                <a:cubicBezTo>
                  <a:pt x="75" y="9"/>
                  <a:pt x="73" y="6"/>
                  <a:pt x="73" y="5"/>
                </a:cubicBezTo>
                <a:cubicBezTo>
                  <a:pt x="72" y="5"/>
                  <a:pt x="69" y="4"/>
                  <a:pt x="68" y="3"/>
                </a:cubicBezTo>
                <a:cubicBezTo>
                  <a:pt x="68" y="3"/>
                  <a:pt x="68" y="3"/>
                  <a:pt x="68" y="3"/>
                </a:cubicBezTo>
                <a:cubicBezTo>
                  <a:pt x="68" y="3"/>
                  <a:pt x="68" y="3"/>
                  <a:pt x="68" y="3"/>
                </a:cubicBezTo>
                <a:cubicBezTo>
                  <a:pt x="67" y="3"/>
                  <a:pt x="67" y="3"/>
                  <a:pt x="66" y="3"/>
                </a:cubicBezTo>
                <a:cubicBezTo>
                  <a:pt x="65" y="3"/>
                  <a:pt x="64" y="3"/>
                  <a:pt x="63" y="3"/>
                </a:cubicBezTo>
                <a:cubicBezTo>
                  <a:pt x="62" y="3"/>
                  <a:pt x="61" y="2"/>
                  <a:pt x="60" y="1"/>
                </a:cubicBezTo>
                <a:cubicBezTo>
                  <a:pt x="60" y="1"/>
                  <a:pt x="60" y="1"/>
                  <a:pt x="59" y="1"/>
                </a:cubicBezTo>
                <a:cubicBezTo>
                  <a:pt x="58" y="0"/>
                  <a:pt x="57" y="1"/>
                  <a:pt x="55" y="2"/>
                </a:cubicBezTo>
                <a:cubicBezTo>
                  <a:pt x="55" y="2"/>
                  <a:pt x="54" y="3"/>
                  <a:pt x="54" y="3"/>
                </a:cubicBezTo>
                <a:cubicBezTo>
                  <a:pt x="53" y="3"/>
                  <a:pt x="51" y="4"/>
                  <a:pt x="49" y="4"/>
                </a:cubicBezTo>
                <a:cubicBezTo>
                  <a:pt x="48" y="5"/>
                  <a:pt x="48" y="6"/>
                  <a:pt x="48" y="7"/>
                </a:cubicBezTo>
                <a:cubicBezTo>
                  <a:pt x="48" y="9"/>
                  <a:pt x="50" y="13"/>
                  <a:pt x="50" y="15"/>
                </a:cubicBezTo>
                <a:cubicBezTo>
                  <a:pt x="50" y="16"/>
                  <a:pt x="47" y="20"/>
                  <a:pt x="45" y="20"/>
                </a:cubicBezTo>
                <a:cubicBezTo>
                  <a:pt x="44" y="21"/>
                  <a:pt x="43" y="22"/>
                  <a:pt x="42" y="22"/>
                </a:cubicBezTo>
                <a:cubicBezTo>
                  <a:pt x="40" y="23"/>
                  <a:pt x="37" y="22"/>
                  <a:pt x="35" y="21"/>
                </a:cubicBezTo>
                <a:cubicBezTo>
                  <a:pt x="34" y="20"/>
                  <a:pt x="33" y="17"/>
                  <a:pt x="33" y="15"/>
                </a:cubicBezTo>
                <a:cubicBezTo>
                  <a:pt x="32" y="14"/>
                  <a:pt x="31" y="14"/>
                  <a:pt x="30" y="13"/>
                </a:cubicBezTo>
                <a:cubicBezTo>
                  <a:pt x="28" y="12"/>
                  <a:pt x="25" y="9"/>
                  <a:pt x="23" y="8"/>
                </a:cubicBezTo>
                <a:cubicBezTo>
                  <a:pt x="21" y="8"/>
                  <a:pt x="14" y="9"/>
                  <a:pt x="13" y="10"/>
                </a:cubicBezTo>
                <a:cubicBezTo>
                  <a:pt x="11" y="10"/>
                  <a:pt x="9" y="14"/>
                  <a:pt x="7" y="15"/>
                </a:cubicBezTo>
                <a:cubicBezTo>
                  <a:pt x="6" y="16"/>
                  <a:pt x="7" y="19"/>
                  <a:pt x="7" y="21"/>
                </a:cubicBezTo>
                <a:cubicBezTo>
                  <a:pt x="8" y="23"/>
                  <a:pt x="3" y="24"/>
                  <a:pt x="2" y="26"/>
                </a:cubicBezTo>
                <a:cubicBezTo>
                  <a:pt x="0" y="27"/>
                  <a:pt x="2" y="30"/>
                  <a:pt x="2" y="32"/>
                </a:cubicBezTo>
                <a:cubicBezTo>
                  <a:pt x="2" y="33"/>
                  <a:pt x="2" y="34"/>
                  <a:pt x="1" y="36"/>
                </a:cubicBezTo>
                <a:cubicBezTo>
                  <a:pt x="0" y="39"/>
                  <a:pt x="2" y="38"/>
                  <a:pt x="2" y="4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99" name="Freeform 75"/>
          <p:cNvSpPr>
            <a:spLocks/>
          </p:cNvSpPr>
          <p:nvPr/>
        </p:nvSpPr>
        <p:spPr bwMode="auto">
          <a:xfrm>
            <a:off x="4040312" y="1916113"/>
            <a:ext cx="142875" cy="66675"/>
          </a:xfrm>
          <a:custGeom>
            <a:avLst/>
            <a:gdLst>
              <a:gd name="T0" fmla="*/ 2 w 15"/>
              <a:gd name="T1" fmla="*/ 3 h 7"/>
              <a:gd name="T2" fmla="*/ 8 w 15"/>
              <a:gd name="T3" fmla="*/ 4 h 7"/>
              <a:gd name="T4" fmla="*/ 9 w 15"/>
              <a:gd name="T5" fmla="*/ 7 h 7"/>
              <a:gd name="T6" fmla="*/ 13 w 15"/>
              <a:gd name="T7" fmla="*/ 6 h 7"/>
              <a:gd name="T8" fmla="*/ 15 w 15"/>
              <a:gd name="T9" fmla="*/ 4 h 7"/>
              <a:gd name="T10" fmla="*/ 13 w 15"/>
              <a:gd name="T11" fmla="*/ 2 h 7"/>
              <a:gd name="T12" fmla="*/ 7 w 15"/>
              <a:gd name="T13" fmla="*/ 2 h 7"/>
              <a:gd name="T14" fmla="*/ 2 w 15"/>
              <a:gd name="T1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" h="7">
                <a:moveTo>
                  <a:pt x="2" y="3"/>
                </a:moveTo>
                <a:cubicBezTo>
                  <a:pt x="5" y="4"/>
                  <a:pt x="7" y="2"/>
                  <a:pt x="8" y="4"/>
                </a:cubicBezTo>
                <a:cubicBezTo>
                  <a:pt x="8" y="7"/>
                  <a:pt x="7" y="7"/>
                  <a:pt x="9" y="7"/>
                </a:cubicBezTo>
                <a:cubicBezTo>
                  <a:pt x="10" y="7"/>
                  <a:pt x="12" y="7"/>
                  <a:pt x="13" y="6"/>
                </a:cubicBezTo>
                <a:cubicBezTo>
                  <a:pt x="14" y="5"/>
                  <a:pt x="15" y="5"/>
                  <a:pt x="15" y="4"/>
                </a:cubicBezTo>
                <a:cubicBezTo>
                  <a:pt x="15" y="4"/>
                  <a:pt x="14" y="3"/>
                  <a:pt x="13" y="2"/>
                </a:cubicBezTo>
                <a:cubicBezTo>
                  <a:pt x="12" y="0"/>
                  <a:pt x="11" y="1"/>
                  <a:pt x="7" y="2"/>
                </a:cubicBezTo>
                <a:cubicBezTo>
                  <a:pt x="4" y="3"/>
                  <a:pt x="0" y="1"/>
                  <a:pt x="2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0" name="Freeform 76"/>
          <p:cNvSpPr>
            <a:spLocks/>
          </p:cNvSpPr>
          <p:nvPr/>
        </p:nvSpPr>
        <p:spPr bwMode="auto">
          <a:xfrm>
            <a:off x="4249862" y="1792288"/>
            <a:ext cx="647700" cy="438150"/>
          </a:xfrm>
          <a:custGeom>
            <a:avLst/>
            <a:gdLst>
              <a:gd name="T0" fmla="*/ 3 w 68"/>
              <a:gd name="T1" fmla="*/ 14 h 46"/>
              <a:gd name="T2" fmla="*/ 2 w 68"/>
              <a:gd name="T3" fmla="*/ 17 h 46"/>
              <a:gd name="T4" fmla="*/ 7 w 68"/>
              <a:gd name="T5" fmla="*/ 20 h 46"/>
              <a:gd name="T6" fmla="*/ 2 w 68"/>
              <a:gd name="T7" fmla="*/ 24 h 46"/>
              <a:gd name="T8" fmla="*/ 9 w 68"/>
              <a:gd name="T9" fmla="*/ 29 h 46"/>
              <a:gd name="T10" fmla="*/ 15 w 68"/>
              <a:gd name="T11" fmla="*/ 28 h 46"/>
              <a:gd name="T12" fmla="*/ 14 w 68"/>
              <a:gd name="T13" fmla="*/ 37 h 46"/>
              <a:gd name="T14" fmla="*/ 19 w 68"/>
              <a:gd name="T15" fmla="*/ 36 h 46"/>
              <a:gd name="T16" fmla="*/ 25 w 68"/>
              <a:gd name="T17" fmla="*/ 35 h 46"/>
              <a:gd name="T18" fmla="*/ 28 w 68"/>
              <a:gd name="T19" fmla="*/ 36 h 46"/>
              <a:gd name="T20" fmla="*/ 31 w 68"/>
              <a:gd name="T21" fmla="*/ 36 h 46"/>
              <a:gd name="T22" fmla="*/ 33 w 68"/>
              <a:gd name="T23" fmla="*/ 37 h 46"/>
              <a:gd name="T24" fmla="*/ 39 w 68"/>
              <a:gd name="T25" fmla="*/ 40 h 46"/>
              <a:gd name="T26" fmla="*/ 46 w 68"/>
              <a:gd name="T27" fmla="*/ 46 h 46"/>
              <a:gd name="T28" fmla="*/ 50 w 68"/>
              <a:gd name="T29" fmla="*/ 44 h 46"/>
              <a:gd name="T30" fmla="*/ 57 w 68"/>
              <a:gd name="T31" fmla="*/ 43 h 46"/>
              <a:gd name="T32" fmla="*/ 59 w 68"/>
              <a:gd name="T33" fmla="*/ 41 h 46"/>
              <a:gd name="T34" fmla="*/ 62 w 68"/>
              <a:gd name="T35" fmla="*/ 39 h 46"/>
              <a:gd name="T36" fmla="*/ 61 w 68"/>
              <a:gd name="T37" fmla="*/ 35 h 46"/>
              <a:gd name="T38" fmla="*/ 58 w 68"/>
              <a:gd name="T39" fmla="*/ 20 h 46"/>
              <a:gd name="T40" fmla="*/ 58 w 68"/>
              <a:gd name="T41" fmla="*/ 20 h 46"/>
              <a:gd name="T42" fmla="*/ 61 w 68"/>
              <a:gd name="T43" fmla="*/ 16 h 46"/>
              <a:gd name="T44" fmla="*/ 62 w 68"/>
              <a:gd name="T45" fmla="*/ 14 h 46"/>
              <a:gd name="T46" fmla="*/ 64 w 68"/>
              <a:gd name="T47" fmla="*/ 11 h 46"/>
              <a:gd name="T48" fmla="*/ 68 w 68"/>
              <a:gd name="T49" fmla="*/ 7 h 46"/>
              <a:gd name="T50" fmla="*/ 67 w 68"/>
              <a:gd name="T51" fmla="*/ 5 h 46"/>
              <a:gd name="T52" fmla="*/ 57 w 68"/>
              <a:gd name="T53" fmla="*/ 5 h 46"/>
              <a:gd name="T54" fmla="*/ 48 w 68"/>
              <a:gd name="T55" fmla="*/ 4 h 46"/>
              <a:gd name="T56" fmla="*/ 33 w 68"/>
              <a:gd name="T57" fmla="*/ 2 h 46"/>
              <a:gd name="T58" fmla="*/ 30 w 68"/>
              <a:gd name="T59" fmla="*/ 4 h 46"/>
              <a:gd name="T60" fmla="*/ 19 w 68"/>
              <a:gd name="T61" fmla="*/ 5 h 46"/>
              <a:gd name="T62" fmla="*/ 11 w 68"/>
              <a:gd name="T63" fmla="*/ 8 h 46"/>
              <a:gd name="T64" fmla="*/ 2 w 68"/>
              <a:gd name="T65" fmla="*/ 1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8" h="46">
                <a:moveTo>
                  <a:pt x="2" y="13"/>
                </a:moveTo>
                <a:cubicBezTo>
                  <a:pt x="1" y="14"/>
                  <a:pt x="2" y="14"/>
                  <a:pt x="3" y="14"/>
                </a:cubicBezTo>
                <a:cubicBezTo>
                  <a:pt x="3" y="14"/>
                  <a:pt x="4" y="14"/>
                  <a:pt x="4" y="16"/>
                </a:cubicBezTo>
                <a:cubicBezTo>
                  <a:pt x="4" y="17"/>
                  <a:pt x="3" y="16"/>
                  <a:pt x="2" y="17"/>
                </a:cubicBezTo>
                <a:cubicBezTo>
                  <a:pt x="1" y="18"/>
                  <a:pt x="2" y="19"/>
                  <a:pt x="3" y="19"/>
                </a:cubicBezTo>
                <a:cubicBezTo>
                  <a:pt x="4" y="19"/>
                  <a:pt x="7" y="19"/>
                  <a:pt x="7" y="20"/>
                </a:cubicBezTo>
                <a:cubicBezTo>
                  <a:pt x="8" y="21"/>
                  <a:pt x="5" y="20"/>
                  <a:pt x="3" y="21"/>
                </a:cubicBezTo>
                <a:cubicBezTo>
                  <a:pt x="0" y="21"/>
                  <a:pt x="2" y="22"/>
                  <a:pt x="2" y="24"/>
                </a:cubicBezTo>
                <a:cubicBezTo>
                  <a:pt x="2" y="25"/>
                  <a:pt x="4" y="27"/>
                  <a:pt x="6" y="28"/>
                </a:cubicBezTo>
                <a:cubicBezTo>
                  <a:pt x="7" y="30"/>
                  <a:pt x="7" y="29"/>
                  <a:pt x="9" y="29"/>
                </a:cubicBezTo>
                <a:cubicBezTo>
                  <a:pt x="10" y="29"/>
                  <a:pt x="11" y="30"/>
                  <a:pt x="12" y="30"/>
                </a:cubicBezTo>
                <a:cubicBezTo>
                  <a:pt x="14" y="30"/>
                  <a:pt x="15" y="29"/>
                  <a:pt x="15" y="28"/>
                </a:cubicBezTo>
                <a:cubicBezTo>
                  <a:pt x="16" y="28"/>
                  <a:pt x="17" y="28"/>
                  <a:pt x="17" y="29"/>
                </a:cubicBezTo>
                <a:cubicBezTo>
                  <a:pt x="16" y="30"/>
                  <a:pt x="15" y="35"/>
                  <a:pt x="14" y="37"/>
                </a:cubicBezTo>
                <a:cubicBezTo>
                  <a:pt x="14" y="37"/>
                  <a:pt x="14" y="37"/>
                  <a:pt x="14" y="38"/>
                </a:cubicBezTo>
                <a:cubicBezTo>
                  <a:pt x="16" y="37"/>
                  <a:pt x="18" y="37"/>
                  <a:pt x="19" y="36"/>
                </a:cubicBezTo>
                <a:cubicBezTo>
                  <a:pt x="19" y="36"/>
                  <a:pt x="19" y="36"/>
                  <a:pt x="19" y="36"/>
                </a:cubicBezTo>
                <a:cubicBezTo>
                  <a:pt x="21" y="35"/>
                  <a:pt x="23" y="34"/>
                  <a:pt x="25" y="35"/>
                </a:cubicBezTo>
                <a:cubicBezTo>
                  <a:pt x="25" y="35"/>
                  <a:pt x="26" y="35"/>
                  <a:pt x="26" y="35"/>
                </a:cubicBezTo>
                <a:cubicBezTo>
                  <a:pt x="27" y="36"/>
                  <a:pt x="27" y="36"/>
                  <a:pt x="28" y="36"/>
                </a:cubicBezTo>
                <a:cubicBezTo>
                  <a:pt x="28" y="36"/>
                  <a:pt x="28" y="36"/>
                  <a:pt x="28" y="36"/>
                </a:cubicBezTo>
                <a:cubicBezTo>
                  <a:pt x="29" y="36"/>
                  <a:pt x="30" y="36"/>
                  <a:pt x="31" y="36"/>
                </a:cubicBezTo>
                <a:cubicBezTo>
                  <a:pt x="32" y="36"/>
                  <a:pt x="32" y="36"/>
                  <a:pt x="33" y="37"/>
                </a:cubicBezTo>
                <a:cubicBezTo>
                  <a:pt x="33" y="37"/>
                  <a:pt x="33" y="37"/>
                  <a:pt x="33" y="37"/>
                </a:cubicBezTo>
                <a:cubicBezTo>
                  <a:pt x="33" y="37"/>
                  <a:pt x="33" y="37"/>
                  <a:pt x="33" y="37"/>
                </a:cubicBezTo>
                <a:cubicBezTo>
                  <a:pt x="35" y="37"/>
                  <a:pt x="38" y="38"/>
                  <a:pt x="39" y="40"/>
                </a:cubicBezTo>
                <a:cubicBezTo>
                  <a:pt x="39" y="40"/>
                  <a:pt x="41" y="43"/>
                  <a:pt x="43" y="44"/>
                </a:cubicBezTo>
                <a:cubicBezTo>
                  <a:pt x="44" y="45"/>
                  <a:pt x="45" y="46"/>
                  <a:pt x="46" y="46"/>
                </a:cubicBezTo>
                <a:cubicBezTo>
                  <a:pt x="46" y="45"/>
                  <a:pt x="47" y="45"/>
                  <a:pt x="47" y="45"/>
                </a:cubicBezTo>
                <a:cubicBezTo>
                  <a:pt x="48" y="44"/>
                  <a:pt x="49" y="44"/>
                  <a:pt x="50" y="44"/>
                </a:cubicBezTo>
                <a:cubicBezTo>
                  <a:pt x="51" y="44"/>
                  <a:pt x="55" y="44"/>
                  <a:pt x="57" y="45"/>
                </a:cubicBezTo>
                <a:cubicBezTo>
                  <a:pt x="57" y="44"/>
                  <a:pt x="57" y="43"/>
                  <a:pt x="57" y="43"/>
                </a:cubicBezTo>
                <a:cubicBezTo>
                  <a:pt x="58" y="42"/>
                  <a:pt x="58" y="41"/>
                  <a:pt x="59" y="41"/>
                </a:cubicBezTo>
                <a:cubicBezTo>
                  <a:pt x="59" y="41"/>
                  <a:pt x="59" y="41"/>
                  <a:pt x="59" y="41"/>
                </a:cubicBezTo>
                <a:cubicBezTo>
                  <a:pt x="59" y="40"/>
                  <a:pt x="60" y="40"/>
                  <a:pt x="60" y="39"/>
                </a:cubicBezTo>
                <a:cubicBezTo>
                  <a:pt x="61" y="39"/>
                  <a:pt x="61" y="39"/>
                  <a:pt x="62" y="39"/>
                </a:cubicBezTo>
                <a:cubicBezTo>
                  <a:pt x="62" y="39"/>
                  <a:pt x="63" y="39"/>
                  <a:pt x="63" y="38"/>
                </a:cubicBezTo>
                <a:cubicBezTo>
                  <a:pt x="63" y="38"/>
                  <a:pt x="62" y="36"/>
                  <a:pt x="61" y="35"/>
                </a:cubicBezTo>
                <a:cubicBezTo>
                  <a:pt x="60" y="33"/>
                  <a:pt x="59" y="32"/>
                  <a:pt x="59" y="31"/>
                </a:cubicBezTo>
                <a:cubicBezTo>
                  <a:pt x="57" y="29"/>
                  <a:pt x="58" y="22"/>
                  <a:pt x="58" y="20"/>
                </a:cubicBezTo>
                <a:cubicBezTo>
                  <a:pt x="58" y="20"/>
                  <a:pt x="58" y="20"/>
                  <a:pt x="58" y="20"/>
                </a:cubicBezTo>
                <a:cubicBezTo>
                  <a:pt x="58" y="20"/>
                  <a:pt x="58" y="20"/>
                  <a:pt x="58" y="20"/>
                </a:cubicBezTo>
                <a:cubicBezTo>
                  <a:pt x="58" y="20"/>
                  <a:pt x="58" y="20"/>
                  <a:pt x="58" y="20"/>
                </a:cubicBezTo>
                <a:cubicBezTo>
                  <a:pt x="58" y="19"/>
                  <a:pt x="60" y="17"/>
                  <a:pt x="61" y="16"/>
                </a:cubicBezTo>
                <a:cubicBezTo>
                  <a:pt x="62" y="15"/>
                  <a:pt x="62" y="15"/>
                  <a:pt x="62" y="15"/>
                </a:cubicBezTo>
                <a:cubicBezTo>
                  <a:pt x="62" y="14"/>
                  <a:pt x="62" y="14"/>
                  <a:pt x="62" y="14"/>
                </a:cubicBezTo>
                <a:cubicBezTo>
                  <a:pt x="63" y="13"/>
                  <a:pt x="63" y="11"/>
                  <a:pt x="64" y="11"/>
                </a:cubicBezTo>
                <a:cubicBezTo>
                  <a:pt x="64" y="11"/>
                  <a:pt x="64" y="11"/>
                  <a:pt x="64" y="11"/>
                </a:cubicBezTo>
                <a:cubicBezTo>
                  <a:pt x="64" y="10"/>
                  <a:pt x="65" y="10"/>
                  <a:pt x="66" y="9"/>
                </a:cubicBezTo>
                <a:cubicBezTo>
                  <a:pt x="67" y="8"/>
                  <a:pt x="68" y="7"/>
                  <a:pt x="68" y="7"/>
                </a:cubicBezTo>
                <a:cubicBezTo>
                  <a:pt x="68" y="7"/>
                  <a:pt x="68" y="6"/>
                  <a:pt x="67" y="5"/>
                </a:cubicBezTo>
                <a:cubicBezTo>
                  <a:pt x="67" y="5"/>
                  <a:pt x="67" y="5"/>
                  <a:pt x="67" y="5"/>
                </a:cubicBezTo>
                <a:cubicBezTo>
                  <a:pt x="67" y="7"/>
                  <a:pt x="66" y="6"/>
                  <a:pt x="63" y="6"/>
                </a:cubicBezTo>
                <a:cubicBezTo>
                  <a:pt x="61" y="6"/>
                  <a:pt x="61" y="6"/>
                  <a:pt x="57" y="5"/>
                </a:cubicBezTo>
                <a:cubicBezTo>
                  <a:pt x="53" y="4"/>
                  <a:pt x="53" y="6"/>
                  <a:pt x="52" y="6"/>
                </a:cubicBezTo>
                <a:cubicBezTo>
                  <a:pt x="50" y="6"/>
                  <a:pt x="50" y="4"/>
                  <a:pt x="48" y="4"/>
                </a:cubicBezTo>
                <a:cubicBezTo>
                  <a:pt x="46" y="3"/>
                  <a:pt x="42" y="3"/>
                  <a:pt x="39" y="3"/>
                </a:cubicBezTo>
                <a:cubicBezTo>
                  <a:pt x="36" y="3"/>
                  <a:pt x="34" y="3"/>
                  <a:pt x="33" y="2"/>
                </a:cubicBezTo>
                <a:cubicBezTo>
                  <a:pt x="31" y="1"/>
                  <a:pt x="30" y="0"/>
                  <a:pt x="30" y="1"/>
                </a:cubicBezTo>
                <a:cubicBezTo>
                  <a:pt x="30" y="2"/>
                  <a:pt x="31" y="3"/>
                  <a:pt x="30" y="4"/>
                </a:cubicBezTo>
                <a:cubicBezTo>
                  <a:pt x="28" y="5"/>
                  <a:pt x="26" y="4"/>
                  <a:pt x="24" y="4"/>
                </a:cubicBezTo>
                <a:cubicBezTo>
                  <a:pt x="22" y="4"/>
                  <a:pt x="22" y="5"/>
                  <a:pt x="19" y="5"/>
                </a:cubicBezTo>
                <a:cubicBezTo>
                  <a:pt x="17" y="6"/>
                  <a:pt x="17" y="5"/>
                  <a:pt x="15" y="6"/>
                </a:cubicBezTo>
                <a:cubicBezTo>
                  <a:pt x="14" y="6"/>
                  <a:pt x="13" y="7"/>
                  <a:pt x="11" y="8"/>
                </a:cubicBezTo>
                <a:cubicBezTo>
                  <a:pt x="8" y="10"/>
                  <a:pt x="8" y="9"/>
                  <a:pt x="6" y="10"/>
                </a:cubicBezTo>
                <a:cubicBezTo>
                  <a:pt x="4" y="11"/>
                  <a:pt x="4" y="10"/>
                  <a:pt x="2" y="10"/>
                </a:cubicBezTo>
                <a:cubicBezTo>
                  <a:pt x="1" y="11"/>
                  <a:pt x="2" y="12"/>
                  <a:pt x="2" y="1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1" name="Freeform 77"/>
          <p:cNvSpPr>
            <a:spLocks/>
          </p:cNvSpPr>
          <p:nvPr/>
        </p:nvSpPr>
        <p:spPr bwMode="auto">
          <a:xfrm>
            <a:off x="4021262" y="2001838"/>
            <a:ext cx="209550" cy="142875"/>
          </a:xfrm>
          <a:custGeom>
            <a:avLst/>
            <a:gdLst>
              <a:gd name="T0" fmla="*/ 2 w 22"/>
              <a:gd name="T1" fmla="*/ 8 h 15"/>
              <a:gd name="T2" fmla="*/ 6 w 22"/>
              <a:gd name="T3" fmla="*/ 10 h 15"/>
              <a:gd name="T4" fmla="*/ 5 w 22"/>
              <a:gd name="T5" fmla="*/ 13 h 15"/>
              <a:gd name="T6" fmla="*/ 6 w 22"/>
              <a:gd name="T7" fmla="*/ 15 h 15"/>
              <a:gd name="T8" fmla="*/ 8 w 22"/>
              <a:gd name="T9" fmla="*/ 12 h 15"/>
              <a:gd name="T10" fmla="*/ 11 w 22"/>
              <a:gd name="T11" fmla="*/ 9 h 15"/>
              <a:gd name="T12" fmla="*/ 17 w 22"/>
              <a:gd name="T13" fmla="*/ 8 h 15"/>
              <a:gd name="T14" fmla="*/ 19 w 22"/>
              <a:gd name="T15" fmla="*/ 6 h 15"/>
              <a:gd name="T16" fmla="*/ 20 w 22"/>
              <a:gd name="T17" fmla="*/ 3 h 15"/>
              <a:gd name="T18" fmla="*/ 16 w 22"/>
              <a:gd name="T19" fmla="*/ 1 h 15"/>
              <a:gd name="T20" fmla="*/ 11 w 22"/>
              <a:gd name="T21" fmla="*/ 1 h 15"/>
              <a:gd name="T22" fmla="*/ 6 w 22"/>
              <a:gd name="T23" fmla="*/ 4 h 15"/>
              <a:gd name="T24" fmla="*/ 2 w 22"/>
              <a:gd name="T25" fmla="*/ 3 h 15"/>
              <a:gd name="T26" fmla="*/ 3 w 22"/>
              <a:gd name="T27" fmla="*/ 5 h 15"/>
              <a:gd name="T28" fmla="*/ 2 w 22"/>
              <a:gd name="T29" fmla="*/ 8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2" h="15">
                <a:moveTo>
                  <a:pt x="2" y="8"/>
                </a:moveTo>
                <a:cubicBezTo>
                  <a:pt x="2" y="10"/>
                  <a:pt x="5" y="9"/>
                  <a:pt x="6" y="10"/>
                </a:cubicBezTo>
                <a:cubicBezTo>
                  <a:pt x="8" y="11"/>
                  <a:pt x="6" y="11"/>
                  <a:pt x="5" y="13"/>
                </a:cubicBezTo>
                <a:cubicBezTo>
                  <a:pt x="4" y="14"/>
                  <a:pt x="4" y="15"/>
                  <a:pt x="6" y="15"/>
                </a:cubicBezTo>
                <a:cubicBezTo>
                  <a:pt x="7" y="15"/>
                  <a:pt x="8" y="13"/>
                  <a:pt x="8" y="12"/>
                </a:cubicBezTo>
                <a:cubicBezTo>
                  <a:pt x="9" y="10"/>
                  <a:pt x="9" y="10"/>
                  <a:pt x="11" y="9"/>
                </a:cubicBezTo>
                <a:cubicBezTo>
                  <a:pt x="12" y="8"/>
                  <a:pt x="13" y="9"/>
                  <a:pt x="17" y="8"/>
                </a:cubicBezTo>
                <a:cubicBezTo>
                  <a:pt x="20" y="8"/>
                  <a:pt x="17" y="7"/>
                  <a:pt x="19" y="6"/>
                </a:cubicBezTo>
                <a:cubicBezTo>
                  <a:pt x="21" y="4"/>
                  <a:pt x="22" y="4"/>
                  <a:pt x="20" y="3"/>
                </a:cubicBezTo>
                <a:cubicBezTo>
                  <a:pt x="18" y="2"/>
                  <a:pt x="18" y="2"/>
                  <a:pt x="16" y="1"/>
                </a:cubicBezTo>
                <a:cubicBezTo>
                  <a:pt x="14" y="0"/>
                  <a:pt x="14" y="1"/>
                  <a:pt x="11" y="1"/>
                </a:cubicBezTo>
                <a:cubicBezTo>
                  <a:pt x="9" y="2"/>
                  <a:pt x="9" y="3"/>
                  <a:pt x="6" y="4"/>
                </a:cubicBezTo>
                <a:cubicBezTo>
                  <a:pt x="4" y="6"/>
                  <a:pt x="5" y="3"/>
                  <a:pt x="2" y="3"/>
                </a:cubicBezTo>
                <a:cubicBezTo>
                  <a:pt x="0" y="2"/>
                  <a:pt x="2" y="4"/>
                  <a:pt x="3" y="5"/>
                </a:cubicBezTo>
                <a:cubicBezTo>
                  <a:pt x="5" y="7"/>
                  <a:pt x="3" y="7"/>
                  <a:pt x="2" y="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2" name="Freeform 78"/>
          <p:cNvSpPr>
            <a:spLocks/>
          </p:cNvSpPr>
          <p:nvPr/>
        </p:nvSpPr>
        <p:spPr bwMode="auto">
          <a:xfrm>
            <a:off x="6364412" y="5784851"/>
            <a:ext cx="1181100" cy="800100"/>
          </a:xfrm>
          <a:custGeom>
            <a:avLst/>
            <a:gdLst>
              <a:gd name="T0" fmla="*/ 121 w 124"/>
              <a:gd name="T1" fmla="*/ 81 h 84"/>
              <a:gd name="T2" fmla="*/ 119 w 124"/>
              <a:gd name="T3" fmla="*/ 81 h 84"/>
              <a:gd name="T4" fmla="*/ 110 w 124"/>
              <a:gd name="T5" fmla="*/ 74 h 84"/>
              <a:gd name="T6" fmla="*/ 104 w 124"/>
              <a:gd name="T7" fmla="*/ 72 h 84"/>
              <a:gd name="T8" fmla="*/ 102 w 124"/>
              <a:gd name="T9" fmla="*/ 68 h 84"/>
              <a:gd name="T10" fmla="*/ 102 w 124"/>
              <a:gd name="T11" fmla="*/ 65 h 84"/>
              <a:gd name="T12" fmla="*/ 102 w 124"/>
              <a:gd name="T13" fmla="*/ 64 h 84"/>
              <a:gd name="T14" fmla="*/ 101 w 124"/>
              <a:gd name="T15" fmla="*/ 62 h 84"/>
              <a:gd name="T16" fmla="*/ 97 w 124"/>
              <a:gd name="T17" fmla="*/ 60 h 84"/>
              <a:gd name="T18" fmla="*/ 96 w 124"/>
              <a:gd name="T19" fmla="*/ 51 h 84"/>
              <a:gd name="T20" fmla="*/ 96 w 124"/>
              <a:gd name="T21" fmla="*/ 50 h 84"/>
              <a:gd name="T22" fmla="*/ 95 w 124"/>
              <a:gd name="T23" fmla="*/ 46 h 84"/>
              <a:gd name="T24" fmla="*/ 97 w 124"/>
              <a:gd name="T25" fmla="*/ 45 h 84"/>
              <a:gd name="T26" fmla="*/ 99 w 124"/>
              <a:gd name="T27" fmla="*/ 46 h 84"/>
              <a:gd name="T28" fmla="*/ 99 w 124"/>
              <a:gd name="T29" fmla="*/ 40 h 84"/>
              <a:gd name="T30" fmla="*/ 102 w 124"/>
              <a:gd name="T31" fmla="*/ 37 h 84"/>
              <a:gd name="T32" fmla="*/ 105 w 124"/>
              <a:gd name="T33" fmla="*/ 37 h 84"/>
              <a:gd name="T34" fmla="*/ 105 w 124"/>
              <a:gd name="T35" fmla="*/ 36 h 84"/>
              <a:gd name="T36" fmla="*/ 104 w 124"/>
              <a:gd name="T37" fmla="*/ 33 h 84"/>
              <a:gd name="T38" fmla="*/ 103 w 124"/>
              <a:gd name="T39" fmla="*/ 30 h 84"/>
              <a:gd name="T40" fmla="*/ 105 w 124"/>
              <a:gd name="T41" fmla="*/ 27 h 84"/>
              <a:gd name="T42" fmla="*/ 106 w 124"/>
              <a:gd name="T43" fmla="*/ 26 h 84"/>
              <a:gd name="T44" fmla="*/ 102 w 124"/>
              <a:gd name="T45" fmla="*/ 26 h 84"/>
              <a:gd name="T46" fmla="*/ 98 w 124"/>
              <a:gd name="T47" fmla="*/ 25 h 84"/>
              <a:gd name="T48" fmla="*/ 96 w 124"/>
              <a:gd name="T49" fmla="*/ 24 h 84"/>
              <a:gd name="T50" fmla="*/ 92 w 124"/>
              <a:gd name="T51" fmla="*/ 19 h 84"/>
              <a:gd name="T52" fmla="*/ 90 w 124"/>
              <a:gd name="T53" fmla="*/ 16 h 84"/>
              <a:gd name="T54" fmla="*/ 88 w 124"/>
              <a:gd name="T55" fmla="*/ 14 h 84"/>
              <a:gd name="T56" fmla="*/ 89 w 124"/>
              <a:gd name="T57" fmla="*/ 12 h 84"/>
              <a:gd name="T58" fmla="*/ 86 w 124"/>
              <a:gd name="T59" fmla="*/ 10 h 84"/>
              <a:gd name="T60" fmla="*/ 86 w 124"/>
              <a:gd name="T61" fmla="*/ 8 h 84"/>
              <a:gd name="T62" fmla="*/ 86 w 124"/>
              <a:gd name="T63" fmla="*/ 5 h 84"/>
              <a:gd name="T64" fmla="*/ 85 w 124"/>
              <a:gd name="T65" fmla="*/ 4 h 84"/>
              <a:gd name="T66" fmla="*/ 77 w 124"/>
              <a:gd name="T67" fmla="*/ 4 h 84"/>
              <a:gd name="T68" fmla="*/ 69 w 124"/>
              <a:gd name="T69" fmla="*/ 2 h 84"/>
              <a:gd name="T70" fmla="*/ 67 w 124"/>
              <a:gd name="T71" fmla="*/ 2 h 84"/>
              <a:gd name="T72" fmla="*/ 63 w 124"/>
              <a:gd name="T73" fmla="*/ 1 h 84"/>
              <a:gd name="T74" fmla="*/ 57 w 124"/>
              <a:gd name="T75" fmla="*/ 1 h 84"/>
              <a:gd name="T76" fmla="*/ 51 w 124"/>
              <a:gd name="T77" fmla="*/ 5 h 84"/>
              <a:gd name="T78" fmla="*/ 52 w 124"/>
              <a:gd name="T79" fmla="*/ 5 h 84"/>
              <a:gd name="T80" fmla="*/ 47 w 124"/>
              <a:gd name="T81" fmla="*/ 11 h 84"/>
              <a:gd name="T82" fmla="*/ 40 w 124"/>
              <a:gd name="T83" fmla="*/ 14 h 84"/>
              <a:gd name="T84" fmla="*/ 38 w 124"/>
              <a:gd name="T85" fmla="*/ 15 h 84"/>
              <a:gd name="T86" fmla="*/ 36 w 124"/>
              <a:gd name="T87" fmla="*/ 19 h 84"/>
              <a:gd name="T88" fmla="*/ 37 w 124"/>
              <a:gd name="T89" fmla="*/ 30 h 84"/>
              <a:gd name="T90" fmla="*/ 35 w 124"/>
              <a:gd name="T91" fmla="*/ 35 h 84"/>
              <a:gd name="T92" fmla="*/ 35 w 124"/>
              <a:gd name="T93" fmla="*/ 43 h 84"/>
              <a:gd name="T94" fmla="*/ 32 w 124"/>
              <a:gd name="T95" fmla="*/ 48 h 84"/>
              <a:gd name="T96" fmla="*/ 7 w 124"/>
              <a:gd name="T97" fmla="*/ 62 h 84"/>
              <a:gd name="T98" fmla="*/ 1 w 124"/>
              <a:gd name="T99" fmla="*/ 68 h 84"/>
              <a:gd name="T100" fmla="*/ 5 w 124"/>
              <a:gd name="T101" fmla="*/ 82 h 84"/>
              <a:gd name="T102" fmla="*/ 7 w 124"/>
              <a:gd name="T103" fmla="*/ 83 h 84"/>
              <a:gd name="T104" fmla="*/ 124 w 124"/>
              <a:gd name="T105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4" h="84">
                <a:moveTo>
                  <a:pt x="122" y="81"/>
                </a:moveTo>
                <a:cubicBezTo>
                  <a:pt x="122" y="81"/>
                  <a:pt x="122" y="81"/>
                  <a:pt x="121" y="81"/>
                </a:cubicBezTo>
                <a:cubicBezTo>
                  <a:pt x="121" y="81"/>
                  <a:pt x="121" y="81"/>
                  <a:pt x="121" y="81"/>
                </a:cubicBezTo>
                <a:cubicBezTo>
                  <a:pt x="120" y="81"/>
                  <a:pt x="119" y="82"/>
                  <a:pt x="119" y="81"/>
                </a:cubicBezTo>
                <a:cubicBezTo>
                  <a:pt x="118" y="80"/>
                  <a:pt x="116" y="78"/>
                  <a:pt x="114" y="77"/>
                </a:cubicBezTo>
                <a:cubicBezTo>
                  <a:pt x="113" y="75"/>
                  <a:pt x="111" y="74"/>
                  <a:pt x="110" y="74"/>
                </a:cubicBezTo>
                <a:cubicBezTo>
                  <a:pt x="110" y="74"/>
                  <a:pt x="108" y="74"/>
                  <a:pt x="107" y="74"/>
                </a:cubicBezTo>
                <a:cubicBezTo>
                  <a:pt x="106" y="74"/>
                  <a:pt x="104" y="74"/>
                  <a:pt x="104" y="72"/>
                </a:cubicBezTo>
                <a:cubicBezTo>
                  <a:pt x="103" y="71"/>
                  <a:pt x="103" y="69"/>
                  <a:pt x="102" y="68"/>
                </a:cubicBezTo>
                <a:cubicBezTo>
                  <a:pt x="102" y="68"/>
                  <a:pt x="102" y="68"/>
                  <a:pt x="102" y="68"/>
                </a:cubicBezTo>
                <a:cubicBezTo>
                  <a:pt x="102" y="66"/>
                  <a:pt x="102" y="65"/>
                  <a:pt x="102" y="65"/>
                </a:cubicBezTo>
                <a:cubicBezTo>
                  <a:pt x="102" y="65"/>
                  <a:pt x="102" y="65"/>
                  <a:pt x="102" y="65"/>
                </a:cubicBezTo>
                <a:cubicBezTo>
                  <a:pt x="102" y="65"/>
                  <a:pt x="102" y="64"/>
                  <a:pt x="102" y="64"/>
                </a:cubicBezTo>
                <a:cubicBezTo>
                  <a:pt x="102" y="64"/>
                  <a:pt x="102" y="64"/>
                  <a:pt x="102" y="64"/>
                </a:cubicBezTo>
                <a:cubicBezTo>
                  <a:pt x="102" y="63"/>
                  <a:pt x="103" y="63"/>
                  <a:pt x="102" y="62"/>
                </a:cubicBezTo>
                <a:cubicBezTo>
                  <a:pt x="102" y="62"/>
                  <a:pt x="102" y="62"/>
                  <a:pt x="101" y="62"/>
                </a:cubicBezTo>
                <a:cubicBezTo>
                  <a:pt x="100" y="62"/>
                  <a:pt x="99" y="62"/>
                  <a:pt x="99" y="62"/>
                </a:cubicBezTo>
                <a:cubicBezTo>
                  <a:pt x="98" y="61"/>
                  <a:pt x="98" y="61"/>
                  <a:pt x="97" y="60"/>
                </a:cubicBezTo>
                <a:cubicBezTo>
                  <a:pt x="96" y="59"/>
                  <a:pt x="95" y="57"/>
                  <a:pt x="94" y="56"/>
                </a:cubicBezTo>
                <a:cubicBezTo>
                  <a:pt x="94" y="55"/>
                  <a:pt x="95" y="53"/>
                  <a:pt x="96" y="51"/>
                </a:cubicBezTo>
                <a:cubicBezTo>
                  <a:pt x="96" y="51"/>
                  <a:pt x="96" y="50"/>
                  <a:pt x="96" y="50"/>
                </a:cubicBezTo>
                <a:cubicBezTo>
                  <a:pt x="96" y="50"/>
                  <a:pt x="96" y="50"/>
                  <a:pt x="96" y="50"/>
                </a:cubicBezTo>
                <a:cubicBezTo>
                  <a:pt x="95" y="49"/>
                  <a:pt x="94" y="48"/>
                  <a:pt x="94" y="47"/>
                </a:cubicBezTo>
                <a:cubicBezTo>
                  <a:pt x="95" y="47"/>
                  <a:pt x="95" y="46"/>
                  <a:pt x="95" y="46"/>
                </a:cubicBezTo>
                <a:cubicBezTo>
                  <a:pt x="96" y="45"/>
                  <a:pt x="96" y="45"/>
                  <a:pt x="97" y="45"/>
                </a:cubicBezTo>
                <a:cubicBezTo>
                  <a:pt x="97" y="45"/>
                  <a:pt x="97" y="45"/>
                  <a:pt x="97" y="45"/>
                </a:cubicBezTo>
                <a:cubicBezTo>
                  <a:pt x="97" y="45"/>
                  <a:pt x="97" y="45"/>
                  <a:pt x="98" y="45"/>
                </a:cubicBezTo>
                <a:cubicBezTo>
                  <a:pt x="98" y="45"/>
                  <a:pt x="99" y="46"/>
                  <a:pt x="99" y="46"/>
                </a:cubicBezTo>
                <a:cubicBezTo>
                  <a:pt x="99" y="46"/>
                  <a:pt x="99" y="44"/>
                  <a:pt x="99" y="43"/>
                </a:cubicBezTo>
                <a:cubicBezTo>
                  <a:pt x="99" y="42"/>
                  <a:pt x="99" y="41"/>
                  <a:pt x="99" y="40"/>
                </a:cubicBezTo>
                <a:cubicBezTo>
                  <a:pt x="100" y="40"/>
                  <a:pt x="100" y="39"/>
                  <a:pt x="101" y="38"/>
                </a:cubicBezTo>
                <a:cubicBezTo>
                  <a:pt x="102" y="38"/>
                  <a:pt x="102" y="37"/>
                  <a:pt x="102" y="37"/>
                </a:cubicBezTo>
                <a:cubicBezTo>
                  <a:pt x="103" y="37"/>
                  <a:pt x="103" y="37"/>
                  <a:pt x="104" y="37"/>
                </a:cubicBezTo>
                <a:cubicBezTo>
                  <a:pt x="104" y="37"/>
                  <a:pt x="105" y="37"/>
                  <a:pt x="105" y="37"/>
                </a:cubicBezTo>
                <a:cubicBezTo>
                  <a:pt x="105" y="37"/>
                  <a:pt x="105" y="37"/>
                  <a:pt x="105" y="36"/>
                </a:cubicBezTo>
                <a:cubicBezTo>
                  <a:pt x="105" y="36"/>
                  <a:pt x="105" y="36"/>
                  <a:pt x="105" y="36"/>
                </a:cubicBezTo>
                <a:cubicBezTo>
                  <a:pt x="105" y="36"/>
                  <a:pt x="105" y="36"/>
                  <a:pt x="105" y="35"/>
                </a:cubicBezTo>
                <a:cubicBezTo>
                  <a:pt x="105" y="34"/>
                  <a:pt x="104" y="34"/>
                  <a:pt x="104" y="33"/>
                </a:cubicBezTo>
                <a:cubicBezTo>
                  <a:pt x="103" y="33"/>
                  <a:pt x="103" y="33"/>
                  <a:pt x="103" y="32"/>
                </a:cubicBezTo>
                <a:cubicBezTo>
                  <a:pt x="103" y="32"/>
                  <a:pt x="103" y="31"/>
                  <a:pt x="103" y="30"/>
                </a:cubicBezTo>
                <a:cubicBezTo>
                  <a:pt x="103" y="29"/>
                  <a:pt x="103" y="28"/>
                  <a:pt x="103" y="28"/>
                </a:cubicBezTo>
                <a:cubicBezTo>
                  <a:pt x="104" y="27"/>
                  <a:pt x="104" y="27"/>
                  <a:pt x="105" y="27"/>
                </a:cubicBezTo>
                <a:cubicBezTo>
                  <a:pt x="106" y="26"/>
                  <a:pt x="106" y="26"/>
                  <a:pt x="107" y="26"/>
                </a:cubicBezTo>
                <a:cubicBezTo>
                  <a:pt x="106" y="26"/>
                  <a:pt x="106" y="26"/>
                  <a:pt x="106" y="26"/>
                </a:cubicBezTo>
                <a:cubicBezTo>
                  <a:pt x="105" y="26"/>
                  <a:pt x="105" y="26"/>
                  <a:pt x="105" y="26"/>
                </a:cubicBezTo>
                <a:cubicBezTo>
                  <a:pt x="105" y="26"/>
                  <a:pt x="103" y="26"/>
                  <a:pt x="102" y="26"/>
                </a:cubicBezTo>
                <a:cubicBezTo>
                  <a:pt x="101" y="27"/>
                  <a:pt x="100" y="27"/>
                  <a:pt x="99" y="27"/>
                </a:cubicBezTo>
                <a:cubicBezTo>
                  <a:pt x="99" y="26"/>
                  <a:pt x="99" y="26"/>
                  <a:pt x="98" y="25"/>
                </a:cubicBezTo>
                <a:cubicBezTo>
                  <a:pt x="97" y="24"/>
                  <a:pt x="96" y="23"/>
                  <a:pt x="96" y="23"/>
                </a:cubicBezTo>
                <a:cubicBezTo>
                  <a:pt x="96" y="23"/>
                  <a:pt x="96" y="24"/>
                  <a:pt x="96" y="24"/>
                </a:cubicBezTo>
                <a:cubicBezTo>
                  <a:pt x="95" y="24"/>
                  <a:pt x="94" y="24"/>
                  <a:pt x="94" y="24"/>
                </a:cubicBezTo>
                <a:cubicBezTo>
                  <a:pt x="93" y="23"/>
                  <a:pt x="93" y="21"/>
                  <a:pt x="92" y="19"/>
                </a:cubicBezTo>
                <a:cubicBezTo>
                  <a:pt x="92" y="18"/>
                  <a:pt x="92" y="16"/>
                  <a:pt x="92" y="16"/>
                </a:cubicBezTo>
                <a:cubicBezTo>
                  <a:pt x="92" y="16"/>
                  <a:pt x="91" y="16"/>
                  <a:pt x="90" y="16"/>
                </a:cubicBezTo>
                <a:cubicBezTo>
                  <a:pt x="90" y="16"/>
                  <a:pt x="90" y="16"/>
                  <a:pt x="90" y="16"/>
                </a:cubicBezTo>
                <a:cubicBezTo>
                  <a:pt x="89" y="15"/>
                  <a:pt x="88" y="15"/>
                  <a:pt x="88" y="14"/>
                </a:cubicBezTo>
                <a:cubicBezTo>
                  <a:pt x="88" y="14"/>
                  <a:pt x="88" y="13"/>
                  <a:pt x="89" y="13"/>
                </a:cubicBezTo>
                <a:cubicBezTo>
                  <a:pt x="89" y="12"/>
                  <a:pt x="89" y="12"/>
                  <a:pt x="89" y="12"/>
                </a:cubicBezTo>
                <a:cubicBezTo>
                  <a:pt x="89" y="12"/>
                  <a:pt x="89" y="12"/>
                  <a:pt x="88" y="12"/>
                </a:cubicBezTo>
                <a:cubicBezTo>
                  <a:pt x="87" y="11"/>
                  <a:pt x="86" y="11"/>
                  <a:pt x="86" y="10"/>
                </a:cubicBezTo>
                <a:cubicBezTo>
                  <a:pt x="86" y="10"/>
                  <a:pt x="86" y="10"/>
                  <a:pt x="86" y="10"/>
                </a:cubicBezTo>
                <a:cubicBezTo>
                  <a:pt x="86" y="9"/>
                  <a:pt x="86" y="8"/>
                  <a:pt x="86" y="8"/>
                </a:cubicBezTo>
                <a:cubicBezTo>
                  <a:pt x="87" y="7"/>
                  <a:pt x="87" y="6"/>
                  <a:pt x="87" y="6"/>
                </a:cubicBezTo>
                <a:cubicBezTo>
                  <a:pt x="87" y="6"/>
                  <a:pt x="86" y="6"/>
                  <a:pt x="86" y="5"/>
                </a:cubicBezTo>
                <a:cubicBezTo>
                  <a:pt x="86" y="5"/>
                  <a:pt x="86" y="5"/>
                  <a:pt x="86" y="5"/>
                </a:cubicBezTo>
                <a:cubicBezTo>
                  <a:pt x="86" y="5"/>
                  <a:pt x="85" y="5"/>
                  <a:pt x="85" y="4"/>
                </a:cubicBezTo>
                <a:cubicBezTo>
                  <a:pt x="84" y="5"/>
                  <a:pt x="81" y="7"/>
                  <a:pt x="80" y="7"/>
                </a:cubicBezTo>
                <a:cubicBezTo>
                  <a:pt x="79" y="7"/>
                  <a:pt x="78" y="5"/>
                  <a:pt x="77" y="4"/>
                </a:cubicBezTo>
                <a:cubicBezTo>
                  <a:pt x="77" y="3"/>
                  <a:pt x="76" y="1"/>
                  <a:pt x="76" y="1"/>
                </a:cubicBezTo>
                <a:cubicBezTo>
                  <a:pt x="74" y="2"/>
                  <a:pt x="71" y="2"/>
                  <a:pt x="69" y="2"/>
                </a:cubicBezTo>
                <a:cubicBezTo>
                  <a:pt x="68" y="2"/>
                  <a:pt x="67" y="2"/>
                  <a:pt x="67" y="2"/>
                </a:cubicBezTo>
                <a:cubicBezTo>
                  <a:pt x="67" y="2"/>
                  <a:pt x="67" y="2"/>
                  <a:pt x="67" y="2"/>
                </a:cubicBezTo>
                <a:cubicBezTo>
                  <a:pt x="67" y="2"/>
                  <a:pt x="67" y="2"/>
                  <a:pt x="67" y="2"/>
                </a:cubicBezTo>
                <a:cubicBezTo>
                  <a:pt x="66" y="2"/>
                  <a:pt x="64" y="2"/>
                  <a:pt x="63" y="1"/>
                </a:cubicBezTo>
                <a:cubicBezTo>
                  <a:pt x="62" y="1"/>
                  <a:pt x="61" y="1"/>
                  <a:pt x="60" y="1"/>
                </a:cubicBezTo>
                <a:cubicBezTo>
                  <a:pt x="59" y="0"/>
                  <a:pt x="58" y="1"/>
                  <a:pt x="57" y="1"/>
                </a:cubicBezTo>
                <a:cubicBezTo>
                  <a:pt x="56" y="1"/>
                  <a:pt x="55" y="1"/>
                  <a:pt x="55" y="2"/>
                </a:cubicBezTo>
                <a:cubicBezTo>
                  <a:pt x="53" y="3"/>
                  <a:pt x="52" y="4"/>
                  <a:pt x="51" y="5"/>
                </a:cubicBezTo>
                <a:cubicBezTo>
                  <a:pt x="51" y="5"/>
                  <a:pt x="51" y="5"/>
                  <a:pt x="51" y="5"/>
                </a:cubicBezTo>
                <a:cubicBezTo>
                  <a:pt x="51" y="5"/>
                  <a:pt x="51" y="5"/>
                  <a:pt x="52" y="5"/>
                </a:cubicBezTo>
                <a:cubicBezTo>
                  <a:pt x="52" y="6"/>
                  <a:pt x="52" y="6"/>
                  <a:pt x="52" y="6"/>
                </a:cubicBezTo>
                <a:cubicBezTo>
                  <a:pt x="52" y="6"/>
                  <a:pt x="49" y="9"/>
                  <a:pt x="47" y="11"/>
                </a:cubicBezTo>
                <a:cubicBezTo>
                  <a:pt x="45" y="12"/>
                  <a:pt x="44" y="13"/>
                  <a:pt x="43" y="13"/>
                </a:cubicBezTo>
                <a:cubicBezTo>
                  <a:pt x="42" y="14"/>
                  <a:pt x="41" y="14"/>
                  <a:pt x="40" y="14"/>
                </a:cubicBezTo>
                <a:cubicBezTo>
                  <a:pt x="39" y="14"/>
                  <a:pt x="38" y="14"/>
                  <a:pt x="38" y="15"/>
                </a:cubicBezTo>
                <a:cubicBezTo>
                  <a:pt x="38" y="15"/>
                  <a:pt x="38" y="15"/>
                  <a:pt x="38" y="15"/>
                </a:cubicBezTo>
                <a:cubicBezTo>
                  <a:pt x="38" y="15"/>
                  <a:pt x="37" y="15"/>
                  <a:pt x="37" y="16"/>
                </a:cubicBezTo>
                <a:cubicBezTo>
                  <a:pt x="37" y="17"/>
                  <a:pt x="36" y="18"/>
                  <a:pt x="36" y="19"/>
                </a:cubicBezTo>
                <a:cubicBezTo>
                  <a:pt x="36" y="20"/>
                  <a:pt x="36" y="22"/>
                  <a:pt x="36" y="25"/>
                </a:cubicBezTo>
                <a:cubicBezTo>
                  <a:pt x="37" y="27"/>
                  <a:pt x="37" y="29"/>
                  <a:pt x="37" y="30"/>
                </a:cubicBezTo>
                <a:cubicBezTo>
                  <a:pt x="37" y="31"/>
                  <a:pt x="37" y="32"/>
                  <a:pt x="36" y="33"/>
                </a:cubicBezTo>
                <a:cubicBezTo>
                  <a:pt x="36" y="34"/>
                  <a:pt x="35" y="35"/>
                  <a:pt x="35" y="35"/>
                </a:cubicBezTo>
                <a:cubicBezTo>
                  <a:pt x="34" y="36"/>
                  <a:pt x="35" y="38"/>
                  <a:pt x="35" y="39"/>
                </a:cubicBezTo>
                <a:cubicBezTo>
                  <a:pt x="35" y="41"/>
                  <a:pt x="35" y="42"/>
                  <a:pt x="35" y="43"/>
                </a:cubicBezTo>
                <a:cubicBezTo>
                  <a:pt x="34" y="43"/>
                  <a:pt x="34" y="44"/>
                  <a:pt x="34" y="44"/>
                </a:cubicBezTo>
                <a:cubicBezTo>
                  <a:pt x="34" y="46"/>
                  <a:pt x="33" y="48"/>
                  <a:pt x="32" y="48"/>
                </a:cubicBezTo>
                <a:cubicBezTo>
                  <a:pt x="32" y="49"/>
                  <a:pt x="20" y="55"/>
                  <a:pt x="12" y="59"/>
                </a:cubicBezTo>
                <a:cubicBezTo>
                  <a:pt x="10" y="61"/>
                  <a:pt x="8" y="62"/>
                  <a:pt x="7" y="62"/>
                </a:cubicBezTo>
                <a:cubicBezTo>
                  <a:pt x="6" y="63"/>
                  <a:pt x="3" y="64"/>
                  <a:pt x="0" y="66"/>
                </a:cubicBezTo>
                <a:cubicBezTo>
                  <a:pt x="0" y="66"/>
                  <a:pt x="0" y="67"/>
                  <a:pt x="1" y="68"/>
                </a:cubicBezTo>
                <a:cubicBezTo>
                  <a:pt x="1" y="72"/>
                  <a:pt x="3" y="81"/>
                  <a:pt x="3" y="81"/>
                </a:cubicBezTo>
                <a:cubicBezTo>
                  <a:pt x="4" y="81"/>
                  <a:pt x="4" y="82"/>
                  <a:pt x="5" y="82"/>
                </a:cubicBezTo>
                <a:cubicBezTo>
                  <a:pt x="5" y="82"/>
                  <a:pt x="5" y="82"/>
                  <a:pt x="6" y="82"/>
                </a:cubicBezTo>
                <a:cubicBezTo>
                  <a:pt x="6" y="82"/>
                  <a:pt x="7" y="83"/>
                  <a:pt x="7" y="83"/>
                </a:cubicBezTo>
                <a:cubicBezTo>
                  <a:pt x="8" y="83"/>
                  <a:pt x="8" y="83"/>
                  <a:pt x="9" y="84"/>
                </a:cubicBezTo>
                <a:cubicBezTo>
                  <a:pt x="124" y="84"/>
                  <a:pt x="124" y="84"/>
                  <a:pt x="124" y="84"/>
                </a:cubicBezTo>
                <a:cubicBezTo>
                  <a:pt x="123" y="82"/>
                  <a:pt x="122" y="81"/>
                  <a:pt x="122" y="8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3" name="Freeform 79"/>
          <p:cNvSpPr>
            <a:spLocks/>
          </p:cNvSpPr>
          <p:nvPr/>
        </p:nvSpPr>
        <p:spPr bwMode="auto">
          <a:xfrm>
            <a:off x="5811962" y="6451601"/>
            <a:ext cx="114300" cy="133350"/>
          </a:xfrm>
          <a:custGeom>
            <a:avLst/>
            <a:gdLst>
              <a:gd name="T0" fmla="*/ 7 w 12"/>
              <a:gd name="T1" fmla="*/ 9 h 14"/>
              <a:gd name="T2" fmla="*/ 7 w 12"/>
              <a:gd name="T3" fmla="*/ 9 h 14"/>
              <a:gd name="T4" fmla="*/ 7 w 12"/>
              <a:gd name="T5" fmla="*/ 9 h 14"/>
              <a:gd name="T6" fmla="*/ 9 w 12"/>
              <a:gd name="T7" fmla="*/ 10 h 14"/>
              <a:gd name="T8" fmla="*/ 11 w 12"/>
              <a:gd name="T9" fmla="*/ 11 h 14"/>
              <a:gd name="T10" fmla="*/ 11 w 12"/>
              <a:gd name="T11" fmla="*/ 9 h 14"/>
              <a:gd name="T12" fmla="*/ 12 w 12"/>
              <a:gd name="T13" fmla="*/ 5 h 14"/>
              <a:gd name="T14" fmla="*/ 12 w 12"/>
              <a:gd name="T15" fmla="*/ 0 h 14"/>
              <a:gd name="T16" fmla="*/ 8 w 12"/>
              <a:gd name="T17" fmla="*/ 0 h 14"/>
              <a:gd name="T18" fmla="*/ 4 w 12"/>
              <a:gd name="T19" fmla="*/ 1 h 14"/>
              <a:gd name="T20" fmla="*/ 4 w 12"/>
              <a:gd name="T21" fmla="*/ 2 h 14"/>
              <a:gd name="T22" fmla="*/ 1 w 12"/>
              <a:gd name="T23" fmla="*/ 12 h 14"/>
              <a:gd name="T24" fmla="*/ 0 w 12"/>
              <a:gd name="T25" fmla="*/ 14 h 14"/>
              <a:gd name="T26" fmla="*/ 4 w 12"/>
              <a:gd name="T27" fmla="*/ 14 h 14"/>
              <a:gd name="T28" fmla="*/ 5 w 12"/>
              <a:gd name="T29" fmla="*/ 12 h 14"/>
              <a:gd name="T30" fmla="*/ 7 w 12"/>
              <a:gd name="T31" fmla="*/ 9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2" h="14">
                <a:moveTo>
                  <a:pt x="7" y="9"/>
                </a:moveTo>
                <a:cubicBezTo>
                  <a:pt x="7" y="9"/>
                  <a:pt x="7" y="9"/>
                  <a:pt x="7" y="9"/>
                </a:cubicBezTo>
                <a:cubicBezTo>
                  <a:pt x="7" y="9"/>
                  <a:pt x="7" y="9"/>
                  <a:pt x="7" y="9"/>
                </a:cubicBezTo>
                <a:cubicBezTo>
                  <a:pt x="8" y="9"/>
                  <a:pt x="8" y="9"/>
                  <a:pt x="9" y="10"/>
                </a:cubicBezTo>
                <a:cubicBezTo>
                  <a:pt x="10" y="10"/>
                  <a:pt x="10" y="10"/>
                  <a:pt x="11" y="11"/>
                </a:cubicBezTo>
                <a:cubicBezTo>
                  <a:pt x="11" y="10"/>
                  <a:pt x="11" y="10"/>
                  <a:pt x="11" y="9"/>
                </a:cubicBezTo>
                <a:cubicBezTo>
                  <a:pt x="11" y="8"/>
                  <a:pt x="11" y="6"/>
                  <a:pt x="12" y="5"/>
                </a:cubicBezTo>
                <a:cubicBezTo>
                  <a:pt x="12" y="4"/>
                  <a:pt x="12" y="2"/>
                  <a:pt x="12" y="0"/>
                </a:cubicBezTo>
                <a:cubicBezTo>
                  <a:pt x="11" y="0"/>
                  <a:pt x="9" y="0"/>
                  <a:pt x="8" y="0"/>
                </a:cubicBezTo>
                <a:cubicBezTo>
                  <a:pt x="7" y="0"/>
                  <a:pt x="5" y="1"/>
                  <a:pt x="4" y="1"/>
                </a:cubicBezTo>
                <a:cubicBezTo>
                  <a:pt x="4" y="1"/>
                  <a:pt x="4" y="1"/>
                  <a:pt x="4" y="2"/>
                </a:cubicBezTo>
                <a:cubicBezTo>
                  <a:pt x="4" y="4"/>
                  <a:pt x="3" y="7"/>
                  <a:pt x="1" y="12"/>
                </a:cubicBezTo>
                <a:cubicBezTo>
                  <a:pt x="1" y="12"/>
                  <a:pt x="0" y="13"/>
                  <a:pt x="0" y="14"/>
                </a:cubicBezTo>
                <a:cubicBezTo>
                  <a:pt x="4" y="14"/>
                  <a:pt x="4" y="14"/>
                  <a:pt x="4" y="14"/>
                </a:cubicBezTo>
                <a:cubicBezTo>
                  <a:pt x="5" y="13"/>
                  <a:pt x="5" y="13"/>
                  <a:pt x="5" y="12"/>
                </a:cubicBezTo>
                <a:cubicBezTo>
                  <a:pt x="6" y="10"/>
                  <a:pt x="7" y="9"/>
                  <a:pt x="7" y="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4" name="Freeform 80"/>
          <p:cNvSpPr>
            <a:spLocks/>
          </p:cNvSpPr>
          <p:nvPr/>
        </p:nvSpPr>
        <p:spPr bwMode="auto">
          <a:xfrm>
            <a:off x="5859587" y="6203951"/>
            <a:ext cx="200025" cy="238125"/>
          </a:xfrm>
          <a:custGeom>
            <a:avLst/>
            <a:gdLst>
              <a:gd name="T0" fmla="*/ 10 w 21"/>
              <a:gd name="T1" fmla="*/ 21 h 25"/>
              <a:gd name="T2" fmla="*/ 11 w 21"/>
              <a:gd name="T3" fmla="*/ 20 h 25"/>
              <a:gd name="T4" fmla="*/ 11 w 21"/>
              <a:gd name="T5" fmla="*/ 19 h 25"/>
              <a:gd name="T6" fmla="*/ 11 w 21"/>
              <a:gd name="T7" fmla="*/ 18 h 25"/>
              <a:gd name="T8" fmla="*/ 11 w 21"/>
              <a:gd name="T9" fmla="*/ 16 h 25"/>
              <a:gd name="T10" fmla="*/ 13 w 21"/>
              <a:gd name="T11" fmla="*/ 14 h 25"/>
              <a:gd name="T12" fmla="*/ 17 w 21"/>
              <a:gd name="T13" fmla="*/ 15 h 25"/>
              <a:gd name="T14" fmla="*/ 18 w 21"/>
              <a:gd name="T15" fmla="*/ 15 h 25"/>
              <a:gd name="T16" fmla="*/ 18 w 21"/>
              <a:gd name="T17" fmla="*/ 14 h 25"/>
              <a:gd name="T18" fmla="*/ 17 w 21"/>
              <a:gd name="T19" fmla="*/ 12 h 25"/>
              <a:gd name="T20" fmla="*/ 19 w 21"/>
              <a:gd name="T21" fmla="*/ 9 h 25"/>
              <a:gd name="T22" fmla="*/ 21 w 21"/>
              <a:gd name="T23" fmla="*/ 8 h 25"/>
              <a:gd name="T24" fmla="*/ 21 w 21"/>
              <a:gd name="T25" fmla="*/ 7 h 25"/>
              <a:gd name="T26" fmla="*/ 19 w 21"/>
              <a:gd name="T27" fmla="*/ 6 h 25"/>
              <a:gd name="T28" fmla="*/ 17 w 21"/>
              <a:gd name="T29" fmla="*/ 5 h 25"/>
              <a:gd name="T30" fmla="*/ 17 w 21"/>
              <a:gd name="T31" fmla="*/ 2 h 25"/>
              <a:gd name="T32" fmla="*/ 17 w 21"/>
              <a:gd name="T33" fmla="*/ 2 h 25"/>
              <a:gd name="T34" fmla="*/ 18 w 21"/>
              <a:gd name="T35" fmla="*/ 2 h 25"/>
              <a:gd name="T36" fmla="*/ 19 w 21"/>
              <a:gd name="T37" fmla="*/ 0 h 25"/>
              <a:gd name="T38" fmla="*/ 19 w 21"/>
              <a:gd name="T39" fmla="*/ 0 h 25"/>
              <a:gd name="T40" fmla="*/ 12 w 21"/>
              <a:gd name="T41" fmla="*/ 0 h 25"/>
              <a:gd name="T42" fmla="*/ 12 w 21"/>
              <a:gd name="T43" fmla="*/ 2 h 25"/>
              <a:gd name="T44" fmla="*/ 8 w 21"/>
              <a:gd name="T45" fmla="*/ 5 h 25"/>
              <a:gd name="T46" fmla="*/ 8 w 21"/>
              <a:gd name="T47" fmla="*/ 11 h 25"/>
              <a:gd name="T48" fmla="*/ 5 w 21"/>
              <a:gd name="T49" fmla="*/ 13 h 25"/>
              <a:gd name="T50" fmla="*/ 4 w 21"/>
              <a:gd name="T51" fmla="*/ 17 h 25"/>
              <a:gd name="T52" fmla="*/ 0 w 21"/>
              <a:gd name="T53" fmla="*/ 24 h 25"/>
              <a:gd name="T54" fmla="*/ 0 w 21"/>
              <a:gd name="T55" fmla="*/ 25 h 25"/>
              <a:gd name="T56" fmla="*/ 3 w 21"/>
              <a:gd name="T57" fmla="*/ 25 h 25"/>
              <a:gd name="T58" fmla="*/ 7 w 21"/>
              <a:gd name="T59" fmla="*/ 25 h 25"/>
              <a:gd name="T60" fmla="*/ 7 w 21"/>
              <a:gd name="T61" fmla="*/ 25 h 25"/>
              <a:gd name="T62" fmla="*/ 7 w 21"/>
              <a:gd name="T63" fmla="*/ 24 h 25"/>
              <a:gd name="T64" fmla="*/ 10 w 21"/>
              <a:gd name="T65" fmla="*/ 21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" h="25">
                <a:moveTo>
                  <a:pt x="10" y="21"/>
                </a:moveTo>
                <a:cubicBezTo>
                  <a:pt x="10" y="21"/>
                  <a:pt x="11" y="20"/>
                  <a:pt x="11" y="20"/>
                </a:cubicBezTo>
                <a:cubicBezTo>
                  <a:pt x="11" y="20"/>
                  <a:pt x="11" y="19"/>
                  <a:pt x="11" y="19"/>
                </a:cubicBezTo>
                <a:cubicBezTo>
                  <a:pt x="11" y="18"/>
                  <a:pt x="11" y="18"/>
                  <a:pt x="11" y="18"/>
                </a:cubicBezTo>
                <a:cubicBezTo>
                  <a:pt x="11" y="17"/>
                  <a:pt x="11" y="16"/>
                  <a:pt x="11" y="16"/>
                </a:cubicBezTo>
                <a:cubicBezTo>
                  <a:pt x="12" y="15"/>
                  <a:pt x="12" y="15"/>
                  <a:pt x="13" y="14"/>
                </a:cubicBezTo>
                <a:cubicBezTo>
                  <a:pt x="14" y="14"/>
                  <a:pt x="16" y="14"/>
                  <a:pt x="17" y="15"/>
                </a:cubicBezTo>
                <a:cubicBezTo>
                  <a:pt x="17" y="15"/>
                  <a:pt x="18" y="15"/>
                  <a:pt x="18" y="15"/>
                </a:cubicBezTo>
                <a:cubicBezTo>
                  <a:pt x="18" y="15"/>
                  <a:pt x="18" y="14"/>
                  <a:pt x="18" y="14"/>
                </a:cubicBezTo>
                <a:cubicBezTo>
                  <a:pt x="17" y="13"/>
                  <a:pt x="17" y="12"/>
                  <a:pt x="17" y="12"/>
                </a:cubicBezTo>
                <a:cubicBezTo>
                  <a:pt x="16" y="11"/>
                  <a:pt x="18" y="10"/>
                  <a:pt x="19" y="9"/>
                </a:cubicBezTo>
                <a:cubicBezTo>
                  <a:pt x="20" y="8"/>
                  <a:pt x="21" y="8"/>
                  <a:pt x="21" y="8"/>
                </a:cubicBezTo>
                <a:cubicBezTo>
                  <a:pt x="21" y="8"/>
                  <a:pt x="21" y="7"/>
                  <a:pt x="21" y="7"/>
                </a:cubicBezTo>
                <a:cubicBezTo>
                  <a:pt x="20" y="7"/>
                  <a:pt x="20" y="6"/>
                  <a:pt x="19" y="6"/>
                </a:cubicBezTo>
                <a:cubicBezTo>
                  <a:pt x="19" y="5"/>
                  <a:pt x="18" y="5"/>
                  <a:pt x="17" y="5"/>
                </a:cubicBezTo>
                <a:cubicBezTo>
                  <a:pt x="16" y="4"/>
                  <a:pt x="17" y="3"/>
                  <a:pt x="17" y="2"/>
                </a:cubicBezTo>
                <a:cubicBezTo>
                  <a:pt x="17" y="2"/>
                  <a:pt x="17" y="2"/>
                  <a:pt x="17" y="2"/>
                </a:cubicBezTo>
                <a:cubicBezTo>
                  <a:pt x="17" y="2"/>
                  <a:pt x="17" y="2"/>
                  <a:pt x="18" y="2"/>
                </a:cubicBezTo>
                <a:cubicBezTo>
                  <a:pt x="18" y="1"/>
                  <a:pt x="19" y="1"/>
                  <a:pt x="19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17" y="0"/>
                  <a:pt x="14" y="0"/>
                  <a:pt x="12" y="0"/>
                </a:cubicBezTo>
                <a:cubicBezTo>
                  <a:pt x="12" y="1"/>
                  <a:pt x="12" y="1"/>
                  <a:pt x="12" y="2"/>
                </a:cubicBezTo>
                <a:cubicBezTo>
                  <a:pt x="12" y="3"/>
                  <a:pt x="11" y="3"/>
                  <a:pt x="8" y="5"/>
                </a:cubicBezTo>
                <a:cubicBezTo>
                  <a:pt x="6" y="7"/>
                  <a:pt x="8" y="8"/>
                  <a:pt x="8" y="11"/>
                </a:cubicBezTo>
                <a:cubicBezTo>
                  <a:pt x="7" y="13"/>
                  <a:pt x="7" y="12"/>
                  <a:pt x="5" y="13"/>
                </a:cubicBezTo>
                <a:cubicBezTo>
                  <a:pt x="4" y="15"/>
                  <a:pt x="5" y="15"/>
                  <a:pt x="4" y="17"/>
                </a:cubicBezTo>
                <a:cubicBezTo>
                  <a:pt x="3" y="18"/>
                  <a:pt x="2" y="21"/>
                  <a:pt x="0" y="24"/>
                </a:cubicBezTo>
                <a:cubicBezTo>
                  <a:pt x="0" y="24"/>
                  <a:pt x="0" y="25"/>
                  <a:pt x="0" y="25"/>
                </a:cubicBezTo>
                <a:cubicBezTo>
                  <a:pt x="0" y="25"/>
                  <a:pt x="2" y="25"/>
                  <a:pt x="3" y="25"/>
                </a:cubicBezTo>
                <a:cubicBezTo>
                  <a:pt x="5" y="25"/>
                  <a:pt x="7" y="25"/>
                  <a:pt x="7" y="25"/>
                </a:cubicBezTo>
                <a:cubicBezTo>
                  <a:pt x="7" y="25"/>
                  <a:pt x="7" y="25"/>
                  <a:pt x="7" y="25"/>
                </a:cubicBezTo>
                <a:cubicBezTo>
                  <a:pt x="7" y="25"/>
                  <a:pt x="7" y="24"/>
                  <a:pt x="7" y="24"/>
                </a:cubicBezTo>
                <a:cubicBezTo>
                  <a:pt x="7" y="23"/>
                  <a:pt x="8" y="22"/>
                  <a:pt x="10" y="2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5" name="Freeform 81"/>
          <p:cNvSpPr>
            <a:spLocks/>
          </p:cNvSpPr>
          <p:nvPr/>
        </p:nvSpPr>
        <p:spPr bwMode="auto">
          <a:xfrm>
            <a:off x="5935787" y="5813426"/>
            <a:ext cx="914400" cy="752475"/>
          </a:xfrm>
          <a:custGeom>
            <a:avLst/>
            <a:gdLst>
              <a:gd name="T0" fmla="*/ 86 w 96"/>
              <a:gd name="T1" fmla="*/ 1 h 79"/>
              <a:gd name="T2" fmla="*/ 73 w 96"/>
              <a:gd name="T3" fmla="*/ 2 h 79"/>
              <a:gd name="T4" fmla="*/ 57 w 96"/>
              <a:gd name="T5" fmla="*/ 8 h 79"/>
              <a:gd name="T6" fmla="*/ 47 w 96"/>
              <a:gd name="T7" fmla="*/ 9 h 79"/>
              <a:gd name="T8" fmla="*/ 41 w 96"/>
              <a:gd name="T9" fmla="*/ 6 h 79"/>
              <a:gd name="T10" fmla="*/ 36 w 96"/>
              <a:gd name="T11" fmla="*/ 6 h 79"/>
              <a:gd name="T12" fmla="*/ 27 w 96"/>
              <a:gd name="T13" fmla="*/ 9 h 79"/>
              <a:gd name="T14" fmla="*/ 21 w 96"/>
              <a:gd name="T15" fmla="*/ 10 h 79"/>
              <a:gd name="T16" fmla="*/ 15 w 96"/>
              <a:gd name="T17" fmla="*/ 7 h 79"/>
              <a:gd name="T18" fmla="*/ 13 w 96"/>
              <a:gd name="T19" fmla="*/ 11 h 79"/>
              <a:gd name="T20" fmla="*/ 14 w 96"/>
              <a:gd name="T21" fmla="*/ 15 h 79"/>
              <a:gd name="T22" fmla="*/ 11 w 96"/>
              <a:gd name="T23" fmla="*/ 17 h 79"/>
              <a:gd name="T24" fmla="*/ 11 w 96"/>
              <a:gd name="T25" fmla="*/ 17 h 79"/>
              <a:gd name="T26" fmla="*/ 8 w 96"/>
              <a:gd name="T27" fmla="*/ 21 h 79"/>
              <a:gd name="T28" fmla="*/ 6 w 96"/>
              <a:gd name="T29" fmla="*/ 23 h 79"/>
              <a:gd name="T30" fmla="*/ 1 w 96"/>
              <a:gd name="T31" fmla="*/ 26 h 79"/>
              <a:gd name="T32" fmla="*/ 3 w 96"/>
              <a:gd name="T33" fmla="*/ 37 h 79"/>
              <a:gd name="T34" fmla="*/ 11 w 96"/>
              <a:gd name="T35" fmla="*/ 40 h 79"/>
              <a:gd name="T36" fmla="*/ 11 w 96"/>
              <a:gd name="T37" fmla="*/ 44 h 79"/>
              <a:gd name="T38" fmla="*/ 10 w 96"/>
              <a:gd name="T39" fmla="*/ 44 h 79"/>
              <a:gd name="T40" fmla="*/ 12 w 96"/>
              <a:gd name="T41" fmla="*/ 46 h 79"/>
              <a:gd name="T42" fmla="*/ 14 w 96"/>
              <a:gd name="T43" fmla="*/ 50 h 79"/>
              <a:gd name="T44" fmla="*/ 10 w 96"/>
              <a:gd name="T45" fmla="*/ 53 h 79"/>
              <a:gd name="T46" fmla="*/ 12 w 96"/>
              <a:gd name="T47" fmla="*/ 56 h 79"/>
              <a:gd name="T48" fmla="*/ 8 w 96"/>
              <a:gd name="T49" fmla="*/ 57 h 79"/>
              <a:gd name="T50" fmla="*/ 4 w 96"/>
              <a:gd name="T51" fmla="*/ 57 h 79"/>
              <a:gd name="T52" fmla="*/ 4 w 96"/>
              <a:gd name="T53" fmla="*/ 59 h 79"/>
              <a:gd name="T54" fmla="*/ 2 w 96"/>
              <a:gd name="T55" fmla="*/ 64 h 79"/>
              <a:gd name="T56" fmla="*/ 0 w 96"/>
              <a:gd name="T57" fmla="*/ 66 h 79"/>
              <a:gd name="T58" fmla="*/ 0 w 96"/>
              <a:gd name="T59" fmla="*/ 71 h 79"/>
              <a:gd name="T60" fmla="*/ 6 w 96"/>
              <a:gd name="T61" fmla="*/ 76 h 79"/>
              <a:gd name="T62" fmla="*/ 15 w 96"/>
              <a:gd name="T63" fmla="*/ 79 h 79"/>
              <a:gd name="T64" fmla="*/ 51 w 96"/>
              <a:gd name="T65" fmla="*/ 58 h 79"/>
              <a:gd name="T66" fmla="*/ 76 w 96"/>
              <a:gd name="T67" fmla="*/ 44 h 79"/>
              <a:gd name="T68" fmla="*/ 78 w 96"/>
              <a:gd name="T69" fmla="*/ 40 h 79"/>
              <a:gd name="T70" fmla="*/ 79 w 96"/>
              <a:gd name="T71" fmla="*/ 32 h 79"/>
              <a:gd name="T72" fmla="*/ 81 w 96"/>
              <a:gd name="T73" fmla="*/ 27 h 79"/>
              <a:gd name="T74" fmla="*/ 80 w 96"/>
              <a:gd name="T75" fmla="*/ 16 h 79"/>
              <a:gd name="T76" fmla="*/ 82 w 96"/>
              <a:gd name="T77" fmla="*/ 10 h 79"/>
              <a:gd name="T78" fmla="*/ 85 w 96"/>
              <a:gd name="T79" fmla="*/ 10 h 79"/>
              <a:gd name="T80" fmla="*/ 88 w 96"/>
              <a:gd name="T81" fmla="*/ 9 h 79"/>
              <a:gd name="T82" fmla="*/ 95 w 96"/>
              <a:gd name="T83" fmla="*/ 3 h 79"/>
              <a:gd name="T84" fmla="*/ 95 w 96"/>
              <a:gd name="T85" fmla="*/ 3 h 79"/>
              <a:gd name="T86" fmla="*/ 95 w 96"/>
              <a:gd name="T87" fmla="*/ 1 h 79"/>
              <a:gd name="T88" fmla="*/ 94 w 96"/>
              <a:gd name="T89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6" h="79">
                <a:moveTo>
                  <a:pt x="90" y="0"/>
                </a:moveTo>
                <a:cubicBezTo>
                  <a:pt x="88" y="0"/>
                  <a:pt x="87" y="1"/>
                  <a:pt x="86" y="1"/>
                </a:cubicBezTo>
                <a:cubicBezTo>
                  <a:pt x="85" y="1"/>
                  <a:pt x="84" y="1"/>
                  <a:pt x="82" y="1"/>
                </a:cubicBezTo>
                <a:cubicBezTo>
                  <a:pt x="78" y="1"/>
                  <a:pt x="74" y="1"/>
                  <a:pt x="73" y="2"/>
                </a:cubicBezTo>
                <a:cubicBezTo>
                  <a:pt x="72" y="2"/>
                  <a:pt x="68" y="3"/>
                  <a:pt x="64" y="5"/>
                </a:cubicBezTo>
                <a:cubicBezTo>
                  <a:pt x="62" y="6"/>
                  <a:pt x="59" y="7"/>
                  <a:pt x="57" y="8"/>
                </a:cubicBezTo>
                <a:cubicBezTo>
                  <a:pt x="54" y="9"/>
                  <a:pt x="52" y="9"/>
                  <a:pt x="49" y="9"/>
                </a:cubicBezTo>
                <a:cubicBezTo>
                  <a:pt x="49" y="9"/>
                  <a:pt x="48" y="9"/>
                  <a:pt x="47" y="9"/>
                </a:cubicBezTo>
                <a:cubicBezTo>
                  <a:pt x="44" y="9"/>
                  <a:pt x="43" y="8"/>
                  <a:pt x="42" y="7"/>
                </a:cubicBezTo>
                <a:cubicBezTo>
                  <a:pt x="42" y="7"/>
                  <a:pt x="42" y="7"/>
                  <a:pt x="41" y="6"/>
                </a:cubicBezTo>
                <a:cubicBezTo>
                  <a:pt x="40" y="6"/>
                  <a:pt x="39" y="6"/>
                  <a:pt x="38" y="6"/>
                </a:cubicBezTo>
                <a:cubicBezTo>
                  <a:pt x="38" y="6"/>
                  <a:pt x="37" y="6"/>
                  <a:pt x="36" y="6"/>
                </a:cubicBezTo>
                <a:cubicBezTo>
                  <a:pt x="35" y="6"/>
                  <a:pt x="33" y="7"/>
                  <a:pt x="30" y="8"/>
                </a:cubicBezTo>
                <a:cubicBezTo>
                  <a:pt x="29" y="8"/>
                  <a:pt x="28" y="9"/>
                  <a:pt x="27" y="9"/>
                </a:cubicBezTo>
                <a:cubicBezTo>
                  <a:pt x="25" y="10"/>
                  <a:pt x="24" y="10"/>
                  <a:pt x="22" y="10"/>
                </a:cubicBezTo>
                <a:cubicBezTo>
                  <a:pt x="22" y="10"/>
                  <a:pt x="21" y="10"/>
                  <a:pt x="21" y="10"/>
                </a:cubicBezTo>
                <a:cubicBezTo>
                  <a:pt x="20" y="11"/>
                  <a:pt x="19" y="10"/>
                  <a:pt x="18" y="9"/>
                </a:cubicBezTo>
                <a:cubicBezTo>
                  <a:pt x="17" y="8"/>
                  <a:pt x="15" y="7"/>
                  <a:pt x="15" y="7"/>
                </a:cubicBezTo>
                <a:cubicBezTo>
                  <a:pt x="15" y="8"/>
                  <a:pt x="14" y="8"/>
                  <a:pt x="14" y="9"/>
                </a:cubicBezTo>
                <a:cubicBezTo>
                  <a:pt x="13" y="10"/>
                  <a:pt x="13" y="11"/>
                  <a:pt x="13" y="11"/>
                </a:cubicBezTo>
                <a:cubicBezTo>
                  <a:pt x="13" y="12"/>
                  <a:pt x="13" y="12"/>
                  <a:pt x="14" y="13"/>
                </a:cubicBezTo>
                <a:cubicBezTo>
                  <a:pt x="14" y="14"/>
                  <a:pt x="14" y="14"/>
                  <a:pt x="14" y="15"/>
                </a:cubicBezTo>
                <a:cubicBezTo>
                  <a:pt x="13" y="16"/>
                  <a:pt x="12" y="16"/>
                  <a:pt x="11" y="17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7"/>
                  <a:pt x="11" y="17"/>
                  <a:pt x="11" y="17"/>
                </a:cubicBezTo>
                <a:cubicBezTo>
                  <a:pt x="10" y="17"/>
                  <a:pt x="11" y="17"/>
                  <a:pt x="11" y="17"/>
                </a:cubicBezTo>
                <a:cubicBezTo>
                  <a:pt x="10" y="18"/>
                  <a:pt x="10" y="20"/>
                  <a:pt x="9" y="20"/>
                </a:cubicBezTo>
                <a:cubicBezTo>
                  <a:pt x="9" y="20"/>
                  <a:pt x="9" y="21"/>
                  <a:pt x="8" y="21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2"/>
                  <a:pt x="7" y="23"/>
                  <a:pt x="6" y="23"/>
                </a:cubicBezTo>
                <a:cubicBezTo>
                  <a:pt x="5" y="24"/>
                  <a:pt x="4" y="23"/>
                  <a:pt x="3" y="22"/>
                </a:cubicBezTo>
                <a:cubicBezTo>
                  <a:pt x="3" y="24"/>
                  <a:pt x="1" y="25"/>
                  <a:pt x="1" y="26"/>
                </a:cubicBezTo>
                <a:cubicBezTo>
                  <a:pt x="0" y="29"/>
                  <a:pt x="3" y="28"/>
                  <a:pt x="4" y="29"/>
                </a:cubicBezTo>
                <a:cubicBezTo>
                  <a:pt x="5" y="30"/>
                  <a:pt x="3" y="34"/>
                  <a:pt x="3" y="37"/>
                </a:cubicBezTo>
                <a:cubicBezTo>
                  <a:pt x="3" y="38"/>
                  <a:pt x="3" y="39"/>
                  <a:pt x="4" y="40"/>
                </a:cubicBezTo>
                <a:cubicBezTo>
                  <a:pt x="6" y="40"/>
                  <a:pt x="9" y="39"/>
                  <a:pt x="11" y="40"/>
                </a:cubicBezTo>
                <a:cubicBezTo>
                  <a:pt x="12" y="40"/>
                  <a:pt x="12" y="41"/>
                  <a:pt x="12" y="42"/>
                </a:cubicBezTo>
                <a:cubicBezTo>
                  <a:pt x="12" y="43"/>
                  <a:pt x="11" y="43"/>
                  <a:pt x="11" y="44"/>
                </a:cubicBezTo>
                <a:cubicBezTo>
                  <a:pt x="10" y="44"/>
                  <a:pt x="10" y="44"/>
                  <a:pt x="10" y="44"/>
                </a:cubicBezTo>
                <a:cubicBezTo>
                  <a:pt x="10" y="44"/>
                  <a:pt x="10" y="44"/>
                  <a:pt x="10" y="44"/>
                </a:cubicBezTo>
                <a:cubicBezTo>
                  <a:pt x="10" y="44"/>
                  <a:pt x="10" y="44"/>
                  <a:pt x="10" y="45"/>
                </a:cubicBezTo>
                <a:cubicBezTo>
                  <a:pt x="11" y="45"/>
                  <a:pt x="11" y="45"/>
                  <a:pt x="12" y="46"/>
                </a:cubicBezTo>
                <a:cubicBezTo>
                  <a:pt x="13" y="46"/>
                  <a:pt x="13" y="47"/>
                  <a:pt x="14" y="47"/>
                </a:cubicBezTo>
                <a:cubicBezTo>
                  <a:pt x="15" y="48"/>
                  <a:pt x="15" y="49"/>
                  <a:pt x="14" y="50"/>
                </a:cubicBezTo>
                <a:cubicBezTo>
                  <a:pt x="14" y="50"/>
                  <a:pt x="13" y="51"/>
                  <a:pt x="12" y="51"/>
                </a:cubicBezTo>
                <a:cubicBezTo>
                  <a:pt x="11" y="52"/>
                  <a:pt x="10" y="52"/>
                  <a:pt x="10" y="53"/>
                </a:cubicBezTo>
                <a:cubicBezTo>
                  <a:pt x="10" y="53"/>
                  <a:pt x="10" y="53"/>
                  <a:pt x="11" y="54"/>
                </a:cubicBezTo>
                <a:cubicBezTo>
                  <a:pt x="11" y="55"/>
                  <a:pt x="12" y="55"/>
                  <a:pt x="12" y="56"/>
                </a:cubicBezTo>
                <a:cubicBezTo>
                  <a:pt x="12" y="57"/>
                  <a:pt x="12" y="57"/>
                  <a:pt x="11" y="57"/>
                </a:cubicBezTo>
                <a:cubicBezTo>
                  <a:pt x="10" y="58"/>
                  <a:pt x="9" y="57"/>
                  <a:pt x="8" y="57"/>
                </a:cubicBezTo>
                <a:cubicBezTo>
                  <a:pt x="8" y="57"/>
                  <a:pt x="6" y="56"/>
                  <a:pt x="6" y="57"/>
                </a:cubicBezTo>
                <a:cubicBezTo>
                  <a:pt x="5" y="57"/>
                  <a:pt x="5" y="57"/>
                  <a:pt x="4" y="57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59"/>
                  <a:pt x="4" y="59"/>
                  <a:pt x="4" y="59"/>
                </a:cubicBezTo>
                <a:cubicBezTo>
                  <a:pt x="5" y="60"/>
                  <a:pt x="5" y="61"/>
                  <a:pt x="5" y="61"/>
                </a:cubicBezTo>
                <a:cubicBezTo>
                  <a:pt x="5" y="62"/>
                  <a:pt x="3" y="63"/>
                  <a:pt x="2" y="64"/>
                </a:cubicBezTo>
                <a:cubicBezTo>
                  <a:pt x="1" y="64"/>
                  <a:pt x="0" y="65"/>
                  <a:pt x="0" y="65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68"/>
                  <a:pt x="0" y="70"/>
                  <a:pt x="0" y="71"/>
                </a:cubicBezTo>
                <a:cubicBezTo>
                  <a:pt x="1" y="72"/>
                  <a:pt x="1" y="72"/>
                  <a:pt x="2" y="73"/>
                </a:cubicBezTo>
                <a:cubicBezTo>
                  <a:pt x="3" y="74"/>
                  <a:pt x="5" y="75"/>
                  <a:pt x="6" y="76"/>
                </a:cubicBezTo>
                <a:cubicBezTo>
                  <a:pt x="7" y="76"/>
                  <a:pt x="7" y="76"/>
                  <a:pt x="7" y="76"/>
                </a:cubicBezTo>
                <a:cubicBezTo>
                  <a:pt x="9" y="77"/>
                  <a:pt x="13" y="79"/>
                  <a:pt x="15" y="79"/>
                </a:cubicBezTo>
                <a:cubicBezTo>
                  <a:pt x="17" y="78"/>
                  <a:pt x="33" y="69"/>
                  <a:pt x="43" y="63"/>
                </a:cubicBezTo>
                <a:cubicBezTo>
                  <a:pt x="47" y="60"/>
                  <a:pt x="50" y="58"/>
                  <a:pt x="51" y="58"/>
                </a:cubicBezTo>
                <a:cubicBezTo>
                  <a:pt x="52" y="58"/>
                  <a:pt x="54" y="56"/>
                  <a:pt x="57" y="55"/>
                </a:cubicBezTo>
                <a:cubicBezTo>
                  <a:pt x="64" y="51"/>
                  <a:pt x="76" y="45"/>
                  <a:pt x="76" y="44"/>
                </a:cubicBezTo>
                <a:cubicBezTo>
                  <a:pt x="77" y="44"/>
                  <a:pt x="77" y="42"/>
                  <a:pt x="78" y="41"/>
                </a:cubicBezTo>
                <a:cubicBezTo>
                  <a:pt x="78" y="40"/>
                  <a:pt x="78" y="40"/>
                  <a:pt x="78" y="40"/>
                </a:cubicBezTo>
                <a:cubicBezTo>
                  <a:pt x="78" y="39"/>
                  <a:pt x="78" y="38"/>
                  <a:pt x="78" y="36"/>
                </a:cubicBezTo>
                <a:cubicBezTo>
                  <a:pt x="78" y="35"/>
                  <a:pt x="78" y="33"/>
                  <a:pt x="79" y="32"/>
                </a:cubicBezTo>
                <a:cubicBezTo>
                  <a:pt x="79" y="31"/>
                  <a:pt x="80" y="30"/>
                  <a:pt x="80" y="29"/>
                </a:cubicBezTo>
                <a:cubicBezTo>
                  <a:pt x="80" y="28"/>
                  <a:pt x="81" y="27"/>
                  <a:pt x="81" y="27"/>
                </a:cubicBezTo>
                <a:cubicBezTo>
                  <a:pt x="81" y="26"/>
                  <a:pt x="80" y="24"/>
                  <a:pt x="80" y="22"/>
                </a:cubicBezTo>
                <a:cubicBezTo>
                  <a:pt x="80" y="19"/>
                  <a:pt x="79" y="17"/>
                  <a:pt x="80" y="16"/>
                </a:cubicBezTo>
                <a:cubicBezTo>
                  <a:pt x="80" y="15"/>
                  <a:pt x="80" y="13"/>
                  <a:pt x="81" y="12"/>
                </a:cubicBezTo>
                <a:cubicBezTo>
                  <a:pt x="81" y="11"/>
                  <a:pt x="82" y="11"/>
                  <a:pt x="82" y="10"/>
                </a:cubicBezTo>
                <a:cubicBezTo>
                  <a:pt x="82" y="10"/>
                  <a:pt x="82" y="10"/>
                  <a:pt x="82" y="10"/>
                </a:cubicBezTo>
                <a:cubicBezTo>
                  <a:pt x="83" y="10"/>
                  <a:pt x="84" y="10"/>
                  <a:pt x="85" y="10"/>
                </a:cubicBezTo>
                <a:cubicBezTo>
                  <a:pt x="86" y="10"/>
                  <a:pt x="87" y="9"/>
                  <a:pt x="88" y="9"/>
                </a:cubicBezTo>
                <a:cubicBezTo>
                  <a:pt x="88" y="9"/>
                  <a:pt x="88" y="9"/>
                  <a:pt x="88" y="9"/>
                </a:cubicBezTo>
                <a:cubicBezTo>
                  <a:pt x="88" y="9"/>
                  <a:pt x="90" y="8"/>
                  <a:pt x="91" y="7"/>
                </a:cubicBezTo>
                <a:cubicBezTo>
                  <a:pt x="93" y="5"/>
                  <a:pt x="95" y="3"/>
                  <a:pt x="95" y="3"/>
                </a:cubicBezTo>
                <a:cubicBezTo>
                  <a:pt x="95" y="3"/>
                  <a:pt x="95" y="3"/>
                  <a:pt x="95" y="3"/>
                </a:cubicBezTo>
                <a:cubicBezTo>
                  <a:pt x="95" y="3"/>
                  <a:pt x="95" y="3"/>
                  <a:pt x="95" y="3"/>
                </a:cubicBezTo>
                <a:cubicBezTo>
                  <a:pt x="95" y="2"/>
                  <a:pt x="95" y="2"/>
                  <a:pt x="95" y="1"/>
                </a:cubicBezTo>
                <a:cubicBezTo>
                  <a:pt x="95" y="1"/>
                  <a:pt x="95" y="1"/>
                  <a:pt x="95" y="1"/>
                </a:cubicBezTo>
                <a:cubicBezTo>
                  <a:pt x="95" y="1"/>
                  <a:pt x="96" y="1"/>
                  <a:pt x="96" y="0"/>
                </a:cubicBezTo>
                <a:cubicBezTo>
                  <a:pt x="95" y="0"/>
                  <a:pt x="94" y="0"/>
                  <a:pt x="94" y="0"/>
                </a:cubicBezTo>
                <a:cubicBezTo>
                  <a:pt x="93" y="0"/>
                  <a:pt x="91" y="0"/>
                  <a:pt x="9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6" name="Freeform 82"/>
          <p:cNvSpPr>
            <a:spLocks/>
          </p:cNvSpPr>
          <p:nvPr/>
        </p:nvSpPr>
        <p:spPr bwMode="auto">
          <a:xfrm>
            <a:off x="4621337" y="5032376"/>
            <a:ext cx="400050" cy="295275"/>
          </a:xfrm>
          <a:custGeom>
            <a:avLst/>
            <a:gdLst>
              <a:gd name="T0" fmla="*/ 41 w 42"/>
              <a:gd name="T1" fmla="*/ 13 h 31"/>
              <a:gd name="T2" fmla="*/ 38 w 42"/>
              <a:gd name="T3" fmla="*/ 12 h 31"/>
              <a:gd name="T4" fmla="*/ 31 w 42"/>
              <a:gd name="T5" fmla="*/ 8 h 31"/>
              <a:gd name="T6" fmla="*/ 28 w 42"/>
              <a:gd name="T7" fmla="*/ 5 h 31"/>
              <a:gd name="T8" fmla="*/ 27 w 42"/>
              <a:gd name="T9" fmla="*/ 1 h 31"/>
              <a:gd name="T10" fmla="*/ 26 w 42"/>
              <a:gd name="T11" fmla="*/ 1 h 31"/>
              <a:gd name="T12" fmla="*/ 20 w 42"/>
              <a:gd name="T13" fmla="*/ 2 h 31"/>
              <a:gd name="T14" fmla="*/ 18 w 42"/>
              <a:gd name="T15" fmla="*/ 1 h 31"/>
              <a:gd name="T16" fmla="*/ 15 w 42"/>
              <a:gd name="T17" fmla="*/ 0 h 31"/>
              <a:gd name="T18" fmla="*/ 11 w 42"/>
              <a:gd name="T19" fmla="*/ 1 h 31"/>
              <a:gd name="T20" fmla="*/ 8 w 42"/>
              <a:gd name="T21" fmla="*/ 3 h 31"/>
              <a:gd name="T22" fmla="*/ 8 w 42"/>
              <a:gd name="T23" fmla="*/ 3 h 31"/>
              <a:gd name="T24" fmla="*/ 7 w 42"/>
              <a:gd name="T25" fmla="*/ 5 h 31"/>
              <a:gd name="T26" fmla="*/ 9 w 42"/>
              <a:gd name="T27" fmla="*/ 10 h 31"/>
              <a:gd name="T28" fmla="*/ 7 w 42"/>
              <a:gd name="T29" fmla="*/ 13 h 31"/>
              <a:gd name="T30" fmla="*/ 5 w 42"/>
              <a:gd name="T31" fmla="*/ 14 h 31"/>
              <a:gd name="T32" fmla="*/ 5 w 42"/>
              <a:gd name="T33" fmla="*/ 16 h 31"/>
              <a:gd name="T34" fmla="*/ 5 w 42"/>
              <a:gd name="T35" fmla="*/ 17 h 31"/>
              <a:gd name="T36" fmla="*/ 4 w 42"/>
              <a:gd name="T37" fmla="*/ 19 h 31"/>
              <a:gd name="T38" fmla="*/ 4 w 42"/>
              <a:gd name="T39" fmla="*/ 19 h 31"/>
              <a:gd name="T40" fmla="*/ 3 w 42"/>
              <a:gd name="T41" fmla="*/ 20 h 31"/>
              <a:gd name="T42" fmla="*/ 1 w 42"/>
              <a:gd name="T43" fmla="*/ 22 h 31"/>
              <a:gd name="T44" fmla="*/ 0 w 42"/>
              <a:gd name="T45" fmla="*/ 23 h 31"/>
              <a:gd name="T46" fmla="*/ 7 w 42"/>
              <a:gd name="T47" fmla="*/ 24 h 31"/>
              <a:gd name="T48" fmla="*/ 2 w 42"/>
              <a:gd name="T49" fmla="*/ 27 h 31"/>
              <a:gd name="T50" fmla="*/ 2 w 42"/>
              <a:gd name="T51" fmla="*/ 30 h 31"/>
              <a:gd name="T52" fmla="*/ 12 w 42"/>
              <a:gd name="T53" fmla="*/ 26 h 31"/>
              <a:gd name="T54" fmla="*/ 17 w 42"/>
              <a:gd name="T55" fmla="*/ 22 h 31"/>
              <a:gd name="T56" fmla="*/ 23 w 42"/>
              <a:gd name="T57" fmla="*/ 17 h 31"/>
              <a:gd name="T58" fmla="*/ 31 w 42"/>
              <a:gd name="T59" fmla="*/ 17 h 31"/>
              <a:gd name="T60" fmla="*/ 37 w 42"/>
              <a:gd name="T61" fmla="*/ 18 h 31"/>
              <a:gd name="T62" fmla="*/ 38 w 42"/>
              <a:gd name="T63" fmla="*/ 15 h 31"/>
              <a:gd name="T64" fmla="*/ 41 w 42"/>
              <a:gd name="T65" fmla="*/ 13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2" h="31">
                <a:moveTo>
                  <a:pt x="41" y="13"/>
                </a:moveTo>
                <a:cubicBezTo>
                  <a:pt x="42" y="11"/>
                  <a:pt x="40" y="12"/>
                  <a:pt x="38" y="12"/>
                </a:cubicBezTo>
                <a:cubicBezTo>
                  <a:pt x="36" y="11"/>
                  <a:pt x="34" y="10"/>
                  <a:pt x="31" y="8"/>
                </a:cubicBezTo>
                <a:cubicBezTo>
                  <a:pt x="29" y="7"/>
                  <a:pt x="29" y="6"/>
                  <a:pt x="28" y="5"/>
                </a:cubicBezTo>
                <a:cubicBezTo>
                  <a:pt x="27" y="3"/>
                  <a:pt x="27" y="2"/>
                  <a:pt x="27" y="1"/>
                </a:cubicBezTo>
                <a:cubicBezTo>
                  <a:pt x="27" y="1"/>
                  <a:pt x="27" y="1"/>
                  <a:pt x="26" y="1"/>
                </a:cubicBezTo>
                <a:cubicBezTo>
                  <a:pt x="24" y="2"/>
                  <a:pt x="22" y="2"/>
                  <a:pt x="20" y="2"/>
                </a:cubicBezTo>
                <a:cubicBezTo>
                  <a:pt x="20" y="1"/>
                  <a:pt x="19" y="1"/>
                  <a:pt x="18" y="1"/>
                </a:cubicBezTo>
                <a:cubicBezTo>
                  <a:pt x="17" y="0"/>
                  <a:pt x="16" y="0"/>
                  <a:pt x="15" y="0"/>
                </a:cubicBezTo>
                <a:cubicBezTo>
                  <a:pt x="14" y="0"/>
                  <a:pt x="12" y="1"/>
                  <a:pt x="11" y="1"/>
                </a:cubicBezTo>
                <a:cubicBezTo>
                  <a:pt x="10" y="2"/>
                  <a:pt x="8" y="2"/>
                  <a:pt x="8" y="3"/>
                </a:cubicBezTo>
                <a:cubicBezTo>
                  <a:pt x="8" y="3"/>
                  <a:pt x="8" y="3"/>
                  <a:pt x="8" y="3"/>
                </a:cubicBezTo>
                <a:cubicBezTo>
                  <a:pt x="7" y="4"/>
                  <a:pt x="7" y="4"/>
                  <a:pt x="7" y="5"/>
                </a:cubicBezTo>
                <a:cubicBezTo>
                  <a:pt x="7" y="6"/>
                  <a:pt x="9" y="8"/>
                  <a:pt x="9" y="10"/>
                </a:cubicBezTo>
                <a:cubicBezTo>
                  <a:pt x="8" y="11"/>
                  <a:pt x="8" y="12"/>
                  <a:pt x="7" y="13"/>
                </a:cubicBezTo>
                <a:cubicBezTo>
                  <a:pt x="6" y="13"/>
                  <a:pt x="5" y="13"/>
                  <a:pt x="5" y="14"/>
                </a:cubicBezTo>
                <a:cubicBezTo>
                  <a:pt x="4" y="15"/>
                  <a:pt x="4" y="15"/>
                  <a:pt x="5" y="16"/>
                </a:cubicBezTo>
                <a:cubicBezTo>
                  <a:pt x="5" y="16"/>
                  <a:pt x="5" y="17"/>
                  <a:pt x="5" y="17"/>
                </a:cubicBezTo>
                <a:cubicBezTo>
                  <a:pt x="5" y="18"/>
                  <a:pt x="5" y="19"/>
                  <a:pt x="4" y="19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20"/>
                  <a:pt x="4" y="20"/>
                  <a:pt x="3" y="20"/>
                </a:cubicBezTo>
                <a:cubicBezTo>
                  <a:pt x="3" y="20"/>
                  <a:pt x="2" y="21"/>
                  <a:pt x="1" y="22"/>
                </a:cubicBezTo>
                <a:cubicBezTo>
                  <a:pt x="0" y="23"/>
                  <a:pt x="0" y="23"/>
                  <a:pt x="0" y="23"/>
                </a:cubicBezTo>
                <a:cubicBezTo>
                  <a:pt x="2" y="24"/>
                  <a:pt x="7" y="23"/>
                  <a:pt x="7" y="24"/>
                </a:cubicBezTo>
                <a:cubicBezTo>
                  <a:pt x="7" y="24"/>
                  <a:pt x="3" y="26"/>
                  <a:pt x="2" y="27"/>
                </a:cubicBezTo>
                <a:cubicBezTo>
                  <a:pt x="1" y="27"/>
                  <a:pt x="1" y="30"/>
                  <a:pt x="2" y="30"/>
                </a:cubicBezTo>
                <a:cubicBezTo>
                  <a:pt x="3" y="31"/>
                  <a:pt x="9" y="27"/>
                  <a:pt x="12" y="26"/>
                </a:cubicBezTo>
                <a:cubicBezTo>
                  <a:pt x="14" y="25"/>
                  <a:pt x="15" y="24"/>
                  <a:pt x="17" y="22"/>
                </a:cubicBezTo>
                <a:cubicBezTo>
                  <a:pt x="19" y="20"/>
                  <a:pt x="22" y="18"/>
                  <a:pt x="23" y="17"/>
                </a:cubicBezTo>
                <a:cubicBezTo>
                  <a:pt x="23" y="16"/>
                  <a:pt x="28" y="17"/>
                  <a:pt x="31" y="17"/>
                </a:cubicBezTo>
                <a:cubicBezTo>
                  <a:pt x="33" y="17"/>
                  <a:pt x="36" y="18"/>
                  <a:pt x="37" y="18"/>
                </a:cubicBezTo>
                <a:cubicBezTo>
                  <a:pt x="39" y="17"/>
                  <a:pt x="37" y="17"/>
                  <a:pt x="38" y="15"/>
                </a:cubicBezTo>
                <a:cubicBezTo>
                  <a:pt x="38" y="14"/>
                  <a:pt x="41" y="14"/>
                  <a:pt x="41" y="1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7" name="Freeform 83"/>
          <p:cNvSpPr>
            <a:spLocks/>
          </p:cNvSpPr>
          <p:nvPr/>
        </p:nvSpPr>
        <p:spPr bwMode="auto">
          <a:xfrm>
            <a:off x="4630862" y="5022851"/>
            <a:ext cx="2543175" cy="1000125"/>
          </a:xfrm>
          <a:custGeom>
            <a:avLst/>
            <a:gdLst>
              <a:gd name="T0" fmla="*/ 255 w 267"/>
              <a:gd name="T1" fmla="*/ 36 h 105"/>
              <a:gd name="T2" fmla="*/ 251 w 267"/>
              <a:gd name="T3" fmla="*/ 31 h 105"/>
              <a:gd name="T4" fmla="*/ 251 w 267"/>
              <a:gd name="T5" fmla="*/ 26 h 105"/>
              <a:gd name="T6" fmla="*/ 249 w 267"/>
              <a:gd name="T7" fmla="*/ 17 h 105"/>
              <a:gd name="T8" fmla="*/ 240 w 267"/>
              <a:gd name="T9" fmla="*/ 10 h 105"/>
              <a:gd name="T10" fmla="*/ 235 w 267"/>
              <a:gd name="T11" fmla="*/ 10 h 105"/>
              <a:gd name="T12" fmla="*/ 230 w 267"/>
              <a:gd name="T13" fmla="*/ 10 h 105"/>
              <a:gd name="T14" fmla="*/ 221 w 267"/>
              <a:gd name="T15" fmla="*/ 10 h 105"/>
              <a:gd name="T16" fmla="*/ 209 w 267"/>
              <a:gd name="T17" fmla="*/ 16 h 105"/>
              <a:gd name="T18" fmla="*/ 195 w 267"/>
              <a:gd name="T19" fmla="*/ 18 h 105"/>
              <a:gd name="T20" fmla="*/ 176 w 267"/>
              <a:gd name="T21" fmla="*/ 20 h 105"/>
              <a:gd name="T22" fmla="*/ 153 w 267"/>
              <a:gd name="T23" fmla="*/ 12 h 105"/>
              <a:gd name="T24" fmla="*/ 141 w 267"/>
              <a:gd name="T25" fmla="*/ 6 h 105"/>
              <a:gd name="T26" fmla="*/ 126 w 267"/>
              <a:gd name="T27" fmla="*/ 1 h 105"/>
              <a:gd name="T28" fmla="*/ 97 w 267"/>
              <a:gd name="T29" fmla="*/ 3 h 105"/>
              <a:gd name="T30" fmla="*/ 75 w 267"/>
              <a:gd name="T31" fmla="*/ 16 h 105"/>
              <a:gd name="T32" fmla="*/ 47 w 267"/>
              <a:gd name="T33" fmla="*/ 15 h 105"/>
              <a:gd name="T34" fmla="*/ 47 w 267"/>
              <a:gd name="T35" fmla="*/ 24 h 105"/>
              <a:gd name="T36" fmla="*/ 33 w 267"/>
              <a:gd name="T37" fmla="*/ 29 h 105"/>
              <a:gd name="T38" fmla="*/ 12 w 267"/>
              <a:gd name="T39" fmla="*/ 29 h 105"/>
              <a:gd name="T40" fmla="*/ 5 w 267"/>
              <a:gd name="T41" fmla="*/ 43 h 105"/>
              <a:gd name="T42" fmla="*/ 10 w 267"/>
              <a:gd name="T43" fmla="*/ 53 h 105"/>
              <a:gd name="T44" fmla="*/ 15 w 267"/>
              <a:gd name="T45" fmla="*/ 63 h 105"/>
              <a:gd name="T46" fmla="*/ 3 w 267"/>
              <a:gd name="T47" fmla="*/ 65 h 105"/>
              <a:gd name="T48" fmla="*/ 13 w 267"/>
              <a:gd name="T49" fmla="*/ 74 h 105"/>
              <a:gd name="T50" fmla="*/ 19 w 267"/>
              <a:gd name="T51" fmla="*/ 84 h 105"/>
              <a:gd name="T52" fmla="*/ 27 w 267"/>
              <a:gd name="T53" fmla="*/ 89 h 105"/>
              <a:gd name="T54" fmla="*/ 39 w 267"/>
              <a:gd name="T55" fmla="*/ 92 h 105"/>
              <a:gd name="T56" fmla="*/ 56 w 267"/>
              <a:gd name="T57" fmla="*/ 98 h 105"/>
              <a:gd name="T58" fmla="*/ 75 w 267"/>
              <a:gd name="T59" fmla="*/ 90 h 105"/>
              <a:gd name="T60" fmla="*/ 111 w 267"/>
              <a:gd name="T61" fmla="*/ 99 h 105"/>
              <a:gd name="T62" fmla="*/ 133 w 267"/>
              <a:gd name="T63" fmla="*/ 93 h 105"/>
              <a:gd name="T64" fmla="*/ 141 w 267"/>
              <a:gd name="T65" fmla="*/ 103 h 105"/>
              <a:gd name="T66" fmla="*/ 144 w 267"/>
              <a:gd name="T67" fmla="*/ 104 h 105"/>
              <a:gd name="T68" fmla="*/ 147 w 267"/>
              <a:gd name="T69" fmla="*/ 98 h 105"/>
              <a:gd name="T70" fmla="*/ 149 w 267"/>
              <a:gd name="T71" fmla="*/ 94 h 105"/>
              <a:gd name="T72" fmla="*/ 158 w 267"/>
              <a:gd name="T73" fmla="*/ 92 h 105"/>
              <a:gd name="T74" fmla="*/ 173 w 267"/>
              <a:gd name="T75" fmla="*/ 88 h 105"/>
              <a:gd name="T76" fmla="*/ 184 w 267"/>
              <a:gd name="T77" fmla="*/ 90 h 105"/>
              <a:gd name="T78" fmla="*/ 210 w 267"/>
              <a:gd name="T79" fmla="*/ 83 h 105"/>
              <a:gd name="T80" fmla="*/ 230 w 267"/>
              <a:gd name="T81" fmla="*/ 81 h 105"/>
              <a:gd name="T82" fmla="*/ 242 w 267"/>
              <a:gd name="T83" fmla="*/ 79 h 105"/>
              <a:gd name="T84" fmla="*/ 249 w 267"/>
              <a:gd name="T85" fmla="*/ 80 h 105"/>
              <a:gd name="T86" fmla="*/ 262 w 267"/>
              <a:gd name="T87" fmla="*/ 85 h 105"/>
              <a:gd name="T88" fmla="*/ 266 w 267"/>
              <a:gd name="T89" fmla="*/ 80 h 105"/>
              <a:gd name="T90" fmla="*/ 263 w 267"/>
              <a:gd name="T91" fmla="*/ 74 h 105"/>
              <a:gd name="T92" fmla="*/ 262 w 267"/>
              <a:gd name="T93" fmla="*/ 65 h 105"/>
              <a:gd name="T94" fmla="*/ 261 w 267"/>
              <a:gd name="T95" fmla="*/ 60 h 105"/>
              <a:gd name="T96" fmla="*/ 257 w 267"/>
              <a:gd name="T97" fmla="*/ 50 h 105"/>
              <a:gd name="T98" fmla="*/ 257 w 267"/>
              <a:gd name="T99" fmla="*/ 45 h 105"/>
              <a:gd name="T100" fmla="*/ 262 w 267"/>
              <a:gd name="T101" fmla="*/ 43 h 105"/>
              <a:gd name="T102" fmla="*/ 262 w 267"/>
              <a:gd name="T103" fmla="*/ 3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67" h="105">
                <a:moveTo>
                  <a:pt x="262" y="36"/>
                </a:moveTo>
                <a:cubicBezTo>
                  <a:pt x="261" y="36"/>
                  <a:pt x="260" y="36"/>
                  <a:pt x="259" y="36"/>
                </a:cubicBezTo>
                <a:cubicBezTo>
                  <a:pt x="258" y="36"/>
                  <a:pt x="256" y="36"/>
                  <a:pt x="255" y="36"/>
                </a:cubicBezTo>
                <a:cubicBezTo>
                  <a:pt x="255" y="36"/>
                  <a:pt x="255" y="36"/>
                  <a:pt x="255" y="36"/>
                </a:cubicBezTo>
                <a:cubicBezTo>
                  <a:pt x="255" y="36"/>
                  <a:pt x="255" y="36"/>
                  <a:pt x="255" y="36"/>
                </a:cubicBezTo>
                <a:cubicBezTo>
                  <a:pt x="253" y="35"/>
                  <a:pt x="251" y="34"/>
                  <a:pt x="250" y="34"/>
                </a:cubicBezTo>
                <a:cubicBezTo>
                  <a:pt x="250" y="33"/>
                  <a:pt x="250" y="32"/>
                  <a:pt x="250" y="32"/>
                </a:cubicBezTo>
                <a:cubicBezTo>
                  <a:pt x="251" y="31"/>
                  <a:pt x="251" y="31"/>
                  <a:pt x="251" y="31"/>
                </a:cubicBezTo>
                <a:cubicBezTo>
                  <a:pt x="251" y="31"/>
                  <a:pt x="251" y="30"/>
                  <a:pt x="250" y="30"/>
                </a:cubicBezTo>
                <a:cubicBezTo>
                  <a:pt x="250" y="29"/>
                  <a:pt x="250" y="28"/>
                  <a:pt x="250" y="27"/>
                </a:cubicBezTo>
                <a:cubicBezTo>
                  <a:pt x="250" y="26"/>
                  <a:pt x="250" y="26"/>
                  <a:pt x="251" y="26"/>
                </a:cubicBezTo>
                <a:cubicBezTo>
                  <a:pt x="251" y="26"/>
                  <a:pt x="251" y="26"/>
                  <a:pt x="251" y="26"/>
                </a:cubicBezTo>
                <a:cubicBezTo>
                  <a:pt x="251" y="26"/>
                  <a:pt x="251" y="25"/>
                  <a:pt x="251" y="25"/>
                </a:cubicBezTo>
                <a:cubicBezTo>
                  <a:pt x="251" y="25"/>
                  <a:pt x="251" y="24"/>
                  <a:pt x="251" y="23"/>
                </a:cubicBezTo>
                <a:cubicBezTo>
                  <a:pt x="251" y="22"/>
                  <a:pt x="251" y="20"/>
                  <a:pt x="251" y="20"/>
                </a:cubicBezTo>
                <a:cubicBezTo>
                  <a:pt x="251" y="20"/>
                  <a:pt x="250" y="18"/>
                  <a:pt x="249" y="17"/>
                </a:cubicBezTo>
                <a:cubicBezTo>
                  <a:pt x="248" y="17"/>
                  <a:pt x="247" y="16"/>
                  <a:pt x="247" y="16"/>
                </a:cubicBezTo>
                <a:cubicBezTo>
                  <a:pt x="247" y="15"/>
                  <a:pt x="246" y="14"/>
                  <a:pt x="245" y="14"/>
                </a:cubicBezTo>
                <a:cubicBezTo>
                  <a:pt x="244" y="13"/>
                  <a:pt x="243" y="12"/>
                  <a:pt x="242" y="12"/>
                </a:cubicBezTo>
                <a:cubicBezTo>
                  <a:pt x="241" y="11"/>
                  <a:pt x="241" y="11"/>
                  <a:pt x="240" y="10"/>
                </a:cubicBezTo>
                <a:cubicBezTo>
                  <a:pt x="240" y="10"/>
                  <a:pt x="239" y="9"/>
                  <a:pt x="239" y="9"/>
                </a:cubicBezTo>
                <a:cubicBezTo>
                  <a:pt x="239" y="9"/>
                  <a:pt x="239" y="9"/>
                  <a:pt x="238" y="9"/>
                </a:cubicBezTo>
                <a:cubicBezTo>
                  <a:pt x="238" y="9"/>
                  <a:pt x="237" y="9"/>
                  <a:pt x="237" y="9"/>
                </a:cubicBezTo>
                <a:cubicBezTo>
                  <a:pt x="236" y="9"/>
                  <a:pt x="236" y="10"/>
                  <a:pt x="235" y="10"/>
                </a:cubicBezTo>
                <a:cubicBezTo>
                  <a:pt x="235" y="11"/>
                  <a:pt x="235" y="11"/>
                  <a:pt x="234" y="11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12"/>
                  <a:pt x="233" y="11"/>
                  <a:pt x="231" y="11"/>
                </a:cubicBezTo>
                <a:cubicBezTo>
                  <a:pt x="231" y="11"/>
                  <a:pt x="231" y="10"/>
                  <a:pt x="230" y="10"/>
                </a:cubicBezTo>
                <a:cubicBezTo>
                  <a:pt x="229" y="10"/>
                  <a:pt x="228" y="10"/>
                  <a:pt x="226" y="10"/>
                </a:cubicBezTo>
                <a:cubicBezTo>
                  <a:pt x="226" y="10"/>
                  <a:pt x="225" y="11"/>
                  <a:pt x="224" y="11"/>
                </a:cubicBezTo>
                <a:cubicBezTo>
                  <a:pt x="223" y="11"/>
                  <a:pt x="223" y="10"/>
                  <a:pt x="221" y="10"/>
                </a:cubicBezTo>
                <a:cubicBezTo>
                  <a:pt x="221" y="10"/>
                  <a:pt x="221" y="10"/>
                  <a:pt x="221" y="10"/>
                </a:cubicBezTo>
                <a:cubicBezTo>
                  <a:pt x="221" y="10"/>
                  <a:pt x="221" y="10"/>
                  <a:pt x="221" y="10"/>
                </a:cubicBezTo>
                <a:cubicBezTo>
                  <a:pt x="219" y="11"/>
                  <a:pt x="218" y="12"/>
                  <a:pt x="217" y="13"/>
                </a:cubicBezTo>
                <a:cubicBezTo>
                  <a:pt x="216" y="14"/>
                  <a:pt x="215" y="14"/>
                  <a:pt x="211" y="15"/>
                </a:cubicBezTo>
                <a:cubicBezTo>
                  <a:pt x="208" y="16"/>
                  <a:pt x="210" y="16"/>
                  <a:pt x="209" y="16"/>
                </a:cubicBezTo>
                <a:cubicBezTo>
                  <a:pt x="208" y="17"/>
                  <a:pt x="207" y="17"/>
                  <a:pt x="206" y="18"/>
                </a:cubicBezTo>
                <a:cubicBezTo>
                  <a:pt x="204" y="18"/>
                  <a:pt x="203" y="20"/>
                  <a:pt x="202" y="20"/>
                </a:cubicBezTo>
                <a:cubicBezTo>
                  <a:pt x="201" y="20"/>
                  <a:pt x="200" y="19"/>
                  <a:pt x="199" y="19"/>
                </a:cubicBezTo>
                <a:cubicBezTo>
                  <a:pt x="198" y="19"/>
                  <a:pt x="197" y="19"/>
                  <a:pt x="195" y="18"/>
                </a:cubicBezTo>
                <a:cubicBezTo>
                  <a:pt x="193" y="18"/>
                  <a:pt x="192" y="17"/>
                  <a:pt x="191" y="16"/>
                </a:cubicBezTo>
                <a:cubicBezTo>
                  <a:pt x="189" y="16"/>
                  <a:pt x="190" y="17"/>
                  <a:pt x="188" y="17"/>
                </a:cubicBezTo>
                <a:cubicBezTo>
                  <a:pt x="187" y="18"/>
                  <a:pt x="185" y="17"/>
                  <a:pt x="183" y="18"/>
                </a:cubicBezTo>
                <a:cubicBezTo>
                  <a:pt x="181" y="19"/>
                  <a:pt x="178" y="19"/>
                  <a:pt x="176" y="20"/>
                </a:cubicBezTo>
                <a:cubicBezTo>
                  <a:pt x="175" y="20"/>
                  <a:pt x="173" y="20"/>
                  <a:pt x="172" y="19"/>
                </a:cubicBezTo>
                <a:cubicBezTo>
                  <a:pt x="170" y="19"/>
                  <a:pt x="167" y="17"/>
                  <a:pt x="164" y="17"/>
                </a:cubicBezTo>
                <a:cubicBezTo>
                  <a:pt x="161" y="17"/>
                  <a:pt x="161" y="17"/>
                  <a:pt x="159" y="16"/>
                </a:cubicBezTo>
                <a:cubicBezTo>
                  <a:pt x="158" y="16"/>
                  <a:pt x="154" y="12"/>
                  <a:pt x="153" y="12"/>
                </a:cubicBezTo>
                <a:cubicBezTo>
                  <a:pt x="152" y="13"/>
                  <a:pt x="151" y="14"/>
                  <a:pt x="149" y="14"/>
                </a:cubicBezTo>
                <a:cubicBezTo>
                  <a:pt x="148" y="14"/>
                  <a:pt x="147" y="14"/>
                  <a:pt x="145" y="13"/>
                </a:cubicBezTo>
                <a:cubicBezTo>
                  <a:pt x="144" y="12"/>
                  <a:pt x="144" y="12"/>
                  <a:pt x="144" y="10"/>
                </a:cubicBezTo>
                <a:cubicBezTo>
                  <a:pt x="143" y="8"/>
                  <a:pt x="143" y="6"/>
                  <a:pt x="141" y="6"/>
                </a:cubicBezTo>
                <a:cubicBezTo>
                  <a:pt x="138" y="6"/>
                  <a:pt x="139" y="6"/>
                  <a:pt x="134" y="7"/>
                </a:cubicBezTo>
                <a:cubicBezTo>
                  <a:pt x="130" y="8"/>
                  <a:pt x="131" y="5"/>
                  <a:pt x="130" y="4"/>
                </a:cubicBezTo>
                <a:cubicBezTo>
                  <a:pt x="129" y="2"/>
                  <a:pt x="132" y="1"/>
                  <a:pt x="131" y="0"/>
                </a:cubicBezTo>
                <a:cubicBezTo>
                  <a:pt x="130" y="0"/>
                  <a:pt x="127" y="1"/>
                  <a:pt x="126" y="1"/>
                </a:cubicBezTo>
                <a:cubicBezTo>
                  <a:pt x="125" y="1"/>
                  <a:pt x="125" y="1"/>
                  <a:pt x="123" y="2"/>
                </a:cubicBezTo>
                <a:cubicBezTo>
                  <a:pt x="122" y="3"/>
                  <a:pt x="116" y="2"/>
                  <a:pt x="112" y="2"/>
                </a:cubicBezTo>
                <a:cubicBezTo>
                  <a:pt x="109" y="2"/>
                  <a:pt x="104" y="0"/>
                  <a:pt x="102" y="1"/>
                </a:cubicBezTo>
                <a:cubicBezTo>
                  <a:pt x="101" y="1"/>
                  <a:pt x="99" y="2"/>
                  <a:pt x="97" y="3"/>
                </a:cubicBezTo>
                <a:cubicBezTo>
                  <a:pt x="94" y="4"/>
                  <a:pt x="93" y="4"/>
                  <a:pt x="89" y="5"/>
                </a:cubicBezTo>
                <a:cubicBezTo>
                  <a:pt x="85" y="6"/>
                  <a:pt x="88" y="6"/>
                  <a:pt x="86" y="8"/>
                </a:cubicBezTo>
                <a:cubicBezTo>
                  <a:pt x="84" y="10"/>
                  <a:pt x="84" y="9"/>
                  <a:pt x="81" y="11"/>
                </a:cubicBezTo>
                <a:cubicBezTo>
                  <a:pt x="78" y="12"/>
                  <a:pt x="77" y="15"/>
                  <a:pt x="75" y="16"/>
                </a:cubicBezTo>
                <a:cubicBezTo>
                  <a:pt x="73" y="18"/>
                  <a:pt x="71" y="17"/>
                  <a:pt x="68" y="17"/>
                </a:cubicBezTo>
                <a:cubicBezTo>
                  <a:pt x="65" y="17"/>
                  <a:pt x="61" y="15"/>
                  <a:pt x="60" y="15"/>
                </a:cubicBezTo>
                <a:cubicBezTo>
                  <a:pt x="58" y="15"/>
                  <a:pt x="58" y="15"/>
                  <a:pt x="55" y="16"/>
                </a:cubicBezTo>
                <a:cubicBezTo>
                  <a:pt x="52" y="17"/>
                  <a:pt x="49" y="15"/>
                  <a:pt x="47" y="15"/>
                </a:cubicBezTo>
                <a:cubicBezTo>
                  <a:pt x="45" y="15"/>
                  <a:pt x="44" y="15"/>
                  <a:pt x="44" y="17"/>
                </a:cubicBezTo>
                <a:cubicBezTo>
                  <a:pt x="43" y="19"/>
                  <a:pt x="45" y="19"/>
                  <a:pt x="46" y="21"/>
                </a:cubicBezTo>
                <a:cubicBezTo>
                  <a:pt x="46" y="22"/>
                  <a:pt x="54" y="22"/>
                  <a:pt x="54" y="23"/>
                </a:cubicBezTo>
                <a:cubicBezTo>
                  <a:pt x="54" y="25"/>
                  <a:pt x="51" y="24"/>
                  <a:pt x="47" y="24"/>
                </a:cubicBezTo>
                <a:cubicBezTo>
                  <a:pt x="43" y="24"/>
                  <a:pt x="41" y="24"/>
                  <a:pt x="39" y="26"/>
                </a:cubicBezTo>
                <a:cubicBezTo>
                  <a:pt x="37" y="27"/>
                  <a:pt x="42" y="27"/>
                  <a:pt x="43" y="28"/>
                </a:cubicBezTo>
                <a:cubicBezTo>
                  <a:pt x="44" y="28"/>
                  <a:pt x="43" y="28"/>
                  <a:pt x="42" y="29"/>
                </a:cubicBezTo>
                <a:cubicBezTo>
                  <a:pt x="42" y="30"/>
                  <a:pt x="36" y="29"/>
                  <a:pt x="33" y="29"/>
                </a:cubicBezTo>
                <a:cubicBezTo>
                  <a:pt x="30" y="29"/>
                  <a:pt x="26" y="29"/>
                  <a:pt x="25" y="29"/>
                </a:cubicBezTo>
                <a:cubicBezTo>
                  <a:pt x="24" y="29"/>
                  <a:pt x="20" y="30"/>
                  <a:pt x="19" y="30"/>
                </a:cubicBezTo>
                <a:cubicBezTo>
                  <a:pt x="17" y="30"/>
                  <a:pt x="16" y="29"/>
                  <a:pt x="16" y="29"/>
                </a:cubicBezTo>
                <a:cubicBezTo>
                  <a:pt x="15" y="29"/>
                  <a:pt x="14" y="29"/>
                  <a:pt x="12" y="29"/>
                </a:cubicBezTo>
                <a:cubicBezTo>
                  <a:pt x="10" y="30"/>
                  <a:pt x="3" y="34"/>
                  <a:pt x="1" y="35"/>
                </a:cubicBezTo>
                <a:cubicBezTo>
                  <a:pt x="0" y="36"/>
                  <a:pt x="1" y="37"/>
                  <a:pt x="1" y="38"/>
                </a:cubicBezTo>
                <a:cubicBezTo>
                  <a:pt x="1" y="39"/>
                  <a:pt x="0" y="43"/>
                  <a:pt x="1" y="44"/>
                </a:cubicBezTo>
                <a:cubicBezTo>
                  <a:pt x="1" y="45"/>
                  <a:pt x="4" y="43"/>
                  <a:pt x="5" y="43"/>
                </a:cubicBezTo>
                <a:cubicBezTo>
                  <a:pt x="7" y="43"/>
                  <a:pt x="11" y="43"/>
                  <a:pt x="12" y="43"/>
                </a:cubicBezTo>
                <a:cubicBezTo>
                  <a:pt x="12" y="44"/>
                  <a:pt x="9" y="46"/>
                  <a:pt x="8" y="47"/>
                </a:cubicBezTo>
                <a:cubicBezTo>
                  <a:pt x="7" y="48"/>
                  <a:pt x="8" y="48"/>
                  <a:pt x="9" y="49"/>
                </a:cubicBezTo>
                <a:cubicBezTo>
                  <a:pt x="10" y="50"/>
                  <a:pt x="9" y="51"/>
                  <a:pt x="10" y="53"/>
                </a:cubicBezTo>
                <a:cubicBezTo>
                  <a:pt x="10" y="54"/>
                  <a:pt x="13" y="54"/>
                  <a:pt x="14" y="54"/>
                </a:cubicBezTo>
                <a:cubicBezTo>
                  <a:pt x="14" y="55"/>
                  <a:pt x="11" y="56"/>
                  <a:pt x="10" y="57"/>
                </a:cubicBezTo>
                <a:cubicBezTo>
                  <a:pt x="8" y="58"/>
                  <a:pt x="10" y="59"/>
                  <a:pt x="10" y="60"/>
                </a:cubicBezTo>
                <a:cubicBezTo>
                  <a:pt x="11" y="61"/>
                  <a:pt x="15" y="62"/>
                  <a:pt x="15" y="63"/>
                </a:cubicBezTo>
                <a:cubicBezTo>
                  <a:pt x="15" y="63"/>
                  <a:pt x="10" y="63"/>
                  <a:pt x="8" y="63"/>
                </a:cubicBezTo>
                <a:cubicBezTo>
                  <a:pt x="7" y="63"/>
                  <a:pt x="5" y="59"/>
                  <a:pt x="5" y="60"/>
                </a:cubicBezTo>
                <a:cubicBezTo>
                  <a:pt x="4" y="60"/>
                  <a:pt x="5" y="62"/>
                  <a:pt x="5" y="63"/>
                </a:cubicBezTo>
                <a:cubicBezTo>
                  <a:pt x="5" y="64"/>
                  <a:pt x="3" y="64"/>
                  <a:pt x="3" y="65"/>
                </a:cubicBezTo>
                <a:cubicBezTo>
                  <a:pt x="3" y="66"/>
                  <a:pt x="7" y="66"/>
                  <a:pt x="9" y="66"/>
                </a:cubicBezTo>
                <a:cubicBezTo>
                  <a:pt x="11" y="67"/>
                  <a:pt x="11" y="68"/>
                  <a:pt x="13" y="69"/>
                </a:cubicBezTo>
                <a:cubicBezTo>
                  <a:pt x="15" y="70"/>
                  <a:pt x="16" y="70"/>
                  <a:pt x="16" y="72"/>
                </a:cubicBezTo>
                <a:cubicBezTo>
                  <a:pt x="15" y="75"/>
                  <a:pt x="14" y="73"/>
                  <a:pt x="13" y="74"/>
                </a:cubicBezTo>
                <a:cubicBezTo>
                  <a:pt x="12" y="75"/>
                  <a:pt x="13" y="75"/>
                  <a:pt x="15" y="76"/>
                </a:cubicBezTo>
                <a:cubicBezTo>
                  <a:pt x="17" y="77"/>
                  <a:pt x="15" y="77"/>
                  <a:pt x="15" y="79"/>
                </a:cubicBezTo>
                <a:cubicBezTo>
                  <a:pt x="16" y="81"/>
                  <a:pt x="19" y="79"/>
                  <a:pt x="21" y="81"/>
                </a:cubicBezTo>
                <a:cubicBezTo>
                  <a:pt x="23" y="82"/>
                  <a:pt x="22" y="82"/>
                  <a:pt x="19" y="84"/>
                </a:cubicBezTo>
                <a:cubicBezTo>
                  <a:pt x="17" y="86"/>
                  <a:pt x="17" y="85"/>
                  <a:pt x="16" y="86"/>
                </a:cubicBezTo>
                <a:cubicBezTo>
                  <a:pt x="16" y="87"/>
                  <a:pt x="22" y="86"/>
                  <a:pt x="24" y="85"/>
                </a:cubicBezTo>
                <a:cubicBezTo>
                  <a:pt x="26" y="85"/>
                  <a:pt x="28" y="84"/>
                  <a:pt x="31" y="85"/>
                </a:cubicBezTo>
                <a:cubicBezTo>
                  <a:pt x="33" y="85"/>
                  <a:pt x="28" y="87"/>
                  <a:pt x="27" y="89"/>
                </a:cubicBezTo>
                <a:cubicBezTo>
                  <a:pt x="26" y="90"/>
                  <a:pt x="27" y="91"/>
                  <a:pt x="28" y="92"/>
                </a:cubicBezTo>
                <a:cubicBezTo>
                  <a:pt x="29" y="92"/>
                  <a:pt x="31" y="89"/>
                  <a:pt x="33" y="89"/>
                </a:cubicBezTo>
                <a:cubicBezTo>
                  <a:pt x="34" y="89"/>
                  <a:pt x="34" y="90"/>
                  <a:pt x="35" y="91"/>
                </a:cubicBezTo>
                <a:cubicBezTo>
                  <a:pt x="36" y="91"/>
                  <a:pt x="37" y="92"/>
                  <a:pt x="39" y="92"/>
                </a:cubicBezTo>
                <a:cubicBezTo>
                  <a:pt x="40" y="93"/>
                  <a:pt x="39" y="90"/>
                  <a:pt x="40" y="89"/>
                </a:cubicBezTo>
                <a:cubicBezTo>
                  <a:pt x="40" y="89"/>
                  <a:pt x="43" y="96"/>
                  <a:pt x="45" y="98"/>
                </a:cubicBezTo>
                <a:cubicBezTo>
                  <a:pt x="48" y="100"/>
                  <a:pt x="49" y="99"/>
                  <a:pt x="51" y="100"/>
                </a:cubicBezTo>
                <a:cubicBezTo>
                  <a:pt x="52" y="100"/>
                  <a:pt x="55" y="100"/>
                  <a:pt x="56" y="98"/>
                </a:cubicBezTo>
                <a:cubicBezTo>
                  <a:pt x="58" y="97"/>
                  <a:pt x="59" y="98"/>
                  <a:pt x="60" y="99"/>
                </a:cubicBezTo>
                <a:cubicBezTo>
                  <a:pt x="62" y="99"/>
                  <a:pt x="63" y="96"/>
                  <a:pt x="63" y="94"/>
                </a:cubicBezTo>
                <a:cubicBezTo>
                  <a:pt x="63" y="92"/>
                  <a:pt x="63" y="89"/>
                  <a:pt x="65" y="88"/>
                </a:cubicBezTo>
                <a:cubicBezTo>
                  <a:pt x="66" y="87"/>
                  <a:pt x="73" y="89"/>
                  <a:pt x="75" y="90"/>
                </a:cubicBezTo>
                <a:cubicBezTo>
                  <a:pt x="77" y="91"/>
                  <a:pt x="81" y="93"/>
                  <a:pt x="85" y="95"/>
                </a:cubicBezTo>
                <a:cubicBezTo>
                  <a:pt x="89" y="98"/>
                  <a:pt x="91" y="101"/>
                  <a:pt x="93" y="101"/>
                </a:cubicBezTo>
                <a:cubicBezTo>
                  <a:pt x="94" y="102"/>
                  <a:pt x="99" y="101"/>
                  <a:pt x="101" y="100"/>
                </a:cubicBezTo>
                <a:cubicBezTo>
                  <a:pt x="104" y="99"/>
                  <a:pt x="107" y="99"/>
                  <a:pt x="111" y="99"/>
                </a:cubicBezTo>
                <a:cubicBezTo>
                  <a:pt x="115" y="99"/>
                  <a:pt x="115" y="96"/>
                  <a:pt x="116" y="95"/>
                </a:cubicBezTo>
                <a:cubicBezTo>
                  <a:pt x="118" y="93"/>
                  <a:pt x="119" y="90"/>
                  <a:pt x="122" y="89"/>
                </a:cubicBezTo>
                <a:cubicBezTo>
                  <a:pt x="125" y="87"/>
                  <a:pt x="125" y="89"/>
                  <a:pt x="126" y="90"/>
                </a:cubicBezTo>
                <a:cubicBezTo>
                  <a:pt x="126" y="92"/>
                  <a:pt x="130" y="93"/>
                  <a:pt x="133" y="93"/>
                </a:cubicBezTo>
                <a:cubicBezTo>
                  <a:pt x="135" y="94"/>
                  <a:pt x="139" y="89"/>
                  <a:pt x="140" y="88"/>
                </a:cubicBezTo>
                <a:cubicBezTo>
                  <a:pt x="142" y="87"/>
                  <a:pt x="144" y="88"/>
                  <a:pt x="144" y="90"/>
                </a:cubicBezTo>
                <a:cubicBezTo>
                  <a:pt x="144" y="91"/>
                  <a:pt x="141" y="94"/>
                  <a:pt x="139" y="98"/>
                </a:cubicBezTo>
                <a:cubicBezTo>
                  <a:pt x="137" y="102"/>
                  <a:pt x="140" y="100"/>
                  <a:pt x="141" y="103"/>
                </a:cubicBezTo>
                <a:cubicBezTo>
                  <a:pt x="141" y="103"/>
                  <a:pt x="141" y="104"/>
                  <a:pt x="141" y="104"/>
                </a:cubicBezTo>
                <a:cubicBezTo>
                  <a:pt x="142" y="105"/>
                  <a:pt x="142" y="105"/>
                  <a:pt x="143" y="105"/>
                </a:cubicBezTo>
                <a:cubicBezTo>
                  <a:pt x="143" y="105"/>
                  <a:pt x="144" y="104"/>
                  <a:pt x="144" y="104"/>
                </a:cubicBezTo>
                <a:cubicBezTo>
                  <a:pt x="144" y="104"/>
                  <a:pt x="144" y="104"/>
                  <a:pt x="144" y="104"/>
                </a:cubicBezTo>
                <a:cubicBezTo>
                  <a:pt x="145" y="103"/>
                  <a:pt x="145" y="102"/>
                  <a:pt x="146" y="102"/>
                </a:cubicBezTo>
                <a:cubicBezTo>
                  <a:pt x="146" y="102"/>
                  <a:pt x="146" y="101"/>
                  <a:pt x="146" y="100"/>
                </a:cubicBezTo>
                <a:cubicBezTo>
                  <a:pt x="146" y="99"/>
                  <a:pt x="146" y="99"/>
                  <a:pt x="147" y="98"/>
                </a:cubicBezTo>
                <a:cubicBezTo>
                  <a:pt x="147" y="98"/>
                  <a:pt x="147" y="98"/>
                  <a:pt x="147" y="98"/>
                </a:cubicBezTo>
                <a:cubicBezTo>
                  <a:pt x="147" y="98"/>
                  <a:pt x="147" y="98"/>
                  <a:pt x="148" y="98"/>
                </a:cubicBezTo>
                <a:cubicBezTo>
                  <a:pt x="148" y="98"/>
                  <a:pt x="149" y="98"/>
                  <a:pt x="150" y="97"/>
                </a:cubicBezTo>
                <a:cubicBezTo>
                  <a:pt x="150" y="97"/>
                  <a:pt x="150" y="97"/>
                  <a:pt x="149" y="96"/>
                </a:cubicBezTo>
                <a:cubicBezTo>
                  <a:pt x="149" y="96"/>
                  <a:pt x="149" y="95"/>
                  <a:pt x="149" y="94"/>
                </a:cubicBezTo>
                <a:cubicBezTo>
                  <a:pt x="149" y="94"/>
                  <a:pt x="149" y="93"/>
                  <a:pt x="150" y="92"/>
                </a:cubicBezTo>
                <a:cubicBezTo>
                  <a:pt x="150" y="91"/>
                  <a:pt x="151" y="90"/>
                  <a:pt x="151" y="89"/>
                </a:cubicBezTo>
                <a:cubicBezTo>
                  <a:pt x="152" y="88"/>
                  <a:pt x="154" y="89"/>
                  <a:pt x="156" y="91"/>
                </a:cubicBezTo>
                <a:cubicBezTo>
                  <a:pt x="157" y="91"/>
                  <a:pt x="158" y="92"/>
                  <a:pt x="158" y="92"/>
                </a:cubicBezTo>
                <a:cubicBezTo>
                  <a:pt x="158" y="92"/>
                  <a:pt x="159" y="92"/>
                  <a:pt x="160" y="92"/>
                </a:cubicBezTo>
                <a:cubicBezTo>
                  <a:pt x="161" y="92"/>
                  <a:pt x="162" y="92"/>
                  <a:pt x="163" y="91"/>
                </a:cubicBezTo>
                <a:cubicBezTo>
                  <a:pt x="164" y="91"/>
                  <a:pt x="165" y="90"/>
                  <a:pt x="167" y="90"/>
                </a:cubicBezTo>
                <a:cubicBezTo>
                  <a:pt x="169" y="89"/>
                  <a:pt x="172" y="88"/>
                  <a:pt x="173" y="88"/>
                </a:cubicBezTo>
                <a:cubicBezTo>
                  <a:pt x="174" y="87"/>
                  <a:pt x="175" y="87"/>
                  <a:pt x="176" y="87"/>
                </a:cubicBezTo>
                <a:cubicBezTo>
                  <a:pt x="177" y="87"/>
                  <a:pt x="178" y="88"/>
                  <a:pt x="179" y="88"/>
                </a:cubicBezTo>
                <a:cubicBezTo>
                  <a:pt x="179" y="88"/>
                  <a:pt x="180" y="89"/>
                  <a:pt x="180" y="89"/>
                </a:cubicBezTo>
                <a:cubicBezTo>
                  <a:pt x="181" y="90"/>
                  <a:pt x="182" y="90"/>
                  <a:pt x="184" y="90"/>
                </a:cubicBezTo>
                <a:cubicBezTo>
                  <a:pt x="185" y="90"/>
                  <a:pt x="186" y="90"/>
                  <a:pt x="187" y="90"/>
                </a:cubicBezTo>
                <a:cubicBezTo>
                  <a:pt x="189" y="91"/>
                  <a:pt x="191" y="91"/>
                  <a:pt x="194" y="89"/>
                </a:cubicBezTo>
                <a:cubicBezTo>
                  <a:pt x="195" y="89"/>
                  <a:pt x="198" y="88"/>
                  <a:pt x="201" y="87"/>
                </a:cubicBezTo>
                <a:cubicBezTo>
                  <a:pt x="205" y="85"/>
                  <a:pt x="209" y="84"/>
                  <a:pt x="210" y="83"/>
                </a:cubicBezTo>
                <a:cubicBezTo>
                  <a:pt x="211" y="83"/>
                  <a:pt x="215" y="83"/>
                  <a:pt x="219" y="83"/>
                </a:cubicBezTo>
                <a:cubicBezTo>
                  <a:pt x="221" y="83"/>
                  <a:pt x="222" y="83"/>
                  <a:pt x="223" y="82"/>
                </a:cubicBezTo>
                <a:cubicBezTo>
                  <a:pt x="224" y="82"/>
                  <a:pt x="225" y="82"/>
                  <a:pt x="226" y="82"/>
                </a:cubicBezTo>
                <a:cubicBezTo>
                  <a:pt x="228" y="82"/>
                  <a:pt x="230" y="81"/>
                  <a:pt x="230" y="81"/>
                </a:cubicBezTo>
                <a:cubicBezTo>
                  <a:pt x="232" y="81"/>
                  <a:pt x="233" y="82"/>
                  <a:pt x="234" y="82"/>
                </a:cubicBezTo>
                <a:cubicBezTo>
                  <a:pt x="234" y="82"/>
                  <a:pt x="235" y="81"/>
                  <a:pt x="236" y="81"/>
                </a:cubicBezTo>
                <a:cubicBezTo>
                  <a:pt x="237" y="80"/>
                  <a:pt x="238" y="79"/>
                  <a:pt x="238" y="79"/>
                </a:cubicBezTo>
                <a:cubicBezTo>
                  <a:pt x="240" y="79"/>
                  <a:pt x="241" y="79"/>
                  <a:pt x="242" y="79"/>
                </a:cubicBezTo>
                <a:cubicBezTo>
                  <a:pt x="244" y="79"/>
                  <a:pt x="245" y="79"/>
                  <a:pt x="245" y="80"/>
                </a:cubicBezTo>
                <a:cubicBezTo>
                  <a:pt x="246" y="80"/>
                  <a:pt x="248" y="80"/>
                  <a:pt x="249" y="80"/>
                </a:cubicBezTo>
                <a:cubicBezTo>
                  <a:pt x="249" y="80"/>
                  <a:pt x="249" y="80"/>
                  <a:pt x="249" y="80"/>
                </a:cubicBezTo>
                <a:cubicBezTo>
                  <a:pt x="249" y="80"/>
                  <a:pt x="249" y="80"/>
                  <a:pt x="249" y="80"/>
                </a:cubicBezTo>
                <a:cubicBezTo>
                  <a:pt x="250" y="80"/>
                  <a:pt x="250" y="80"/>
                  <a:pt x="251" y="80"/>
                </a:cubicBezTo>
                <a:cubicBezTo>
                  <a:pt x="253" y="80"/>
                  <a:pt x="256" y="81"/>
                  <a:pt x="257" y="80"/>
                </a:cubicBezTo>
                <a:cubicBezTo>
                  <a:pt x="258" y="79"/>
                  <a:pt x="259" y="81"/>
                  <a:pt x="260" y="83"/>
                </a:cubicBezTo>
                <a:cubicBezTo>
                  <a:pt x="261" y="84"/>
                  <a:pt x="262" y="85"/>
                  <a:pt x="262" y="85"/>
                </a:cubicBezTo>
                <a:cubicBezTo>
                  <a:pt x="263" y="86"/>
                  <a:pt x="265" y="84"/>
                  <a:pt x="267" y="83"/>
                </a:cubicBezTo>
                <a:cubicBezTo>
                  <a:pt x="267" y="83"/>
                  <a:pt x="267" y="82"/>
                  <a:pt x="267" y="82"/>
                </a:cubicBezTo>
                <a:cubicBezTo>
                  <a:pt x="267" y="81"/>
                  <a:pt x="267" y="81"/>
                  <a:pt x="267" y="81"/>
                </a:cubicBezTo>
                <a:cubicBezTo>
                  <a:pt x="267" y="81"/>
                  <a:pt x="266" y="80"/>
                  <a:pt x="266" y="80"/>
                </a:cubicBezTo>
                <a:cubicBezTo>
                  <a:pt x="265" y="79"/>
                  <a:pt x="265" y="79"/>
                  <a:pt x="264" y="78"/>
                </a:cubicBezTo>
                <a:cubicBezTo>
                  <a:pt x="264" y="78"/>
                  <a:pt x="264" y="77"/>
                  <a:pt x="264" y="76"/>
                </a:cubicBezTo>
                <a:cubicBezTo>
                  <a:pt x="264" y="75"/>
                  <a:pt x="264" y="74"/>
                  <a:pt x="264" y="74"/>
                </a:cubicBezTo>
                <a:cubicBezTo>
                  <a:pt x="264" y="74"/>
                  <a:pt x="263" y="74"/>
                  <a:pt x="263" y="74"/>
                </a:cubicBezTo>
                <a:cubicBezTo>
                  <a:pt x="261" y="73"/>
                  <a:pt x="259" y="72"/>
                  <a:pt x="259" y="71"/>
                </a:cubicBezTo>
                <a:cubicBezTo>
                  <a:pt x="259" y="70"/>
                  <a:pt x="260" y="69"/>
                  <a:pt x="261" y="67"/>
                </a:cubicBezTo>
                <a:cubicBezTo>
                  <a:pt x="261" y="67"/>
                  <a:pt x="262" y="66"/>
                  <a:pt x="262" y="65"/>
                </a:cubicBezTo>
                <a:cubicBezTo>
                  <a:pt x="262" y="65"/>
                  <a:pt x="262" y="65"/>
                  <a:pt x="262" y="65"/>
                </a:cubicBezTo>
                <a:cubicBezTo>
                  <a:pt x="262" y="64"/>
                  <a:pt x="263" y="64"/>
                  <a:pt x="263" y="64"/>
                </a:cubicBezTo>
                <a:cubicBezTo>
                  <a:pt x="263" y="64"/>
                  <a:pt x="263" y="64"/>
                  <a:pt x="262" y="64"/>
                </a:cubicBezTo>
                <a:cubicBezTo>
                  <a:pt x="262" y="64"/>
                  <a:pt x="262" y="64"/>
                  <a:pt x="261" y="63"/>
                </a:cubicBezTo>
                <a:cubicBezTo>
                  <a:pt x="261" y="63"/>
                  <a:pt x="261" y="62"/>
                  <a:pt x="261" y="60"/>
                </a:cubicBezTo>
                <a:cubicBezTo>
                  <a:pt x="261" y="58"/>
                  <a:pt x="261" y="56"/>
                  <a:pt x="261" y="56"/>
                </a:cubicBezTo>
                <a:cubicBezTo>
                  <a:pt x="260" y="55"/>
                  <a:pt x="260" y="55"/>
                  <a:pt x="259" y="54"/>
                </a:cubicBezTo>
                <a:cubicBezTo>
                  <a:pt x="259" y="54"/>
                  <a:pt x="258" y="54"/>
                  <a:pt x="258" y="53"/>
                </a:cubicBezTo>
                <a:cubicBezTo>
                  <a:pt x="258" y="53"/>
                  <a:pt x="257" y="51"/>
                  <a:pt x="257" y="50"/>
                </a:cubicBezTo>
                <a:cubicBezTo>
                  <a:pt x="256" y="49"/>
                  <a:pt x="256" y="48"/>
                  <a:pt x="256" y="47"/>
                </a:cubicBezTo>
                <a:cubicBezTo>
                  <a:pt x="256" y="46"/>
                  <a:pt x="256" y="46"/>
                  <a:pt x="257" y="45"/>
                </a:cubicBezTo>
                <a:cubicBezTo>
                  <a:pt x="257" y="45"/>
                  <a:pt x="257" y="45"/>
                  <a:pt x="257" y="45"/>
                </a:cubicBezTo>
                <a:cubicBezTo>
                  <a:pt x="257" y="45"/>
                  <a:pt x="257" y="45"/>
                  <a:pt x="257" y="45"/>
                </a:cubicBezTo>
                <a:cubicBezTo>
                  <a:pt x="257" y="45"/>
                  <a:pt x="257" y="45"/>
                  <a:pt x="257" y="45"/>
                </a:cubicBezTo>
                <a:cubicBezTo>
                  <a:pt x="258" y="45"/>
                  <a:pt x="258" y="45"/>
                  <a:pt x="259" y="45"/>
                </a:cubicBezTo>
                <a:cubicBezTo>
                  <a:pt x="260" y="45"/>
                  <a:pt x="261" y="45"/>
                  <a:pt x="261" y="45"/>
                </a:cubicBezTo>
                <a:cubicBezTo>
                  <a:pt x="262" y="44"/>
                  <a:pt x="262" y="43"/>
                  <a:pt x="262" y="43"/>
                </a:cubicBezTo>
                <a:cubicBezTo>
                  <a:pt x="262" y="42"/>
                  <a:pt x="262" y="41"/>
                  <a:pt x="263" y="40"/>
                </a:cubicBezTo>
                <a:cubicBezTo>
                  <a:pt x="263" y="40"/>
                  <a:pt x="264" y="40"/>
                  <a:pt x="265" y="40"/>
                </a:cubicBezTo>
                <a:cubicBezTo>
                  <a:pt x="265" y="39"/>
                  <a:pt x="264" y="39"/>
                  <a:pt x="264" y="38"/>
                </a:cubicBezTo>
                <a:cubicBezTo>
                  <a:pt x="263" y="37"/>
                  <a:pt x="262" y="36"/>
                  <a:pt x="262" y="3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8" name="Freeform 84"/>
          <p:cNvSpPr>
            <a:spLocks/>
          </p:cNvSpPr>
          <p:nvPr/>
        </p:nvSpPr>
        <p:spPr bwMode="auto">
          <a:xfrm>
            <a:off x="6535862" y="4775201"/>
            <a:ext cx="885825" cy="400050"/>
          </a:xfrm>
          <a:custGeom>
            <a:avLst/>
            <a:gdLst>
              <a:gd name="T0" fmla="*/ 13 w 93"/>
              <a:gd name="T1" fmla="*/ 9 h 42"/>
              <a:gd name="T2" fmla="*/ 20 w 93"/>
              <a:gd name="T3" fmla="*/ 15 h 42"/>
              <a:gd name="T4" fmla="*/ 22 w 93"/>
              <a:gd name="T5" fmla="*/ 23 h 42"/>
              <a:gd name="T6" fmla="*/ 24 w 93"/>
              <a:gd name="T7" fmla="*/ 31 h 42"/>
              <a:gd name="T8" fmla="*/ 22 w 93"/>
              <a:gd name="T9" fmla="*/ 34 h 42"/>
              <a:gd name="T10" fmla="*/ 26 w 93"/>
              <a:gd name="T11" fmla="*/ 35 h 42"/>
              <a:gd name="T12" fmla="*/ 32 w 93"/>
              <a:gd name="T13" fmla="*/ 36 h 42"/>
              <a:gd name="T14" fmla="*/ 34 w 93"/>
              <a:gd name="T15" fmla="*/ 36 h 42"/>
              <a:gd name="T16" fmla="*/ 37 w 93"/>
              <a:gd name="T17" fmla="*/ 33 h 42"/>
              <a:gd name="T18" fmla="*/ 38 w 93"/>
              <a:gd name="T19" fmla="*/ 33 h 42"/>
              <a:gd name="T20" fmla="*/ 41 w 93"/>
              <a:gd name="T21" fmla="*/ 35 h 42"/>
              <a:gd name="T22" fmla="*/ 45 w 93"/>
              <a:gd name="T23" fmla="*/ 38 h 42"/>
              <a:gd name="T24" fmla="*/ 49 w 93"/>
              <a:gd name="T25" fmla="*/ 42 h 42"/>
              <a:gd name="T26" fmla="*/ 59 w 93"/>
              <a:gd name="T27" fmla="*/ 40 h 42"/>
              <a:gd name="T28" fmla="*/ 69 w 93"/>
              <a:gd name="T29" fmla="*/ 39 h 42"/>
              <a:gd name="T30" fmla="*/ 74 w 93"/>
              <a:gd name="T31" fmla="*/ 36 h 42"/>
              <a:gd name="T32" fmla="*/ 80 w 93"/>
              <a:gd name="T33" fmla="*/ 38 h 42"/>
              <a:gd name="T34" fmla="*/ 86 w 93"/>
              <a:gd name="T35" fmla="*/ 40 h 42"/>
              <a:gd name="T36" fmla="*/ 93 w 93"/>
              <a:gd name="T37" fmla="*/ 41 h 42"/>
              <a:gd name="T38" fmla="*/ 93 w 93"/>
              <a:gd name="T39" fmla="*/ 40 h 42"/>
              <a:gd name="T40" fmla="*/ 93 w 93"/>
              <a:gd name="T41" fmla="*/ 39 h 42"/>
              <a:gd name="T42" fmla="*/ 91 w 93"/>
              <a:gd name="T43" fmla="*/ 37 h 42"/>
              <a:gd name="T44" fmla="*/ 90 w 93"/>
              <a:gd name="T45" fmla="*/ 36 h 42"/>
              <a:gd name="T46" fmla="*/ 88 w 93"/>
              <a:gd name="T47" fmla="*/ 34 h 42"/>
              <a:gd name="T48" fmla="*/ 90 w 93"/>
              <a:gd name="T49" fmla="*/ 28 h 42"/>
              <a:gd name="T50" fmla="*/ 88 w 93"/>
              <a:gd name="T51" fmla="*/ 28 h 42"/>
              <a:gd name="T52" fmla="*/ 84 w 93"/>
              <a:gd name="T53" fmla="*/ 27 h 42"/>
              <a:gd name="T54" fmla="*/ 80 w 93"/>
              <a:gd name="T55" fmla="*/ 20 h 42"/>
              <a:gd name="T56" fmla="*/ 81 w 93"/>
              <a:gd name="T57" fmla="*/ 18 h 42"/>
              <a:gd name="T58" fmla="*/ 75 w 93"/>
              <a:gd name="T59" fmla="*/ 18 h 42"/>
              <a:gd name="T60" fmla="*/ 70 w 93"/>
              <a:gd name="T61" fmla="*/ 14 h 42"/>
              <a:gd name="T62" fmla="*/ 68 w 93"/>
              <a:gd name="T63" fmla="*/ 17 h 42"/>
              <a:gd name="T64" fmla="*/ 65 w 93"/>
              <a:gd name="T65" fmla="*/ 15 h 42"/>
              <a:gd name="T66" fmla="*/ 61 w 93"/>
              <a:gd name="T67" fmla="*/ 15 h 42"/>
              <a:gd name="T68" fmla="*/ 60 w 93"/>
              <a:gd name="T69" fmla="*/ 16 h 42"/>
              <a:gd name="T70" fmla="*/ 53 w 93"/>
              <a:gd name="T71" fmla="*/ 17 h 42"/>
              <a:gd name="T72" fmla="*/ 52 w 93"/>
              <a:gd name="T73" fmla="*/ 14 h 42"/>
              <a:gd name="T74" fmla="*/ 45 w 93"/>
              <a:gd name="T75" fmla="*/ 11 h 42"/>
              <a:gd name="T76" fmla="*/ 44 w 93"/>
              <a:gd name="T77" fmla="*/ 11 h 42"/>
              <a:gd name="T78" fmla="*/ 40 w 93"/>
              <a:gd name="T79" fmla="*/ 7 h 42"/>
              <a:gd name="T80" fmla="*/ 37 w 93"/>
              <a:gd name="T81" fmla="*/ 6 h 42"/>
              <a:gd name="T82" fmla="*/ 31 w 93"/>
              <a:gd name="T83" fmla="*/ 6 h 42"/>
              <a:gd name="T84" fmla="*/ 30 w 93"/>
              <a:gd name="T85" fmla="*/ 7 h 42"/>
              <a:gd name="T86" fmla="*/ 22 w 93"/>
              <a:gd name="T87" fmla="*/ 6 h 42"/>
              <a:gd name="T88" fmla="*/ 9 w 93"/>
              <a:gd name="T89" fmla="*/ 0 h 42"/>
              <a:gd name="T90" fmla="*/ 5 w 93"/>
              <a:gd name="T91" fmla="*/ 1 h 42"/>
              <a:gd name="T92" fmla="*/ 1 w 93"/>
              <a:gd name="T93" fmla="*/ 1 h 42"/>
              <a:gd name="T94" fmla="*/ 0 w 93"/>
              <a:gd name="T95" fmla="*/ 3 h 42"/>
              <a:gd name="T96" fmla="*/ 7 w 93"/>
              <a:gd name="T97" fmla="*/ 8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3" h="42">
                <a:moveTo>
                  <a:pt x="7" y="8"/>
                </a:moveTo>
                <a:cubicBezTo>
                  <a:pt x="9" y="8"/>
                  <a:pt x="12" y="9"/>
                  <a:pt x="13" y="9"/>
                </a:cubicBezTo>
                <a:cubicBezTo>
                  <a:pt x="14" y="10"/>
                  <a:pt x="14" y="11"/>
                  <a:pt x="15" y="12"/>
                </a:cubicBezTo>
                <a:cubicBezTo>
                  <a:pt x="16" y="14"/>
                  <a:pt x="19" y="15"/>
                  <a:pt x="20" y="15"/>
                </a:cubicBezTo>
                <a:cubicBezTo>
                  <a:pt x="21" y="16"/>
                  <a:pt x="21" y="16"/>
                  <a:pt x="21" y="18"/>
                </a:cubicBezTo>
                <a:cubicBezTo>
                  <a:pt x="21" y="19"/>
                  <a:pt x="22" y="21"/>
                  <a:pt x="22" y="23"/>
                </a:cubicBezTo>
                <a:cubicBezTo>
                  <a:pt x="22" y="24"/>
                  <a:pt x="23" y="24"/>
                  <a:pt x="24" y="26"/>
                </a:cubicBezTo>
                <a:cubicBezTo>
                  <a:pt x="25" y="27"/>
                  <a:pt x="24" y="29"/>
                  <a:pt x="24" y="31"/>
                </a:cubicBezTo>
                <a:cubicBezTo>
                  <a:pt x="23" y="32"/>
                  <a:pt x="23" y="33"/>
                  <a:pt x="22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3" y="35"/>
                  <a:pt x="24" y="35"/>
                  <a:pt x="24" y="35"/>
                </a:cubicBezTo>
                <a:cubicBezTo>
                  <a:pt x="25" y="35"/>
                  <a:pt x="26" y="35"/>
                  <a:pt x="26" y="35"/>
                </a:cubicBezTo>
                <a:cubicBezTo>
                  <a:pt x="28" y="35"/>
                  <a:pt x="29" y="34"/>
                  <a:pt x="31" y="35"/>
                </a:cubicBezTo>
                <a:cubicBezTo>
                  <a:pt x="31" y="35"/>
                  <a:pt x="32" y="35"/>
                  <a:pt x="32" y="36"/>
                </a:cubicBezTo>
                <a:cubicBezTo>
                  <a:pt x="33" y="36"/>
                  <a:pt x="33" y="36"/>
                  <a:pt x="34" y="36"/>
                </a:cubicBezTo>
                <a:cubicBezTo>
                  <a:pt x="34" y="36"/>
                  <a:pt x="34" y="36"/>
                  <a:pt x="34" y="36"/>
                </a:cubicBezTo>
                <a:cubicBezTo>
                  <a:pt x="34" y="36"/>
                  <a:pt x="34" y="36"/>
                  <a:pt x="34" y="35"/>
                </a:cubicBezTo>
                <a:cubicBezTo>
                  <a:pt x="35" y="35"/>
                  <a:pt x="36" y="33"/>
                  <a:pt x="37" y="33"/>
                </a:cubicBezTo>
                <a:cubicBezTo>
                  <a:pt x="37" y="33"/>
                  <a:pt x="38" y="33"/>
                  <a:pt x="38" y="33"/>
                </a:cubicBezTo>
                <a:cubicBezTo>
                  <a:pt x="38" y="33"/>
                  <a:pt x="38" y="33"/>
                  <a:pt x="38" y="33"/>
                </a:cubicBezTo>
                <a:cubicBezTo>
                  <a:pt x="39" y="33"/>
                  <a:pt x="39" y="33"/>
                  <a:pt x="39" y="34"/>
                </a:cubicBezTo>
                <a:cubicBezTo>
                  <a:pt x="40" y="34"/>
                  <a:pt x="41" y="34"/>
                  <a:pt x="41" y="35"/>
                </a:cubicBezTo>
                <a:cubicBezTo>
                  <a:pt x="42" y="36"/>
                  <a:pt x="42" y="36"/>
                  <a:pt x="43" y="37"/>
                </a:cubicBezTo>
                <a:cubicBezTo>
                  <a:pt x="43" y="37"/>
                  <a:pt x="44" y="38"/>
                  <a:pt x="45" y="38"/>
                </a:cubicBezTo>
                <a:cubicBezTo>
                  <a:pt x="47" y="39"/>
                  <a:pt x="48" y="40"/>
                  <a:pt x="48" y="41"/>
                </a:cubicBezTo>
                <a:cubicBezTo>
                  <a:pt x="49" y="41"/>
                  <a:pt x="49" y="41"/>
                  <a:pt x="49" y="42"/>
                </a:cubicBezTo>
                <a:cubicBezTo>
                  <a:pt x="50" y="42"/>
                  <a:pt x="50" y="42"/>
                  <a:pt x="51" y="41"/>
                </a:cubicBezTo>
                <a:cubicBezTo>
                  <a:pt x="54" y="41"/>
                  <a:pt x="58" y="40"/>
                  <a:pt x="59" y="40"/>
                </a:cubicBezTo>
                <a:cubicBezTo>
                  <a:pt x="60" y="40"/>
                  <a:pt x="62" y="40"/>
                  <a:pt x="64" y="40"/>
                </a:cubicBezTo>
                <a:cubicBezTo>
                  <a:pt x="67" y="40"/>
                  <a:pt x="69" y="40"/>
                  <a:pt x="69" y="39"/>
                </a:cubicBezTo>
                <a:cubicBezTo>
                  <a:pt x="70" y="39"/>
                  <a:pt x="71" y="39"/>
                  <a:pt x="71" y="38"/>
                </a:cubicBezTo>
                <a:cubicBezTo>
                  <a:pt x="73" y="37"/>
                  <a:pt x="74" y="36"/>
                  <a:pt x="74" y="36"/>
                </a:cubicBezTo>
                <a:cubicBezTo>
                  <a:pt x="74" y="36"/>
                  <a:pt x="74" y="36"/>
                  <a:pt x="74" y="36"/>
                </a:cubicBezTo>
                <a:cubicBezTo>
                  <a:pt x="75" y="35"/>
                  <a:pt x="78" y="37"/>
                  <a:pt x="80" y="38"/>
                </a:cubicBezTo>
                <a:cubicBezTo>
                  <a:pt x="81" y="39"/>
                  <a:pt x="82" y="39"/>
                  <a:pt x="82" y="40"/>
                </a:cubicBezTo>
                <a:cubicBezTo>
                  <a:pt x="83" y="40"/>
                  <a:pt x="85" y="40"/>
                  <a:pt x="86" y="40"/>
                </a:cubicBezTo>
                <a:cubicBezTo>
                  <a:pt x="89" y="41"/>
                  <a:pt x="92" y="41"/>
                  <a:pt x="93" y="41"/>
                </a:cubicBezTo>
                <a:cubicBezTo>
                  <a:pt x="93" y="41"/>
                  <a:pt x="93" y="41"/>
                  <a:pt x="93" y="41"/>
                </a:cubicBezTo>
                <a:cubicBezTo>
                  <a:pt x="93" y="41"/>
                  <a:pt x="93" y="41"/>
                  <a:pt x="93" y="41"/>
                </a:cubicBezTo>
                <a:cubicBezTo>
                  <a:pt x="93" y="41"/>
                  <a:pt x="93" y="41"/>
                  <a:pt x="93" y="40"/>
                </a:cubicBezTo>
                <a:cubicBezTo>
                  <a:pt x="93" y="40"/>
                  <a:pt x="93" y="39"/>
                  <a:pt x="93" y="39"/>
                </a:cubicBezTo>
                <a:cubicBezTo>
                  <a:pt x="93" y="39"/>
                  <a:pt x="93" y="39"/>
                  <a:pt x="93" y="39"/>
                </a:cubicBezTo>
                <a:cubicBezTo>
                  <a:pt x="93" y="39"/>
                  <a:pt x="93" y="39"/>
                  <a:pt x="93" y="39"/>
                </a:cubicBezTo>
                <a:cubicBezTo>
                  <a:pt x="93" y="39"/>
                  <a:pt x="92" y="38"/>
                  <a:pt x="91" y="37"/>
                </a:cubicBezTo>
                <a:cubicBezTo>
                  <a:pt x="90" y="37"/>
                  <a:pt x="90" y="37"/>
                  <a:pt x="90" y="36"/>
                </a:cubicBezTo>
                <a:cubicBezTo>
                  <a:pt x="90" y="36"/>
                  <a:pt x="90" y="36"/>
                  <a:pt x="90" y="36"/>
                </a:cubicBezTo>
                <a:cubicBezTo>
                  <a:pt x="90" y="36"/>
                  <a:pt x="90" y="36"/>
                  <a:pt x="90" y="36"/>
                </a:cubicBezTo>
                <a:cubicBezTo>
                  <a:pt x="89" y="36"/>
                  <a:pt x="88" y="35"/>
                  <a:pt x="88" y="34"/>
                </a:cubicBezTo>
                <a:cubicBezTo>
                  <a:pt x="87" y="32"/>
                  <a:pt x="90" y="30"/>
                  <a:pt x="91" y="28"/>
                </a:cubicBezTo>
                <a:cubicBezTo>
                  <a:pt x="90" y="28"/>
                  <a:pt x="90" y="28"/>
                  <a:pt x="90" y="28"/>
                </a:cubicBezTo>
                <a:cubicBezTo>
                  <a:pt x="89" y="28"/>
                  <a:pt x="89" y="28"/>
                  <a:pt x="88" y="28"/>
                </a:cubicBezTo>
                <a:cubicBezTo>
                  <a:pt x="88" y="28"/>
                  <a:pt x="88" y="28"/>
                  <a:pt x="88" y="28"/>
                </a:cubicBezTo>
                <a:cubicBezTo>
                  <a:pt x="88" y="28"/>
                  <a:pt x="87" y="28"/>
                  <a:pt x="87" y="28"/>
                </a:cubicBezTo>
                <a:cubicBezTo>
                  <a:pt x="86" y="28"/>
                  <a:pt x="85" y="27"/>
                  <a:pt x="84" y="27"/>
                </a:cubicBezTo>
                <a:cubicBezTo>
                  <a:pt x="82" y="25"/>
                  <a:pt x="80" y="24"/>
                  <a:pt x="79" y="23"/>
                </a:cubicBezTo>
                <a:cubicBezTo>
                  <a:pt x="79" y="22"/>
                  <a:pt x="80" y="21"/>
                  <a:pt x="80" y="20"/>
                </a:cubicBezTo>
                <a:cubicBezTo>
                  <a:pt x="81" y="19"/>
                  <a:pt x="81" y="19"/>
                  <a:pt x="81" y="18"/>
                </a:cubicBezTo>
                <a:cubicBezTo>
                  <a:pt x="81" y="18"/>
                  <a:pt x="81" y="18"/>
                  <a:pt x="81" y="18"/>
                </a:cubicBezTo>
                <a:cubicBezTo>
                  <a:pt x="81" y="18"/>
                  <a:pt x="79" y="18"/>
                  <a:pt x="78" y="18"/>
                </a:cubicBezTo>
                <a:cubicBezTo>
                  <a:pt x="77" y="18"/>
                  <a:pt x="76" y="18"/>
                  <a:pt x="75" y="18"/>
                </a:cubicBezTo>
                <a:cubicBezTo>
                  <a:pt x="74" y="17"/>
                  <a:pt x="72" y="16"/>
                  <a:pt x="71" y="15"/>
                </a:cubicBezTo>
                <a:cubicBezTo>
                  <a:pt x="71" y="15"/>
                  <a:pt x="70" y="14"/>
                  <a:pt x="70" y="14"/>
                </a:cubicBezTo>
                <a:cubicBezTo>
                  <a:pt x="70" y="14"/>
                  <a:pt x="70" y="15"/>
                  <a:pt x="70" y="15"/>
                </a:cubicBezTo>
                <a:cubicBezTo>
                  <a:pt x="69" y="16"/>
                  <a:pt x="69" y="17"/>
                  <a:pt x="68" y="17"/>
                </a:cubicBezTo>
                <a:cubicBezTo>
                  <a:pt x="68" y="17"/>
                  <a:pt x="67" y="16"/>
                  <a:pt x="66" y="16"/>
                </a:cubicBezTo>
                <a:cubicBezTo>
                  <a:pt x="66" y="15"/>
                  <a:pt x="65" y="15"/>
                  <a:pt x="65" y="15"/>
                </a:cubicBezTo>
                <a:cubicBezTo>
                  <a:pt x="65" y="15"/>
                  <a:pt x="63" y="15"/>
                  <a:pt x="62" y="15"/>
                </a:cubicBezTo>
                <a:cubicBezTo>
                  <a:pt x="62" y="15"/>
                  <a:pt x="61" y="15"/>
                  <a:pt x="61" y="15"/>
                </a:cubicBezTo>
                <a:cubicBezTo>
                  <a:pt x="61" y="15"/>
                  <a:pt x="61" y="15"/>
                  <a:pt x="60" y="16"/>
                </a:cubicBezTo>
                <a:cubicBezTo>
                  <a:pt x="60" y="16"/>
                  <a:pt x="60" y="16"/>
                  <a:pt x="60" y="16"/>
                </a:cubicBezTo>
                <a:cubicBezTo>
                  <a:pt x="59" y="16"/>
                  <a:pt x="58" y="18"/>
                  <a:pt x="57" y="18"/>
                </a:cubicBezTo>
                <a:cubicBezTo>
                  <a:pt x="55" y="19"/>
                  <a:pt x="54" y="18"/>
                  <a:pt x="53" y="17"/>
                </a:cubicBezTo>
                <a:cubicBezTo>
                  <a:pt x="53" y="17"/>
                  <a:pt x="53" y="17"/>
                  <a:pt x="53" y="17"/>
                </a:cubicBezTo>
                <a:cubicBezTo>
                  <a:pt x="51" y="16"/>
                  <a:pt x="52" y="15"/>
                  <a:pt x="52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3"/>
                  <a:pt x="48" y="12"/>
                  <a:pt x="45" y="11"/>
                </a:cubicBezTo>
                <a:cubicBezTo>
                  <a:pt x="44" y="11"/>
                  <a:pt x="44" y="11"/>
                  <a:pt x="44" y="11"/>
                </a:cubicBezTo>
                <a:cubicBezTo>
                  <a:pt x="44" y="11"/>
                  <a:pt x="44" y="11"/>
                  <a:pt x="44" y="11"/>
                </a:cubicBezTo>
                <a:cubicBezTo>
                  <a:pt x="43" y="10"/>
                  <a:pt x="42" y="9"/>
                  <a:pt x="41" y="8"/>
                </a:cubicBezTo>
                <a:cubicBezTo>
                  <a:pt x="40" y="7"/>
                  <a:pt x="40" y="7"/>
                  <a:pt x="40" y="7"/>
                </a:cubicBezTo>
                <a:cubicBezTo>
                  <a:pt x="40" y="7"/>
                  <a:pt x="40" y="7"/>
                  <a:pt x="40" y="7"/>
                </a:cubicBezTo>
                <a:cubicBezTo>
                  <a:pt x="39" y="7"/>
                  <a:pt x="38" y="6"/>
                  <a:pt x="37" y="6"/>
                </a:cubicBezTo>
                <a:cubicBezTo>
                  <a:pt x="35" y="6"/>
                  <a:pt x="34" y="6"/>
                  <a:pt x="33" y="6"/>
                </a:cubicBezTo>
                <a:cubicBezTo>
                  <a:pt x="32" y="6"/>
                  <a:pt x="32" y="6"/>
                  <a:pt x="31" y="6"/>
                </a:cubicBezTo>
                <a:cubicBezTo>
                  <a:pt x="31" y="6"/>
                  <a:pt x="31" y="6"/>
                  <a:pt x="31" y="6"/>
                </a:cubicBezTo>
                <a:cubicBezTo>
                  <a:pt x="31" y="6"/>
                  <a:pt x="31" y="6"/>
                  <a:pt x="30" y="7"/>
                </a:cubicBezTo>
                <a:cubicBezTo>
                  <a:pt x="29" y="7"/>
                  <a:pt x="28" y="7"/>
                  <a:pt x="26" y="6"/>
                </a:cubicBezTo>
                <a:cubicBezTo>
                  <a:pt x="25" y="6"/>
                  <a:pt x="23" y="6"/>
                  <a:pt x="22" y="6"/>
                </a:cubicBezTo>
                <a:cubicBezTo>
                  <a:pt x="21" y="6"/>
                  <a:pt x="17" y="4"/>
                  <a:pt x="14" y="3"/>
                </a:cubicBezTo>
                <a:cubicBezTo>
                  <a:pt x="12" y="2"/>
                  <a:pt x="9" y="0"/>
                  <a:pt x="9" y="0"/>
                </a:cubicBezTo>
                <a:cubicBezTo>
                  <a:pt x="8" y="1"/>
                  <a:pt x="8" y="1"/>
                  <a:pt x="7" y="1"/>
                </a:cubicBezTo>
                <a:cubicBezTo>
                  <a:pt x="7" y="1"/>
                  <a:pt x="6" y="1"/>
                  <a:pt x="5" y="1"/>
                </a:cubicBezTo>
                <a:cubicBezTo>
                  <a:pt x="5" y="1"/>
                  <a:pt x="4" y="1"/>
                  <a:pt x="3" y="1"/>
                </a:cubicBezTo>
                <a:cubicBezTo>
                  <a:pt x="2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0" y="2"/>
                  <a:pt x="0" y="3"/>
                </a:cubicBezTo>
                <a:cubicBezTo>
                  <a:pt x="0" y="4"/>
                  <a:pt x="0" y="4"/>
                  <a:pt x="0" y="4"/>
                </a:cubicBezTo>
                <a:cubicBezTo>
                  <a:pt x="3" y="6"/>
                  <a:pt x="5" y="7"/>
                  <a:pt x="7" y="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09" name="Freeform 85"/>
          <p:cNvSpPr>
            <a:spLocks/>
          </p:cNvSpPr>
          <p:nvPr/>
        </p:nvSpPr>
        <p:spPr bwMode="auto">
          <a:xfrm>
            <a:off x="5869112" y="6546851"/>
            <a:ext cx="38100" cy="38100"/>
          </a:xfrm>
          <a:custGeom>
            <a:avLst/>
            <a:gdLst>
              <a:gd name="T0" fmla="*/ 4 w 4"/>
              <a:gd name="T1" fmla="*/ 2 h 4"/>
              <a:gd name="T2" fmla="*/ 4 w 4"/>
              <a:gd name="T3" fmla="*/ 2 h 4"/>
              <a:gd name="T4" fmla="*/ 3 w 4"/>
              <a:gd name="T5" fmla="*/ 1 h 4"/>
              <a:gd name="T6" fmla="*/ 1 w 4"/>
              <a:gd name="T7" fmla="*/ 0 h 4"/>
              <a:gd name="T8" fmla="*/ 0 w 4"/>
              <a:gd name="T9" fmla="*/ 3 h 4"/>
              <a:gd name="T10" fmla="*/ 0 w 4"/>
              <a:gd name="T11" fmla="*/ 4 h 4"/>
              <a:gd name="T12" fmla="*/ 4 w 4"/>
              <a:gd name="T13" fmla="*/ 4 h 4"/>
              <a:gd name="T14" fmla="*/ 4 w 4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4">
                <a:moveTo>
                  <a:pt x="4" y="2"/>
                </a:moveTo>
                <a:cubicBezTo>
                  <a:pt x="4" y="2"/>
                  <a:pt x="4" y="2"/>
                  <a:pt x="4" y="2"/>
                </a:cubicBezTo>
                <a:cubicBezTo>
                  <a:pt x="4" y="2"/>
                  <a:pt x="3" y="1"/>
                  <a:pt x="3" y="1"/>
                </a:cubicBezTo>
                <a:cubicBezTo>
                  <a:pt x="2" y="1"/>
                  <a:pt x="1" y="0"/>
                  <a:pt x="1" y="0"/>
                </a:cubicBezTo>
                <a:cubicBezTo>
                  <a:pt x="1" y="1"/>
                  <a:pt x="1" y="2"/>
                  <a:pt x="0" y="3"/>
                </a:cubicBezTo>
                <a:cubicBezTo>
                  <a:pt x="0" y="3"/>
                  <a:pt x="0" y="3"/>
                  <a:pt x="0" y="4"/>
                </a:cubicBezTo>
                <a:cubicBezTo>
                  <a:pt x="4" y="4"/>
                  <a:pt x="4" y="4"/>
                  <a:pt x="4" y="4"/>
                </a:cubicBezTo>
                <a:cubicBezTo>
                  <a:pt x="4" y="3"/>
                  <a:pt x="4" y="3"/>
                  <a:pt x="4" y="2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0" name="Freeform 86"/>
          <p:cNvSpPr>
            <a:spLocks/>
          </p:cNvSpPr>
          <p:nvPr/>
        </p:nvSpPr>
        <p:spPr bwMode="auto">
          <a:xfrm>
            <a:off x="5926262" y="6423026"/>
            <a:ext cx="495300" cy="161925"/>
          </a:xfrm>
          <a:custGeom>
            <a:avLst/>
            <a:gdLst>
              <a:gd name="T0" fmla="*/ 51 w 52"/>
              <a:gd name="T1" fmla="*/ 16 h 17"/>
              <a:gd name="T2" fmla="*/ 51 w 52"/>
              <a:gd name="T3" fmla="*/ 16 h 17"/>
              <a:gd name="T4" fmla="*/ 49 w 52"/>
              <a:gd name="T5" fmla="*/ 15 h 17"/>
              <a:gd name="T6" fmla="*/ 45 w 52"/>
              <a:gd name="T7" fmla="*/ 1 h 17"/>
              <a:gd name="T8" fmla="*/ 45 w 52"/>
              <a:gd name="T9" fmla="*/ 0 h 17"/>
              <a:gd name="T10" fmla="*/ 45 w 52"/>
              <a:gd name="T11" fmla="*/ 0 h 17"/>
              <a:gd name="T12" fmla="*/ 16 w 52"/>
              <a:gd name="T13" fmla="*/ 16 h 17"/>
              <a:gd name="T14" fmla="*/ 7 w 52"/>
              <a:gd name="T15" fmla="*/ 13 h 17"/>
              <a:gd name="T16" fmla="*/ 7 w 52"/>
              <a:gd name="T17" fmla="*/ 13 h 17"/>
              <a:gd name="T18" fmla="*/ 2 w 52"/>
              <a:gd name="T19" fmla="*/ 10 h 17"/>
              <a:gd name="T20" fmla="*/ 1 w 52"/>
              <a:gd name="T21" fmla="*/ 9 h 17"/>
              <a:gd name="T22" fmla="*/ 0 w 52"/>
              <a:gd name="T23" fmla="*/ 12 h 17"/>
              <a:gd name="T24" fmla="*/ 0 w 52"/>
              <a:gd name="T25" fmla="*/ 12 h 17"/>
              <a:gd name="T26" fmla="*/ 0 w 52"/>
              <a:gd name="T27" fmla="*/ 15 h 17"/>
              <a:gd name="T28" fmla="*/ 0 w 52"/>
              <a:gd name="T29" fmla="*/ 17 h 17"/>
              <a:gd name="T30" fmla="*/ 52 w 52"/>
              <a:gd name="T31" fmla="*/ 17 h 17"/>
              <a:gd name="T32" fmla="*/ 52 w 52"/>
              <a:gd name="T33" fmla="*/ 17 h 17"/>
              <a:gd name="T34" fmla="*/ 51 w 52"/>
              <a:gd name="T35" fmla="*/ 1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2" h="17">
                <a:moveTo>
                  <a:pt x="51" y="16"/>
                </a:moveTo>
                <a:cubicBezTo>
                  <a:pt x="51" y="16"/>
                  <a:pt x="51" y="16"/>
                  <a:pt x="51" y="16"/>
                </a:cubicBezTo>
                <a:cubicBezTo>
                  <a:pt x="50" y="16"/>
                  <a:pt x="49" y="16"/>
                  <a:pt x="49" y="15"/>
                </a:cubicBezTo>
                <a:cubicBezTo>
                  <a:pt x="48" y="15"/>
                  <a:pt x="46" y="5"/>
                  <a:pt x="45" y="1"/>
                </a:cubicBezTo>
                <a:cubicBezTo>
                  <a:pt x="45" y="0"/>
                  <a:pt x="45" y="0"/>
                  <a:pt x="4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34" y="6"/>
                  <a:pt x="18" y="16"/>
                  <a:pt x="16" y="16"/>
                </a:cubicBezTo>
                <a:cubicBezTo>
                  <a:pt x="14" y="16"/>
                  <a:pt x="10" y="14"/>
                  <a:pt x="7" y="13"/>
                </a:cubicBezTo>
                <a:cubicBezTo>
                  <a:pt x="7" y="13"/>
                  <a:pt x="7" y="13"/>
                  <a:pt x="7" y="13"/>
                </a:cubicBezTo>
                <a:cubicBezTo>
                  <a:pt x="5" y="13"/>
                  <a:pt x="4" y="11"/>
                  <a:pt x="2" y="10"/>
                </a:cubicBezTo>
                <a:cubicBezTo>
                  <a:pt x="2" y="10"/>
                  <a:pt x="1" y="9"/>
                  <a:pt x="1" y="9"/>
                </a:cubicBezTo>
                <a:cubicBezTo>
                  <a:pt x="1" y="10"/>
                  <a:pt x="0" y="11"/>
                  <a:pt x="0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13"/>
                  <a:pt x="0" y="15"/>
                  <a:pt x="0" y="15"/>
                </a:cubicBezTo>
                <a:cubicBezTo>
                  <a:pt x="0" y="16"/>
                  <a:pt x="0" y="16"/>
                  <a:pt x="0" y="17"/>
                </a:cubicBezTo>
                <a:cubicBezTo>
                  <a:pt x="52" y="17"/>
                  <a:pt x="52" y="17"/>
                  <a:pt x="52" y="17"/>
                </a:cubicBezTo>
                <a:cubicBezTo>
                  <a:pt x="52" y="17"/>
                  <a:pt x="52" y="17"/>
                  <a:pt x="52" y="17"/>
                </a:cubicBezTo>
                <a:cubicBezTo>
                  <a:pt x="52" y="17"/>
                  <a:pt x="52" y="16"/>
                  <a:pt x="51" y="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1" name="Freeform 87"/>
          <p:cNvSpPr>
            <a:spLocks/>
          </p:cNvSpPr>
          <p:nvPr/>
        </p:nvSpPr>
        <p:spPr bwMode="auto">
          <a:xfrm>
            <a:off x="7012112" y="5165726"/>
            <a:ext cx="409575" cy="371475"/>
          </a:xfrm>
          <a:custGeom>
            <a:avLst/>
            <a:gdLst>
              <a:gd name="T0" fmla="*/ 41 w 43"/>
              <a:gd name="T1" fmla="*/ 31 h 39"/>
              <a:gd name="T2" fmla="*/ 41 w 43"/>
              <a:gd name="T3" fmla="*/ 29 h 39"/>
              <a:gd name="T4" fmla="*/ 36 w 43"/>
              <a:gd name="T5" fmla="*/ 25 h 39"/>
              <a:gd name="T6" fmla="*/ 30 w 43"/>
              <a:gd name="T7" fmla="*/ 21 h 39"/>
              <a:gd name="T8" fmla="*/ 34 w 43"/>
              <a:gd name="T9" fmla="*/ 18 h 39"/>
              <a:gd name="T10" fmla="*/ 33 w 43"/>
              <a:gd name="T11" fmla="*/ 16 h 39"/>
              <a:gd name="T12" fmla="*/ 26 w 43"/>
              <a:gd name="T13" fmla="*/ 11 h 39"/>
              <a:gd name="T14" fmla="*/ 29 w 43"/>
              <a:gd name="T15" fmla="*/ 9 h 39"/>
              <a:gd name="T16" fmla="*/ 29 w 43"/>
              <a:gd name="T17" fmla="*/ 8 h 39"/>
              <a:gd name="T18" fmla="*/ 28 w 43"/>
              <a:gd name="T19" fmla="*/ 7 h 39"/>
              <a:gd name="T20" fmla="*/ 26 w 43"/>
              <a:gd name="T21" fmla="*/ 4 h 39"/>
              <a:gd name="T22" fmla="*/ 23 w 43"/>
              <a:gd name="T23" fmla="*/ 4 h 39"/>
              <a:gd name="T24" fmla="*/ 14 w 43"/>
              <a:gd name="T25" fmla="*/ 0 h 39"/>
              <a:gd name="T26" fmla="*/ 2 w 43"/>
              <a:gd name="T27" fmla="*/ 2 h 39"/>
              <a:gd name="T28" fmla="*/ 2 w 43"/>
              <a:gd name="T29" fmla="*/ 5 h 39"/>
              <a:gd name="T30" fmla="*/ 2 w 43"/>
              <a:gd name="T31" fmla="*/ 11 h 39"/>
              <a:gd name="T32" fmla="*/ 2 w 43"/>
              <a:gd name="T33" fmla="*/ 12 h 39"/>
              <a:gd name="T34" fmla="*/ 2 w 43"/>
              <a:gd name="T35" fmla="*/ 14 h 39"/>
              <a:gd name="T36" fmla="*/ 2 w 43"/>
              <a:gd name="T37" fmla="*/ 17 h 39"/>
              <a:gd name="T38" fmla="*/ 5 w 43"/>
              <a:gd name="T39" fmla="*/ 19 h 39"/>
              <a:gd name="T40" fmla="*/ 5 w 43"/>
              <a:gd name="T41" fmla="*/ 19 h 39"/>
              <a:gd name="T42" fmla="*/ 12 w 43"/>
              <a:gd name="T43" fmla="*/ 19 h 39"/>
              <a:gd name="T44" fmla="*/ 17 w 43"/>
              <a:gd name="T45" fmla="*/ 25 h 39"/>
              <a:gd name="T46" fmla="*/ 21 w 43"/>
              <a:gd name="T47" fmla="*/ 24 h 39"/>
              <a:gd name="T48" fmla="*/ 27 w 43"/>
              <a:gd name="T49" fmla="*/ 28 h 39"/>
              <a:gd name="T50" fmla="*/ 31 w 43"/>
              <a:gd name="T51" fmla="*/ 27 h 39"/>
              <a:gd name="T52" fmla="*/ 33 w 43"/>
              <a:gd name="T53" fmla="*/ 31 h 39"/>
              <a:gd name="T54" fmla="*/ 34 w 43"/>
              <a:gd name="T55" fmla="*/ 32 h 39"/>
              <a:gd name="T56" fmla="*/ 37 w 43"/>
              <a:gd name="T57" fmla="*/ 39 h 39"/>
              <a:gd name="T58" fmla="*/ 42 w 43"/>
              <a:gd name="T59" fmla="*/ 39 h 39"/>
              <a:gd name="T60" fmla="*/ 43 w 43"/>
              <a:gd name="T61" fmla="*/ 38 h 39"/>
              <a:gd name="T62" fmla="*/ 42 w 43"/>
              <a:gd name="T63" fmla="*/ 33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3" h="39">
                <a:moveTo>
                  <a:pt x="42" y="33"/>
                </a:moveTo>
                <a:cubicBezTo>
                  <a:pt x="42" y="33"/>
                  <a:pt x="41" y="32"/>
                  <a:pt x="41" y="31"/>
                </a:cubicBezTo>
                <a:cubicBezTo>
                  <a:pt x="41" y="31"/>
                  <a:pt x="41" y="30"/>
                  <a:pt x="41" y="29"/>
                </a:cubicBezTo>
                <a:cubicBezTo>
                  <a:pt x="41" y="29"/>
                  <a:pt x="41" y="29"/>
                  <a:pt x="41" y="29"/>
                </a:cubicBezTo>
                <a:cubicBezTo>
                  <a:pt x="41" y="29"/>
                  <a:pt x="41" y="29"/>
                  <a:pt x="41" y="28"/>
                </a:cubicBezTo>
                <a:cubicBezTo>
                  <a:pt x="40" y="28"/>
                  <a:pt x="38" y="27"/>
                  <a:pt x="36" y="25"/>
                </a:cubicBezTo>
                <a:cubicBezTo>
                  <a:pt x="33" y="24"/>
                  <a:pt x="30" y="22"/>
                  <a:pt x="30" y="21"/>
                </a:cubicBezTo>
                <a:cubicBezTo>
                  <a:pt x="30" y="21"/>
                  <a:pt x="30" y="21"/>
                  <a:pt x="30" y="21"/>
                </a:cubicBezTo>
                <a:cubicBezTo>
                  <a:pt x="30" y="20"/>
                  <a:pt x="31" y="20"/>
                  <a:pt x="32" y="20"/>
                </a:cubicBezTo>
                <a:cubicBezTo>
                  <a:pt x="33" y="19"/>
                  <a:pt x="34" y="19"/>
                  <a:pt x="34" y="18"/>
                </a:cubicBezTo>
                <a:cubicBezTo>
                  <a:pt x="34" y="18"/>
                  <a:pt x="34" y="17"/>
                  <a:pt x="34" y="17"/>
                </a:cubicBezTo>
                <a:cubicBezTo>
                  <a:pt x="34" y="17"/>
                  <a:pt x="34" y="16"/>
                  <a:pt x="33" y="16"/>
                </a:cubicBezTo>
                <a:cubicBezTo>
                  <a:pt x="33" y="16"/>
                  <a:pt x="32" y="15"/>
                  <a:pt x="31" y="15"/>
                </a:cubicBezTo>
                <a:cubicBezTo>
                  <a:pt x="29" y="14"/>
                  <a:pt x="27" y="12"/>
                  <a:pt x="26" y="11"/>
                </a:cubicBezTo>
                <a:cubicBezTo>
                  <a:pt x="26" y="9"/>
                  <a:pt x="27" y="9"/>
                  <a:pt x="28" y="9"/>
                </a:cubicBezTo>
                <a:cubicBezTo>
                  <a:pt x="29" y="9"/>
                  <a:pt x="29" y="9"/>
                  <a:pt x="29" y="9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8"/>
                  <a:pt x="29" y="8"/>
                  <a:pt x="29" y="8"/>
                </a:cubicBezTo>
                <a:cubicBezTo>
                  <a:pt x="29" y="7"/>
                  <a:pt x="28" y="7"/>
                  <a:pt x="28" y="7"/>
                </a:cubicBezTo>
                <a:cubicBezTo>
                  <a:pt x="28" y="6"/>
                  <a:pt x="27" y="6"/>
                  <a:pt x="27" y="5"/>
                </a:cubicBezTo>
                <a:cubicBezTo>
                  <a:pt x="26" y="4"/>
                  <a:pt x="26" y="4"/>
                  <a:pt x="26" y="4"/>
                </a:cubicBezTo>
                <a:cubicBezTo>
                  <a:pt x="26" y="4"/>
                  <a:pt x="25" y="4"/>
                  <a:pt x="25" y="4"/>
                </a:cubicBezTo>
                <a:cubicBezTo>
                  <a:pt x="25" y="4"/>
                  <a:pt x="24" y="4"/>
                  <a:pt x="23" y="4"/>
                </a:cubicBezTo>
                <a:cubicBezTo>
                  <a:pt x="22" y="3"/>
                  <a:pt x="20" y="1"/>
                  <a:pt x="20" y="0"/>
                </a:cubicBezTo>
                <a:cubicBezTo>
                  <a:pt x="18" y="0"/>
                  <a:pt x="16" y="0"/>
                  <a:pt x="14" y="0"/>
                </a:cubicBezTo>
                <a:cubicBezTo>
                  <a:pt x="12" y="0"/>
                  <a:pt x="10" y="0"/>
                  <a:pt x="9" y="0"/>
                </a:cubicBezTo>
                <a:cubicBezTo>
                  <a:pt x="8" y="1"/>
                  <a:pt x="4" y="1"/>
                  <a:pt x="2" y="2"/>
                </a:cubicBezTo>
                <a:cubicBezTo>
                  <a:pt x="0" y="2"/>
                  <a:pt x="0" y="2"/>
                  <a:pt x="0" y="2"/>
                </a:cubicBezTo>
                <a:cubicBezTo>
                  <a:pt x="1" y="3"/>
                  <a:pt x="2" y="4"/>
                  <a:pt x="2" y="5"/>
                </a:cubicBezTo>
                <a:cubicBezTo>
                  <a:pt x="2" y="5"/>
                  <a:pt x="2" y="7"/>
                  <a:pt x="2" y="8"/>
                </a:cubicBezTo>
                <a:cubicBezTo>
                  <a:pt x="2" y="9"/>
                  <a:pt x="2" y="10"/>
                  <a:pt x="2" y="11"/>
                </a:cubicBezTo>
                <a:cubicBezTo>
                  <a:pt x="2" y="11"/>
                  <a:pt x="2" y="11"/>
                  <a:pt x="2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12"/>
                  <a:pt x="1" y="12"/>
                  <a:pt x="1" y="12"/>
                </a:cubicBezTo>
                <a:cubicBezTo>
                  <a:pt x="1" y="13"/>
                  <a:pt x="1" y="13"/>
                  <a:pt x="2" y="14"/>
                </a:cubicBezTo>
                <a:cubicBezTo>
                  <a:pt x="2" y="15"/>
                  <a:pt x="2" y="16"/>
                  <a:pt x="2" y="16"/>
                </a:cubicBezTo>
                <a:cubicBezTo>
                  <a:pt x="2" y="17"/>
                  <a:pt x="2" y="17"/>
                  <a:pt x="2" y="17"/>
                </a:cubicBezTo>
                <a:cubicBezTo>
                  <a:pt x="1" y="18"/>
                  <a:pt x="1" y="18"/>
                  <a:pt x="1" y="18"/>
                </a:cubicBezTo>
                <a:cubicBezTo>
                  <a:pt x="2" y="18"/>
                  <a:pt x="4" y="19"/>
                  <a:pt x="5" y="19"/>
                </a:cubicBezTo>
                <a:cubicBezTo>
                  <a:pt x="5" y="19"/>
                  <a:pt x="5" y="19"/>
                  <a:pt x="5" y="19"/>
                </a:cubicBezTo>
                <a:cubicBezTo>
                  <a:pt x="5" y="19"/>
                  <a:pt x="5" y="19"/>
                  <a:pt x="5" y="19"/>
                </a:cubicBezTo>
                <a:cubicBezTo>
                  <a:pt x="6" y="20"/>
                  <a:pt x="8" y="19"/>
                  <a:pt x="9" y="19"/>
                </a:cubicBezTo>
                <a:cubicBezTo>
                  <a:pt x="10" y="19"/>
                  <a:pt x="11" y="19"/>
                  <a:pt x="12" y="19"/>
                </a:cubicBezTo>
                <a:cubicBezTo>
                  <a:pt x="13" y="19"/>
                  <a:pt x="14" y="21"/>
                  <a:pt x="15" y="22"/>
                </a:cubicBezTo>
                <a:cubicBezTo>
                  <a:pt x="16" y="23"/>
                  <a:pt x="16" y="24"/>
                  <a:pt x="17" y="25"/>
                </a:cubicBezTo>
                <a:cubicBezTo>
                  <a:pt x="17" y="24"/>
                  <a:pt x="18" y="24"/>
                  <a:pt x="18" y="24"/>
                </a:cubicBezTo>
                <a:cubicBezTo>
                  <a:pt x="19" y="24"/>
                  <a:pt x="20" y="24"/>
                  <a:pt x="21" y="24"/>
                </a:cubicBezTo>
                <a:cubicBezTo>
                  <a:pt x="21" y="24"/>
                  <a:pt x="22" y="24"/>
                  <a:pt x="23" y="25"/>
                </a:cubicBezTo>
                <a:cubicBezTo>
                  <a:pt x="24" y="26"/>
                  <a:pt x="26" y="28"/>
                  <a:pt x="27" y="28"/>
                </a:cubicBezTo>
                <a:cubicBezTo>
                  <a:pt x="27" y="28"/>
                  <a:pt x="28" y="27"/>
                  <a:pt x="28" y="27"/>
                </a:cubicBezTo>
                <a:cubicBezTo>
                  <a:pt x="29" y="27"/>
                  <a:pt x="30" y="26"/>
                  <a:pt x="31" y="27"/>
                </a:cubicBezTo>
                <a:cubicBezTo>
                  <a:pt x="32" y="28"/>
                  <a:pt x="32" y="29"/>
                  <a:pt x="32" y="30"/>
                </a:cubicBezTo>
                <a:cubicBezTo>
                  <a:pt x="32" y="30"/>
                  <a:pt x="32" y="30"/>
                  <a:pt x="33" y="31"/>
                </a:cubicBezTo>
                <a:cubicBezTo>
                  <a:pt x="33" y="31"/>
                  <a:pt x="33" y="31"/>
                  <a:pt x="33" y="31"/>
                </a:cubicBezTo>
                <a:cubicBezTo>
                  <a:pt x="33" y="31"/>
                  <a:pt x="33" y="32"/>
                  <a:pt x="34" y="32"/>
                </a:cubicBezTo>
                <a:cubicBezTo>
                  <a:pt x="35" y="32"/>
                  <a:pt x="36" y="33"/>
                  <a:pt x="36" y="34"/>
                </a:cubicBezTo>
                <a:cubicBezTo>
                  <a:pt x="36" y="35"/>
                  <a:pt x="37" y="38"/>
                  <a:pt x="37" y="39"/>
                </a:cubicBezTo>
                <a:cubicBezTo>
                  <a:pt x="38" y="39"/>
                  <a:pt x="38" y="39"/>
                  <a:pt x="38" y="39"/>
                </a:cubicBezTo>
                <a:cubicBezTo>
                  <a:pt x="39" y="39"/>
                  <a:pt x="42" y="39"/>
                  <a:pt x="42" y="39"/>
                </a:cubicBezTo>
                <a:cubicBezTo>
                  <a:pt x="42" y="39"/>
                  <a:pt x="43" y="39"/>
                  <a:pt x="43" y="39"/>
                </a:cubicBezTo>
                <a:cubicBezTo>
                  <a:pt x="43" y="38"/>
                  <a:pt x="43" y="38"/>
                  <a:pt x="43" y="38"/>
                </a:cubicBezTo>
                <a:cubicBezTo>
                  <a:pt x="43" y="36"/>
                  <a:pt x="43" y="34"/>
                  <a:pt x="43" y="34"/>
                </a:cubicBezTo>
                <a:cubicBezTo>
                  <a:pt x="43" y="34"/>
                  <a:pt x="42" y="34"/>
                  <a:pt x="42" y="3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2" name="Freeform 88"/>
          <p:cNvSpPr>
            <a:spLocks/>
          </p:cNvSpPr>
          <p:nvPr/>
        </p:nvSpPr>
        <p:spPr bwMode="auto">
          <a:xfrm>
            <a:off x="68387" y="1238250"/>
            <a:ext cx="95250" cy="76200"/>
          </a:xfrm>
          <a:custGeom>
            <a:avLst/>
            <a:gdLst>
              <a:gd name="T0" fmla="*/ 7 w 10"/>
              <a:gd name="T1" fmla="*/ 7 h 8"/>
              <a:gd name="T2" fmla="*/ 9 w 10"/>
              <a:gd name="T3" fmla="*/ 4 h 8"/>
              <a:gd name="T4" fmla="*/ 7 w 10"/>
              <a:gd name="T5" fmla="*/ 1 h 8"/>
              <a:gd name="T6" fmla="*/ 3 w 10"/>
              <a:gd name="T7" fmla="*/ 0 h 8"/>
              <a:gd name="T8" fmla="*/ 4 w 10"/>
              <a:gd name="T9" fmla="*/ 3 h 8"/>
              <a:gd name="T10" fmla="*/ 7 w 10"/>
              <a:gd name="T11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8">
                <a:moveTo>
                  <a:pt x="7" y="7"/>
                </a:moveTo>
                <a:cubicBezTo>
                  <a:pt x="8" y="8"/>
                  <a:pt x="8" y="6"/>
                  <a:pt x="9" y="4"/>
                </a:cubicBezTo>
                <a:cubicBezTo>
                  <a:pt x="10" y="2"/>
                  <a:pt x="8" y="3"/>
                  <a:pt x="7" y="1"/>
                </a:cubicBezTo>
                <a:cubicBezTo>
                  <a:pt x="6" y="0"/>
                  <a:pt x="5" y="0"/>
                  <a:pt x="3" y="0"/>
                </a:cubicBezTo>
                <a:cubicBezTo>
                  <a:pt x="0" y="0"/>
                  <a:pt x="3" y="2"/>
                  <a:pt x="4" y="3"/>
                </a:cubicBezTo>
                <a:cubicBezTo>
                  <a:pt x="5" y="5"/>
                  <a:pt x="6" y="6"/>
                  <a:pt x="7" y="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3" name="Freeform 89"/>
          <p:cNvSpPr>
            <a:spLocks/>
          </p:cNvSpPr>
          <p:nvPr/>
        </p:nvSpPr>
        <p:spPr bwMode="auto">
          <a:xfrm>
            <a:off x="39812" y="1266825"/>
            <a:ext cx="57150" cy="57150"/>
          </a:xfrm>
          <a:custGeom>
            <a:avLst/>
            <a:gdLst>
              <a:gd name="T0" fmla="*/ 3 w 6"/>
              <a:gd name="T1" fmla="*/ 5 h 6"/>
              <a:gd name="T2" fmla="*/ 6 w 6"/>
              <a:gd name="T3" fmla="*/ 5 h 6"/>
              <a:gd name="T4" fmla="*/ 3 w 6"/>
              <a:gd name="T5" fmla="*/ 1 h 6"/>
              <a:gd name="T6" fmla="*/ 0 w 6"/>
              <a:gd name="T7" fmla="*/ 2 h 6"/>
              <a:gd name="T8" fmla="*/ 3 w 6"/>
              <a:gd name="T9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6">
                <a:moveTo>
                  <a:pt x="3" y="5"/>
                </a:moveTo>
                <a:cubicBezTo>
                  <a:pt x="5" y="6"/>
                  <a:pt x="6" y="6"/>
                  <a:pt x="6" y="5"/>
                </a:cubicBezTo>
                <a:cubicBezTo>
                  <a:pt x="6" y="3"/>
                  <a:pt x="4" y="3"/>
                  <a:pt x="3" y="1"/>
                </a:cubicBezTo>
                <a:cubicBezTo>
                  <a:pt x="1" y="0"/>
                  <a:pt x="0" y="0"/>
                  <a:pt x="0" y="2"/>
                </a:cubicBezTo>
                <a:cubicBezTo>
                  <a:pt x="2" y="3"/>
                  <a:pt x="1" y="4"/>
                  <a:pt x="3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4" name="Freeform 90"/>
          <p:cNvSpPr>
            <a:spLocks/>
          </p:cNvSpPr>
          <p:nvPr/>
        </p:nvSpPr>
        <p:spPr bwMode="auto">
          <a:xfrm>
            <a:off x="87437" y="1381125"/>
            <a:ext cx="57150" cy="68263"/>
          </a:xfrm>
          <a:custGeom>
            <a:avLst/>
            <a:gdLst>
              <a:gd name="T0" fmla="*/ 2 w 6"/>
              <a:gd name="T1" fmla="*/ 1 h 7"/>
              <a:gd name="T2" fmla="*/ 3 w 6"/>
              <a:gd name="T3" fmla="*/ 4 h 7"/>
              <a:gd name="T4" fmla="*/ 6 w 6"/>
              <a:gd name="T5" fmla="*/ 6 h 7"/>
              <a:gd name="T6" fmla="*/ 5 w 6"/>
              <a:gd name="T7" fmla="*/ 2 h 7"/>
              <a:gd name="T8" fmla="*/ 2 w 6"/>
              <a:gd name="T9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7">
                <a:moveTo>
                  <a:pt x="2" y="1"/>
                </a:moveTo>
                <a:cubicBezTo>
                  <a:pt x="0" y="0"/>
                  <a:pt x="2" y="3"/>
                  <a:pt x="3" y="4"/>
                </a:cubicBezTo>
                <a:cubicBezTo>
                  <a:pt x="4" y="5"/>
                  <a:pt x="6" y="7"/>
                  <a:pt x="6" y="6"/>
                </a:cubicBezTo>
                <a:cubicBezTo>
                  <a:pt x="6" y="6"/>
                  <a:pt x="6" y="2"/>
                  <a:pt x="5" y="2"/>
                </a:cubicBezTo>
                <a:cubicBezTo>
                  <a:pt x="4" y="1"/>
                  <a:pt x="3" y="1"/>
                  <a:pt x="2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5" name="Freeform 91"/>
          <p:cNvSpPr>
            <a:spLocks/>
          </p:cNvSpPr>
          <p:nvPr/>
        </p:nvSpPr>
        <p:spPr bwMode="auto">
          <a:xfrm>
            <a:off x="1712" y="2649538"/>
            <a:ext cx="95250" cy="104775"/>
          </a:xfrm>
          <a:custGeom>
            <a:avLst/>
            <a:gdLst>
              <a:gd name="T0" fmla="*/ 3 w 10"/>
              <a:gd name="T1" fmla="*/ 9 h 11"/>
              <a:gd name="T2" fmla="*/ 5 w 10"/>
              <a:gd name="T3" fmla="*/ 7 h 11"/>
              <a:gd name="T4" fmla="*/ 6 w 10"/>
              <a:gd name="T5" fmla="*/ 6 h 11"/>
              <a:gd name="T6" fmla="*/ 6 w 10"/>
              <a:gd name="T7" fmla="*/ 6 h 11"/>
              <a:gd name="T8" fmla="*/ 8 w 10"/>
              <a:gd name="T9" fmla="*/ 5 h 11"/>
              <a:gd name="T10" fmla="*/ 10 w 10"/>
              <a:gd name="T11" fmla="*/ 3 h 11"/>
              <a:gd name="T12" fmla="*/ 6 w 10"/>
              <a:gd name="T13" fmla="*/ 0 h 11"/>
              <a:gd name="T14" fmla="*/ 6 w 10"/>
              <a:gd name="T15" fmla="*/ 2 h 11"/>
              <a:gd name="T16" fmla="*/ 3 w 10"/>
              <a:gd name="T17" fmla="*/ 3 h 11"/>
              <a:gd name="T18" fmla="*/ 2 w 10"/>
              <a:gd name="T19" fmla="*/ 6 h 11"/>
              <a:gd name="T20" fmla="*/ 0 w 10"/>
              <a:gd name="T21" fmla="*/ 5 h 11"/>
              <a:gd name="T22" fmla="*/ 0 w 10"/>
              <a:gd name="T23" fmla="*/ 11 h 11"/>
              <a:gd name="T24" fmla="*/ 1 w 10"/>
              <a:gd name="T25" fmla="*/ 11 h 11"/>
              <a:gd name="T26" fmla="*/ 3 w 10"/>
              <a:gd name="T27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" h="11">
                <a:moveTo>
                  <a:pt x="3" y="9"/>
                </a:moveTo>
                <a:cubicBezTo>
                  <a:pt x="4" y="8"/>
                  <a:pt x="4" y="7"/>
                  <a:pt x="5" y="7"/>
                </a:cubicBezTo>
                <a:cubicBezTo>
                  <a:pt x="5" y="6"/>
                  <a:pt x="6" y="6"/>
                  <a:pt x="6" y="6"/>
                </a:cubicBezTo>
                <a:cubicBezTo>
                  <a:pt x="6" y="6"/>
                  <a:pt x="6" y="6"/>
                  <a:pt x="6" y="6"/>
                </a:cubicBezTo>
                <a:cubicBezTo>
                  <a:pt x="6" y="5"/>
                  <a:pt x="7" y="5"/>
                  <a:pt x="8" y="5"/>
                </a:cubicBezTo>
                <a:cubicBezTo>
                  <a:pt x="9" y="4"/>
                  <a:pt x="10" y="4"/>
                  <a:pt x="10" y="3"/>
                </a:cubicBezTo>
                <a:cubicBezTo>
                  <a:pt x="10" y="2"/>
                  <a:pt x="7" y="0"/>
                  <a:pt x="6" y="0"/>
                </a:cubicBezTo>
                <a:cubicBezTo>
                  <a:pt x="5" y="0"/>
                  <a:pt x="6" y="1"/>
                  <a:pt x="6" y="2"/>
                </a:cubicBezTo>
                <a:cubicBezTo>
                  <a:pt x="5" y="3"/>
                  <a:pt x="4" y="2"/>
                  <a:pt x="3" y="3"/>
                </a:cubicBezTo>
                <a:cubicBezTo>
                  <a:pt x="3" y="3"/>
                  <a:pt x="3" y="5"/>
                  <a:pt x="2" y="6"/>
                </a:cubicBezTo>
                <a:cubicBezTo>
                  <a:pt x="2" y="6"/>
                  <a:pt x="1" y="6"/>
                  <a:pt x="0" y="5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1"/>
                  <a:pt x="1" y="11"/>
                  <a:pt x="1" y="11"/>
                </a:cubicBezTo>
                <a:cubicBezTo>
                  <a:pt x="2" y="10"/>
                  <a:pt x="3" y="10"/>
                  <a:pt x="3" y="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6" name="Freeform 92"/>
          <p:cNvSpPr>
            <a:spLocks/>
          </p:cNvSpPr>
          <p:nvPr/>
        </p:nvSpPr>
        <p:spPr bwMode="auto">
          <a:xfrm>
            <a:off x="1712" y="2849563"/>
            <a:ext cx="228600" cy="428625"/>
          </a:xfrm>
          <a:custGeom>
            <a:avLst/>
            <a:gdLst>
              <a:gd name="T0" fmla="*/ 8 w 24"/>
              <a:gd name="T1" fmla="*/ 43 h 45"/>
              <a:gd name="T2" fmla="*/ 9 w 24"/>
              <a:gd name="T3" fmla="*/ 41 h 45"/>
              <a:gd name="T4" fmla="*/ 12 w 24"/>
              <a:gd name="T5" fmla="*/ 43 h 45"/>
              <a:gd name="T6" fmla="*/ 13 w 24"/>
              <a:gd name="T7" fmla="*/ 41 h 45"/>
              <a:gd name="T8" fmla="*/ 19 w 24"/>
              <a:gd name="T9" fmla="*/ 42 h 45"/>
              <a:gd name="T10" fmla="*/ 17 w 24"/>
              <a:gd name="T11" fmla="*/ 40 h 45"/>
              <a:gd name="T12" fmla="*/ 20 w 24"/>
              <a:gd name="T13" fmla="*/ 38 h 45"/>
              <a:gd name="T14" fmla="*/ 21 w 24"/>
              <a:gd name="T15" fmla="*/ 36 h 45"/>
              <a:gd name="T16" fmla="*/ 22 w 24"/>
              <a:gd name="T17" fmla="*/ 31 h 45"/>
              <a:gd name="T18" fmla="*/ 24 w 24"/>
              <a:gd name="T19" fmla="*/ 27 h 45"/>
              <a:gd name="T20" fmla="*/ 23 w 24"/>
              <a:gd name="T21" fmla="*/ 21 h 45"/>
              <a:gd name="T22" fmla="*/ 23 w 24"/>
              <a:gd name="T23" fmla="*/ 16 h 45"/>
              <a:gd name="T24" fmla="*/ 21 w 24"/>
              <a:gd name="T25" fmla="*/ 15 h 45"/>
              <a:gd name="T26" fmla="*/ 19 w 24"/>
              <a:gd name="T27" fmla="*/ 11 h 45"/>
              <a:gd name="T28" fmla="*/ 20 w 24"/>
              <a:gd name="T29" fmla="*/ 8 h 45"/>
              <a:gd name="T30" fmla="*/ 23 w 24"/>
              <a:gd name="T31" fmla="*/ 7 h 45"/>
              <a:gd name="T32" fmla="*/ 23 w 24"/>
              <a:gd name="T33" fmla="*/ 7 h 45"/>
              <a:gd name="T34" fmla="*/ 23 w 24"/>
              <a:gd name="T35" fmla="*/ 7 h 45"/>
              <a:gd name="T36" fmla="*/ 21 w 24"/>
              <a:gd name="T37" fmla="*/ 5 h 45"/>
              <a:gd name="T38" fmla="*/ 19 w 24"/>
              <a:gd name="T39" fmla="*/ 6 h 45"/>
              <a:gd name="T40" fmla="*/ 19 w 24"/>
              <a:gd name="T41" fmla="*/ 6 h 45"/>
              <a:gd name="T42" fmla="*/ 15 w 24"/>
              <a:gd name="T43" fmla="*/ 6 h 45"/>
              <a:gd name="T44" fmla="*/ 14 w 24"/>
              <a:gd name="T45" fmla="*/ 3 h 45"/>
              <a:gd name="T46" fmla="*/ 11 w 24"/>
              <a:gd name="T47" fmla="*/ 0 h 45"/>
              <a:gd name="T48" fmla="*/ 10 w 24"/>
              <a:gd name="T49" fmla="*/ 0 h 45"/>
              <a:gd name="T50" fmla="*/ 7 w 24"/>
              <a:gd name="T51" fmla="*/ 1 h 45"/>
              <a:gd name="T52" fmla="*/ 7 w 24"/>
              <a:gd name="T53" fmla="*/ 1 h 45"/>
              <a:gd name="T54" fmla="*/ 7 w 24"/>
              <a:gd name="T55" fmla="*/ 2 h 45"/>
              <a:gd name="T56" fmla="*/ 7 w 24"/>
              <a:gd name="T57" fmla="*/ 3 h 45"/>
              <a:gd name="T58" fmla="*/ 5 w 24"/>
              <a:gd name="T59" fmla="*/ 4 h 45"/>
              <a:gd name="T60" fmla="*/ 0 w 24"/>
              <a:gd name="T61" fmla="*/ 3 h 45"/>
              <a:gd name="T62" fmla="*/ 0 w 24"/>
              <a:gd name="T63" fmla="*/ 45 h 45"/>
              <a:gd name="T64" fmla="*/ 3 w 24"/>
              <a:gd name="T65" fmla="*/ 44 h 45"/>
              <a:gd name="T66" fmla="*/ 8 w 24"/>
              <a:gd name="T67" fmla="*/ 43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4" h="45">
                <a:moveTo>
                  <a:pt x="8" y="43"/>
                </a:moveTo>
                <a:cubicBezTo>
                  <a:pt x="10" y="43"/>
                  <a:pt x="9" y="41"/>
                  <a:pt x="9" y="41"/>
                </a:cubicBezTo>
                <a:cubicBezTo>
                  <a:pt x="10" y="40"/>
                  <a:pt x="10" y="43"/>
                  <a:pt x="12" y="43"/>
                </a:cubicBezTo>
                <a:cubicBezTo>
                  <a:pt x="13" y="43"/>
                  <a:pt x="12" y="42"/>
                  <a:pt x="13" y="41"/>
                </a:cubicBezTo>
                <a:cubicBezTo>
                  <a:pt x="13" y="40"/>
                  <a:pt x="18" y="43"/>
                  <a:pt x="19" y="42"/>
                </a:cubicBezTo>
                <a:cubicBezTo>
                  <a:pt x="19" y="41"/>
                  <a:pt x="17" y="40"/>
                  <a:pt x="17" y="40"/>
                </a:cubicBezTo>
                <a:cubicBezTo>
                  <a:pt x="17" y="39"/>
                  <a:pt x="19" y="39"/>
                  <a:pt x="20" y="38"/>
                </a:cubicBezTo>
                <a:cubicBezTo>
                  <a:pt x="20" y="38"/>
                  <a:pt x="20" y="38"/>
                  <a:pt x="21" y="36"/>
                </a:cubicBezTo>
                <a:cubicBezTo>
                  <a:pt x="21" y="34"/>
                  <a:pt x="21" y="32"/>
                  <a:pt x="22" y="31"/>
                </a:cubicBezTo>
                <a:cubicBezTo>
                  <a:pt x="23" y="29"/>
                  <a:pt x="24" y="28"/>
                  <a:pt x="24" y="27"/>
                </a:cubicBezTo>
                <a:cubicBezTo>
                  <a:pt x="24" y="26"/>
                  <a:pt x="23" y="24"/>
                  <a:pt x="23" y="21"/>
                </a:cubicBezTo>
                <a:cubicBezTo>
                  <a:pt x="23" y="18"/>
                  <a:pt x="23" y="18"/>
                  <a:pt x="23" y="16"/>
                </a:cubicBezTo>
                <a:cubicBezTo>
                  <a:pt x="23" y="14"/>
                  <a:pt x="23" y="15"/>
                  <a:pt x="21" y="15"/>
                </a:cubicBezTo>
                <a:cubicBezTo>
                  <a:pt x="19" y="14"/>
                  <a:pt x="21" y="13"/>
                  <a:pt x="19" y="11"/>
                </a:cubicBezTo>
                <a:cubicBezTo>
                  <a:pt x="18" y="9"/>
                  <a:pt x="19" y="9"/>
                  <a:pt x="20" y="8"/>
                </a:cubicBezTo>
                <a:cubicBezTo>
                  <a:pt x="20" y="8"/>
                  <a:pt x="22" y="8"/>
                  <a:pt x="23" y="7"/>
                </a:cubicBezTo>
                <a:cubicBezTo>
                  <a:pt x="23" y="7"/>
                  <a:pt x="23" y="7"/>
                  <a:pt x="23" y="7"/>
                </a:cubicBezTo>
                <a:cubicBezTo>
                  <a:pt x="23" y="7"/>
                  <a:pt x="23" y="7"/>
                  <a:pt x="23" y="7"/>
                </a:cubicBezTo>
                <a:cubicBezTo>
                  <a:pt x="22" y="6"/>
                  <a:pt x="22" y="5"/>
                  <a:pt x="21" y="5"/>
                </a:cubicBezTo>
                <a:cubicBezTo>
                  <a:pt x="21" y="5"/>
                  <a:pt x="20" y="5"/>
                  <a:pt x="19" y="6"/>
                </a:cubicBezTo>
                <a:cubicBezTo>
                  <a:pt x="19" y="6"/>
                  <a:pt x="19" y="6"/>
                  <a:pt x="19" y="6"/>
                </a:cubicBezTo>
                <a:cubicBezTo>
                  <a:pt x="18" y="6"/>
                  <a:pt x="17" y="7"/>
                  <a:pt x="15" y="6"/>
                </a:cubicBezTo>
                <a:cubicBezTo>
                  <a:pt x="15" y="5"/>
                  <a:pt x="15" y="4"/>
                  <a:pt x="14" y="3"/>
                </a:cubicBezTo>
                <a:cubicBezTo>
                  <a:pt x="14" y="2"/>
                  <a:pt x="13" y="0"/>
                  <a:pt x="11" y="0"/>
                </a:cubicBezTo>
                <a:cubicBezTo>
                  <a:pt x="11" y="0"/>
                  <a:pt x="10" y="0"/>
                  <a:pt x="10" y="0"/>
                </a:cubicBezTo>
                <a:cubicBezTo>
                  <a:pt x="8" y="0"/>
                  <a:pt x="7" y="0"/>
                  <a:pt x="7" y="1"/>
                </a:cubicBezTo>
                <a:cubicBezTo>
                  <a:pt x="7" y="1"/>
                  <a:pt x="7" y="1"/>
                  <a:pt x="7" y="1"/>
                </a:cubicBezTo>
                <a:cubicBezTo>
                  <a:pt x="7" y="1"/>
                  <a:pt x="7" y="1"/>
                  <a:pt x="7" y="2"/>
                </a:cubicBezTo>
                <a:cubicBezTo>
                  <a:pt x="7" y="2"/>
                  <a:pt x="7" y="3"/>
                  <a:pt x="7" y="3"/>
                </a:cubicBezTo>
                <a:cubicBezTo>
                  <a:pt x="7" y="4"/>
                  <a:pt x="6" y="5"/>
                  <a:pt x="5" y="4"/>
                </a:cubicBezTo>
                <a:cubicBezTo>
                  <a:pt x="4" y="4"/>
                  <a:pt x="2" y="4"/>
                  <a:pt x="0" y="3"/>
                </a:cubicBezTo>
                <a:cubicBezTo>
                  <a:pt x="0" y="45"/>
                  <a:pt x="0" y="45"/>
                  <a:pt x="0" y="45"/>
                </a:cubicBezTo>
                <a:cubicBezTo>
                  <a:pt x="1" y="44"/>
                  <a:pt x="2" y="44"/>
                  <a:pt x="3" y="44"/>
                </a:cubicBezTo>
                <a:cubicBezTo>
                  <a:pt x="4" y="43"/>
                  <a:pt x="6" y="44"/>
                  <a:pt x="8" y="4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7" name="Freeform 93"/>
          <p:cNvSpPr>
            <a:spLocks/>
          </p:cNvSpPr>
          <p:nvPr/>
        </p:nvSpPr>
        <p:spPr bwMode="auto">
          <a:xfrm>
            <a:off x="220787" y="1992313"/>
            <a:ext cx="1066800" cy="1666875"/>
          </a:xfrm>
          <a:custGeom>
            <a:avLst/>
            <a:gdLst>
              <a:gd name="T0" fmla="*/ 34 w 112"/>
              <a:gd name="T1" fmla="*/ 170 h 175"/>
              <a:gd name="T2" fmla="*/ 44 w 112"/>
              <a:gd name="T3" fmla="*/ 160 h 175"/>
              <a:gd name="T4" fmla="*/ 54 w 112"/>
              <a:gd name="T5" fmla="*/ 163 h 175"/>
              <a:gd name="T6" fmla="*/ 65 w 112"/>
              <a:gd name="T7" fmla="*/ 159 h 175"/>
              <a:gd name="T8" fmla="*/ 83 w 112"/>
              <a:gd name="T9" fmla="*/ 158 h 175"/>
              <a:gd name="T10" fmla="*/ 107 w 112"/>
              <a:gd name="T11" fmla="*/ 151 h 175"/>
              <a:gd name="T12" fmla="*/ 97 w 112"/>
              <a:gd name="T13" fmla="*/ 147 h 175"/>
              <a:gd name="T14" fmla="*/ 97 w 112"/>
              <a:gd name="T15" fmla="*/ 141 h 175"/>
              <a:gd name="T16" fmla="*/ 103 w 112"/>
              <a:gd name="T17" fmla="*/ 137 h 175"/>
              <a:gd name="T18" fmla="*/ 110 w 112"/>
              <a:gd name="T19" fmla="*/ 133 h 175"/>
              <a:gd name="T20" fmla="*/ 99 w 112"/>
              <a:gd name="T21" fmla="*/ 117 h 175"/>
              <a:gd name="T22" fmla="*/ 90 w 112"/>
              <a:gd name="T23" fmla="*/ 117 h 175"/>
              <a:gd name="T24" fmla="*/ 77 w 112"/>
              <a:gd name="T25" fmla="*/ 102 h 175"/>
              <a:gd name="T26" fmla="*/ 85 w 112"/>
              <a:gd name="T27" fmla="*/ 94 h 175"/>
              <a:gd name="T28" fmla="*/ 68 w 112"/>
              <a:gd name="T29" fmla="*/ 78 h 175"/>
              <a:gd name="T30" fmla="*/ 53 w 112"/>
              <a:gd name="T31" fmla="*/ 57 h 175"/>
              <a:gd name="T32" fmla="*/ 33 w 112"/>
              <a:gd name="T33" fmla="*/ 54 h 175"/>
              <a:gd name="T34" fmla="*/ 49 w 112"/>
              <a:gd name="T35" fmla="*/ 53 h 175"/>
              <a:gd name="T36" fmla="*/ 48 w 112"/>
              <a:gd name="T37" fmla="*/ 46 h 175"/>
              <a:gd name="T38" fmla="*/ 61 w 112"/>
              <a:gd name="T39" fmla="*/ 23 h 175"/>
              <a:gd name="T40" fmla="*/ 27 w 112"/>
              <a:gd name="T41" fmla="*/ 26 h 175"/>
              <a:gd name="T42" fmla="*/ 30 w 112"/>
              <a:gd name="T43" fmla="*/ 19 h 175"/>
              <a:gd name="T44" fmla="*/ 32 w 112"/>
              <a:gd name="T45" fmla="*/ 13 h 175"/>
              <a:gd name="T46" fmla="*/ 41 w 112"/>
              <a:gd name="T47" fmla="*/ 1 h 175"/>
              <a:gd name="T48" fmla="*/ 23 w 112"/>
              <a:gd name="T49" fmla="*/ 6 h 175"/>
              <a:gd name="T50" fmla="*/ 16 w 112"/>
              <a:gd name="T51" fmla="*/ 3 h 175"/>
              <a:gd name="T52" fmla="*/ 13 w 112"/>
              <a:gd name="T53" fmla="*/ 12 h 175"/>
              <a:gd name="T54" fmla="*/ 7 w 112"/>
              <a:gd name="T55" fmla="*/ 18 h 175"/>
              <a:gd name="T56" fmla="*/ 7 w 112"/>
              <a:gd name="T57" fmla="*/ 27 h 175"/>
              <a:gd name="T58" fmla="*/ 10 w 112"/>
              <a:gd name="T59" fmla="*/ 33 h 175"/>
              <a:gd name="T60" fmla="*/ 3 w 112"/>
              <a:gd name="T61" fmla="*/ 37 h 175"/>
              <a:gd name="T62" fmla="*/ 9 w 112"/>
              <a:gd name="T63" fmla="*/ 43 h 175"/>
              <a:gd name="T64" fmla="*/ 12 w 112"/>
              <a:gd name="T65" fmla="*/ 44 h 175"/>
              <a:gd name="T66" fmla="*/ 9 w 112"/>
              <a:gd name="T67" fmla="*/ 48 h 175"/>
              <a:gd name="T68" fmla="*/ 9 w 112"/>
              <a:gd name="T69" fmla="*/ 59 h 175"/>
              <a:gd name="T70" fmla="*/ 12 w 112"/>
              <a:gd name="T71" fmla="*/ 58 h 175"/>
              <a:gd name="T72" fmla="*/ 18 w 112"/>
              <a:gd name="T73" fmla="*/ 53 h 175"/>
              <a:gd name="T74" fmla="*/ 22 w 112"/>
              <a:gd name="T75" fmla="*/ 58 h 175"/>
              <a:gd name="T76" fmla="*/ 22 w 112"/>
              <a:gd name="T77" fmla="*/ 67 h 175"/>
              <a:gd name="T78" fmla="*/ 14 w 112"/>
              <a:gd name="T79" fmla="*/ 79 h 175"/>
              <a:gd name="T80" fmla="*/ 24 w 112"/>
              <a:gd name="T81" fmla="*/ 83 h 175"/>
              <a:gd name="T82" fmla="*/ 43 w 112"/>
              <a:gd name="T83" fmla="*/ 77 h 175"/>
              <a:gd name="T84" fmla="*/ 42 w 112"/>
              <a:gd name="T85" fmla="*/ 95 h 175"/>
              <a:gd name="T86" fmla="*/ 45 w 112"/>
              <a:gd name="T87" fmla="*/ 102 h 175"/>
              <a:gd name="T88" fmla="*/ 42 w 112"/>
              <a:gd name="T89" fmla="*/ 109 h 175"/>
              <a:gd name="T90" fmla="*/ 28 w 112"/>
              <a:gd name="T91" fmla="*/ 113 h 175"/>
              <a:gd name="T92" fmla="*/ 29 w 112"/>
              <a:gd name="T93" fmla="*/ 119 h 175"/>
              <a:gd name="T94" fmla="*/ 19 w 112"/>
              <a:gd name="T95" fmla="*/ 134 h 175"/>
              <a:gd name="T96" fmla="*/ 16 w 112"/>
              <a:gd name="T97" fmla="*/ 143 h 175"/>
              <a:gd name="T98" fmla="*/ 34 w 112"/>
              <a:gd name="T99" fmla="*/ 145 h 175"/>
              <a:gd name="T100" fmla="*/ 49 w 112"/>
              <a:gd name="T101" fmla="*/ 145 h 175"/>
              <a:gd name="T102" fmla="*/ 33 w 112"/>
              <a:gd name="T103" fmla="*/ 151 h 175"/>
              <a:gd name="T104" fmla="*/ 22 w 112"/>
              <a:gd name="T105" fmla="*/ 159 h 175"/>
              <a:gd name="T106" fmla="*/ 6 w 112"/>
              <a:gd name="T107" fmla="*/ 173 h 175"/>
              <a:gd name="T108" fmla="*/ 17 w 112"/>
              <a:gd name="T109" fmla="*/ 17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2" h="175">
                <a:moveTo>
                  <a:pt x="26" y="168"/>
                </a:moveTo>
                <a:cubicBezTo>
                  <a:pt x="26" y="167"/>
                  <a:pt x="26" y="165"/>
                  <a:pt x="26" y="165"/>
                </a:cubicBezTo>
                <a:cubicBezTo>
                  <a:pt x="27" y="165"/>
                  <a:pt x="28" y="167"/>
                  <a:pt x="28" y="168"/>
                </a:cubicBezTo>
                <a:cubicBezTo>
                  <a:pt x="29" y="169"/>
                  <a:pt x="32" y="170"/>
                  <a:pt x="34" y="170"/>
                </a:cubicBezTo>
                <a:cubicBezTo>
                  <a:pt x="36" y="170"/>
                  <a:pt x="35" y="167"/>
                  <a:pt x="36" y="166"/>
                </a:cubicBezTo>
                <a:cubicBezTo>
                  <a:pt x="36" y="164"/>
                  <a:pt x="36" y="162"/>
                  <a:pt x="37" y="161"/>
                </a:cubicBezTo>
                <a:cubicBezTo>
                  <a:pt x="38" y="161"/>
                  <a:pt x="39" y="161"/>
                  <a:pt x="40" y="161"/>
                </a:cubicBezTo>
                <a:cubicBezTo>
                  <a:pt x="41" y="161"/>
                  <a:pt x="43" y="160"/>
                  <a:pt x="44" y="160"/>
                </a:cubicBezTo>
                <a:cubicBezTo>
                  <a:pt x="45" y="160"/>
                  <a:pt x="45" y="160"/>
                  <a:pt x="45" y="161"/>
                </a:cubicBezTo>
                <a:cubicBezTo>
                  <a:pt x="45" y="161"/>
                  <a:pt x="48" y="162"/>
                  <a:pt x="50" y="162"/>
                </a:cubicBezTo>
                <a:cubicBezTo>
                  <a:pt x="52" y="162"/>
                  <a:pt x="52" y="164"/>
                  <a:pt x="52" y="164"/>
                </a:cubicBezTo>
                <a:cubicBezTo>
                  <a:pt x="53" y="164"/>
                  <a:pt x="53" y="164"/>
                  <a:pt x="54" y="163"/>
                </a:cubicBezTo>
                <a:cubicBezTo>
                  <a:pt x="55" y="163"/>
                  <a:pt x="57" y="163"/>
                  <a:pt x="59" y="163"/>
                </a:cubicBezTo>
                <a:cubicBezTo>
                  <a:pt x="60" y="162"/>
                  <a:pt x="57" y="161"/>
                  <a:pt x="58" y="160"/>
                </a:cubicBezTo>
                <a:cubicBezTo>
                  <a:pt x="58" y="160"/>
                  <a:pt x="59" y="160"/>
                  <a:pt x="61" y="160"/>
                </a:cubicBezTo>
                <a:cubicBezTo>
                  <a:pt x="63" y="160"/>
                  <a:pt x="64" y="160"/>
                  <a:pt x="65" y="159"/>
                </a:cubicBezTo>
                <a:cubicBezTo>
                  <a:pt x="66" y="159"/>
                  <a:pt x="66" y="157"/>
                  <a:pt x="68" y="157"/>
                </a:cubicBezTo>
                <a:cubicBezTo>
                  <a:pt x="70" y="158"/>
                  <a:pt x="73" y="158"/>
                  <a:pt x="75" y="158"/>
                </a:cubicBezTo>
                <a:cubicBezTo>
                  <a:pt x="76" y="159"/>
                  <a:pt x="75" y="160"/>
                  <a:pt x="77" y="160"/>
                </a:cubicBezTo>
                <a:cubicBezTo>
                  <a:pt x="78" y="160"/>
                  <a:pt x="81" y="159"/>
                  <a:pt x="83" y="158"/>
                </a:cubicBezTo>
                <a:cubicBezTo>
                  <a:pt x="85" y="157"/>
                  <a:pt x="90" y="160"/>
                  <a:pt x="91" y="160"/>
                </a:cubicBezTo>
                <a:cubicBezTo>
                  <a:pt x="93" y="160"/>
                  <a:pt x="96" y="158"/>
                  <a:pt x="98" y="158"/>
                </a:cubicBezTo>
                <a:cubicBezTo>
                  <a:pt x="101" y="157"/>
                  <a:pt x="104" y="154"/>
                  <a:pt x="106" y="153"/>
                </a:cubicBezTo>
                <a:cubicBezTo>
                  <a:pt x="107" y="152"/>
                  <a:pt x="107" y="152"/>
                  <a:pt x="107" y="151"/>
                </a:cubicBezTo>
                <a:cubicBezTo>
                  <a:pt x="107" y="150"/>
                  <a:pt x="108" y="149"/>
                  <a:pt x="108" y="148"/>
                </a:cubicBezTo>
                <a:cubicBezTo>
                  <a:pt x="108" y="146"/>
                  <a:pt x="103" y="147"/>
                  <a:pt x="102" y="147"/>
                </a:cubicBezTo>
                <a:cubicBezTo>
                  <a:pt x="100" y="147"/>
                  <a:pt x="102" y="148"/>
                  <a:pt x="101" y="149"/>
                </a:cubicBezTo>
                <a:cubicBezTo>
                  <a:pt x="100" y="150"/>
                  <a:pt x="99" y="148"/>
                  <a:pt x="97" y="147"/>
                </a:cubicBezTo>
                <a:cubicBezTo>
                  <a:pt x="96" y="147"/>
                  <a:pt x="95" y="148"/>
                  <a:pt x="92" y="147"/>
                </a:cubicBezTo>
                <a:cubicBezTo>
                  <a:pt x="90" y="145"/>
                  <a:pt x="99" y="145"/>
                  <a:pt x="100" y="144"/>
                </a:cubicBezTo>
                <a:cubicBezTo>
                  <a:pt x="101" y="144"/>
                  <a:pt x="100" y="143"/>
                  <a:pt x="99" y="142"/>
                </a:cubicBezTo>
                <a:cubicBezTo>
                  <a:pt x="98" y="142"/>
                  <a:pt x="97" y="142"/>
                  <a:pt x="97" y="141"/>
                </a:cubicBezTo>
                <a:cubicBezTo>
                  <a:pt x="96" y="140"/>
                  <a:pt x="98" y="141"/>
                  <a:pt x="100" y="141"/>
                </a:cubicBezTo>
                <a:cubicBezTo>
                  <a:pt x="102" y="141"/>
                  <a:pt x="103" y="140"/>
                  <a:pt x="104" y="139"/>
                </a:cubicBezTo>
                <a:cubicBezTo>
                  <a:pt x="105" y="139"/>
                  <a:pt x="102" y="138"/>
                  <a:pt x="102" y="137"/>
                </a:cubicBezTo>
                <a:cubicBezTo>
                  <a:pt x="102" y="136"/>
                  <a:pt x="102" y="137"/>
                  <a:pt x="103" y="137"/>
                </a:cubicBezTo>
                <a:cubicBezTo>
                  <a:pt x="104" y="136"/>
                  <a:pt x="104" y="136"/>
                  <a:pt x="104" y="135"/>
                </a:cubicBezTo>
                <a:cubicBezTo>
                  <a:pt x="104" y="135"/>
                  <a:pt x="105" y="137"/>
                  <a:pt x="106" y="137"/>
                </a:cubicBezTo>
                <a:cubicBezTo>
                  <a:pt x="107" y="137"/>
                  <a:pt x="108" y="136"/>
                  <a:pt x="109" y="136"/>
                </a:cubicBezTo>
                <a:cubicBezTo>
                  <a:pt x="110" y="135"/>
                  <a:pt x="110" y="135"/>
                  <a:pt x="110" y="133"/>
                </a:cubicBezTo>
                <a:cubicBezTo>
                  <a:pt x="110" y="132"/>
                  <a:pt x="112" y="126"/>
                  <a:pt x="112" y="125"/>
                </a:cubicBezTo>
                <a:cubicBezTo>
                  <a:pt x="112" y="123"/>
                  <a:pt x="112" y="122"/>
                  <a:pt x="111" y="121"/>
                </a:cubicBezTo>
                <a:cubicBezTo>
                  <a:pt x="111" y="121"/>
                  <a:pt x="108" y="118"/>
                  <a:pt x="105" y="118"/>
                </a:cubicBezTo>
                <a:cubicBezTo>
                  <a:pt x="102" y="118"/>
                  <a:pt x="101" y="117"/>
                  <a:pt x="99" y="117"/>
                </a:cubicBezTo>
                <a:cubicBezTo>
                  <a:pt x="97" y="117"/>
                  <a:pt x="96" y="117"/>
                  <a:pt x="96" y="118"/>
                </a:cubicBezTo>
                <a:cubicBezTo>
                  <a:pt x="95" y="118"/>
                  <a:pt x="93" y="120"/>
                  <a:pt x="92" y="120"/>
                </a:cubicBezTo>
                <a:cubicBezTo>
                  <a:pt x="90" y="121"/>
                  <a:pt x="87" y="120"/>
                  <a:pt x="87" y="119"/>
                </a:cubicBezTo>
                <a:cubicBezTo>
                  <a:pt x="87" y="118"/>
                  <a:pt x="88" y="117"/>
                  <a:pt x="90" y="117"/>
                </a:cubicBezTo>
                <a:cubicBezTo>
                  <a:pt x="91" y="116"/>
                  <a:pt x="92" y="114"/>
                  <a:pt x="92" y="113"/>
                </a:cubicBezTo>
                <a:cubicBezTo>
                  <a:pt x="93" y="112"/>
                  <a:pt x="88" y="108"/>
                  <a:pt x="87" y="106"/>
                </a:cubicBezTo>
                <a:cubicBezTo>
                  <a:pt x="86" y="105"/>
                  <a:pt x="84" y="104"/>
                  <a:pt x="81" y="104"/>
                </a:cubicBezTo>
                <a:cubicBezTo>
                  <a:pt x="79" y="103"/>
                  <a:pt x="78" y="103"/>
                  <a:pt x="77" y="102"/>
                </a:cubicBezTo>
                <a:cubicBezTo>
                  <a:pt x="76" y="102"/>
                  <a:pt x="83" y="101"/>
                  <a:pt x="84" y="102"/>
                </a:cubicBezTo>
                <a:cubicBezTo>
                  <a:pt x="86" y="103"/>
                  <a:pt x="89" y="104"/>
                  <a:pt x="89" y="104"/>
                </a:cubicBezTo>
                <a:cubicBezTo>
                  <a:pt x="89" y="103"/>
                  <a:pt x="88" y="102"/>
                  <a:pt x="88" y="101"/>
                </a:cubicBezTo>
                <a:cubicBezTo>
                  <a:pt x="87" y="100"/>
                  <a:pt x="86" y="95"/>
                  <a:pt x="85" y="94"/>
                </a:cubicBezTo>
                <a:cubicBezTo>
                  <a:pt x="84" y="92"/>
                  <a:pt x="82" y="92"/>
                  <a:pt x="81" y="90"/>
                </a:cubicBezTo>
                <a:cubicBezTo>
                  <a:pt x="79" y="89"/>
                  <a:pt x="78" y="87"/>
                  <a:pt x="77" y="86"/>
                </a:cubicBezTo>
                <a:cubicBezTo>
                  <a:pt x="76" y="85"/>
                  <a:pt x="73" y="84"/>
                  <a:pt x="69" y="82"/>
                </a:cubicBezTo>
                <a:cubicBezTo>
                  <a:pt x="66" y="80"/>
                  <a:pt x="69" y="80"/>
                  <a:pt x="68" y="78"/>
                </a:cubicBezTo>
                <a:cubicBezTo>
                  <a:pt x="66" y="76"/>
                  <a:pt x="66" y="72"/>
                  <a:pt x="65" y="71"/>
                </a:cubicBezTo>
                <a:cubicBezTo>
                  <a:pt x="65" y="69"/>
                  <a:pt x="66" y="66"/>
                  <a:pt x="65" y="65"/>
                </a:cubicBezTo>
                <a:cubicBezTo>
                  <a:pt x="63" y="64"/>
                  <a:pt x="61" y="63"/>
                  <a:pt x="59" y="61"/>
                </a:cubicBezTo>
                <a:cubicBezTo>
                  <a:pt x="57" y="59"/>
                  <a:pt x="54" y="58"/>
                  <a:pt x="53" y="57"/>
                </a:cubicBezTo>
                <a:cubicBezTo>
                  <a:pt x="52" y="57"/>
                  <a:pt x="48" y="57"/>
                  <a:pt x="46" y="57"/>
                </a:cubicBezTo>
                <a:cubicBezTo>
                  <a:pt x="44" y="57"/>
                  <a:pt x="42" y="57"/>
                  <a:pt x="41" y="58"/>
                </a:cubicBezTo>
                <a:cubicBezTo>
                  <a:pt x="39" y="58"/>
                  <a:pt x="37" y="58"/>
                  <a:pt x="35" y="57"/>
                </a:cubicBezTo>
                <a:cubicBezTo>
                  <a:pt x="33" y="57"/>
                  <a:pt x="33" y="55"/>
                  <a:pt x="33" y="54"/>
                </a:cubicBezTo>
                <a:cubicBezTo>
                  <a:pt x="33" y="54"/>
                  <a:pt x="34" y="55"/>
                  <a:pt x="36" y="55"/>
                </a:cubicBezTo>
                <a:cubicBezTo>
                  <a:pt x="37" y="56"/>
                  <a:pt x="38" y="56"/>
                  <a:pt x="40" y="55"/>
                </a:cubicBezTo>
                <a:cubicBezTo>
                  <a:pt x="42" y="55"/>
                  <a:pt x="42" y="54"/>
                  <a:pt x="44" y="53"/>
                </a:cubicBezTo>
                <a:cubicBezTo>
                  <a:pt x="46" y="52"/>
                  <a:pt x="48" y="53"/>
                  <a:pt x="49" y="53"/>
                </a:cubicBezTo>
                <a:cubicBezTo>
                  <a:pt x="50" y="52"/>
                  <a:pt x="49" y="51"/>
                  <a:pt x="48" y="50"/>
                </a:cubicBezTo>
                <a:cubicBezTo>
                  <a:pt x="47" y="48"/>
                  <a:pt x="44" y="50"/>
                  <a:pt x="43" y="50"/>
                </a:cubicBezTo>
                <a:cubicBezTo>
                  <a:pt x="41" y="50"/>
                  <a:pt x="40" y="50"/>
                  <a:pt x="40" y="49"/>
                </a:cubicBezTo>
                <a:cubicBezTo>
                  <a:pt x="40" y="48"/>
                  <a:pt x="46" y="47"/>
                  <a:pt x="48" y="46"/>
                </a:cubicBezTo>
                <a:cubicBezTo>
                  <a:pt x="50" y="45"/>
                  <a:pt x="49" y="44"/>
                  <a:pt x="51" y="42"/>
                </a:cubicBezTo>
                <a:cubicBezTo>
                  <a:pt x="52" y="41"/>
                  <a:pt x="54" y="40"/>
                  <a:pt x="56" y="38"/>
                </a:cubicBezTo>
                <a:cubicBezTo>
                  <a:pt x="58" y="36"/>
                  <a:pt x="57" y="33"/>
                  <a:pt x="58" y="32"/>
                </a:cubicBezTo>
                <a:cubicBezTo>
                  <a:pt x="58" y="30"/>
                  <a:pt x="63" y="25"/>
                  <a:pt x="61" y="23"/>
                </a:cubicBezTo>
                <a:cubicBezTo>
                  <a:pt x="58" y="21"/>
                  <a:pt x="54" y="22"/>
                  <a:pt x="51" y="22"/>
                </a:cubicBezTo>
                <a:cubicBezTo>
                  <a:pt x="47" y="22"/>
                  <a:pt x="44" y="21"/>
                  <a:pt x="40" y="21"/>
                </a:cubicBezTo>
                <a:cubicBezTo>
                  <a:pt x="36" y="20"/>
                  <a:pt x="36" y="21"/>
                  <a:pt x="33" y="23"/>
                </a:cubicBezTo>
                <a:cubicBezTo>
                  <a:pt x="30" y="24"/>
                  <a:pt x="29" y="26"/>
                  <a:pt x="27" y="26"/>
                </a:cubicBezTo>
                <a:cubicBezTo>
                  <a:pt x="25" y="27"/>
                  <a:pt x="27" y="25"/>
                  <a:pt x="27" y="23"/>
                </a:cubicBezTo>
                <a:cubicBezTo>
                  <a:pt x="27" y="22"/>
                  <a:pt x="24" y="24"/>
                  <a:pt x="23" y="24"/>
                </a:cubicBezTo>
                <a:cubicBezTo>
                  <a:pt x="22" y="23"/>
                  <a:pt x="24" y="22"/>
                  <a:pt x="27" y="22"/>
                </a:cubicBezTo>
                <a:cubicBezTo>
                  <a:pt x="29" y="21"/>
                  <a:pt x="30" y="20"/>
                  <a:pt x="30" y="19"/>
                </a:cubicBezTo>
                <a:cubicBezTo>
                  <a:pt x="31" y="18"/>
                  <a:pt x="27" y="18"/>
                  <a:pt x="24" y="18"/>
                </a:cubicBezTo>
                <a:cubicBezTo>
                  <a:pt x="22" y="17"/>
                  <a:pt x="23" y="16"/>
                  <a:pt x="25" y="16"/>
                </a:cubicBezTo>
                <a:cubicBezTo>
                  <a:pt x="26" y="16"/>
                  <a:pt x="28" y="17"/>
                  <a:pt x="29" y="16"/>
                </a:cubicBezTo>
                <a:cubicBezTo>
                  <a:pt x="29" y="15"/>
                  <a:pt x="30" y="15"/>
                  <a:pt x="32" y="13"/>
                </a:cubicBezTo>
                <a:cubicBezTo>
                  <a:pt x="34" y="11"/>
                  <a:pt x="35" y="11"/>
                  <a:pt x="37" y="10"/>
                </a:cubicBezTo>
                <a:cubicBezTo>
                  <a:pt x="40" y="10"/>
                  <a:pt x="40" y="9"/>
                  <a:pt x="41" y="7"/>
                </a:cubicBezTo>
                <a:cubicBezTo>
                  <a:pt x="42" y="6"/>
                  <a:pt x="42" y="5"/>
                  <a:pt x="44" y="2"/>
                </a:cubicBezTo>
                <a:cubicBezTo>
                  <a:pt x="45" y="0"/>
                  <a:pt x="42" y="1"/>
                  <a:pt x="41" y="1"/>
                </a:cubicBezTo>
                <a:cubicBezTo>
                  <a:pt x="39" y="1"/>
                  <a:pt x="37" y="2"/>
                  <a:pt x="34" y="2"/>
                </a:cubicBezTo>
                <a:cubicBezTo>
                  <a:pt x="31" y="2"/>
                  <a:pt x="31" y="2"/>
                  <a:pt x="30" y="3"/>
                </a:cubicBezTo>
                <a:cubicBezTo>
                  <a:pt x="28" y="3"/>
                  <a:pt x="28" y="3"/>
                  <a:pt x="26" y="4"/>
                </a:cubicBezTo>
                <a:cubicBezTo>
                  <a:pt x="25" y="6"/>
                  <a:pt x="24" y="7"/>
                  <a:pt x="23" y="6"/>
                </a:cubicBezTo>
                <a:cubicBezTo>
                  <a:pt x="21" y="6"/>
                  <a:pt x="23" y="4"/>
                  <a:pt x="22" y="4"/>
                </a:cubicBezTo>
                <a:cubicBezTo>
                  <a:pt x="21" y="4"/>
                  <a:pt x="20" y="6"/>
                  <a:pt x="19" y="6"/>
                </a:cubicBezTo>
                <a:cubicBezTo>
                  <a:pt x="17" y="6"/>
                  <a:pt x="18" y="5"/>
                  <a:pt x="19" y="4"/>
                </a:cubicBezTo>
                <a:cubicBezTo>
                  <a:pt x="20" y="3"/>
                  <a:pt x="17" y="3"/>
                  <a:pt x="16" y="3"/>
                </a:cubicBezTo>
                <a:cubicBezTo>
                  <a:pt x="15" y="3"/>
                  <a:pt x="14" y="7"/>
                  <a:pt x="14" y="8"/>
                </a:cubicBezTo>
                <a:cubicBezTo>
                  <a:pt x="14" y="9"/>
                  <a:pt x="17" y="10"/>
                  <a:pt x="17" y="10"/>
                </a:cubicBezTo>
                <a:cubicBezTo>
                  <a:pt x="16" y="11"/>
                  <a:pt x="13" y="10"/>
                  <a:pt x="12" y="10"/>
                </a:cubicBezTo>
                <a:cubicBezTo>
                  <a:pt x="10" y="10"/>
                  <a:pt x="12" y="11"/>
                  <a:pt x="13" y="12"/>
                </a:cubicBezTo>
                <a:cubicBezTo>
                  <a:pt x="14" y="13"/>
                  <a:pt x="12" y="13"/>
                  <a:pt x="11" y="14"/>
                </a:cubicBezTo>
                <a:cubicBezTo>
                  <a:pt x="11" y="16"/>
                  <a:pt x="15" y="17"/>
                  <a:pt x="15" y="19"/>
                </a:cubicBezTo>
                <a:cubicBezTo>
                  <a:pt x="15" y="20"/>
                  <a:pt x="11" y="18"/>
                  <a:pt x="10" y="18"/>
                </a:cubicBezTo>
                <a:cubicBezTo>
                  <a:pt x="8" y="18"/>
                  <a:pt x="7" y="18"/>
                  <a:pt x="7" y="18"/>
                </a:cubicBezTo>
                <a:cubicBezTo>
                  <a:pt x="7" y="19"/>
                  <a:pt x="6" y="19"/>
                  <a:pt x="6" y="20"/>
                </a:cubicBezTo>
                <a:cubicBezTo>
                  <a:pt x="6" y="22"/>
                  <a:pt x="9" y="24"/>
                  <a:pt x="8" y="25"/>
                </a:cubicBezTo>
                <a:cubicBezTo>
                  <a:pt x="8" y="25"/>
                  <a:pt x="6" y="24"/>
                  <a:pt x="4" y="25"/>
                </a:cubicBezTo>
                <a:cubicBezTo>
                  <a:pt x="3" y="26"/>
                  <a:pt x="6" y="27"/>
                  <a:pt x="7" y="27"/>
                </a:cubicBezTo>
                <a:cubicBezTo>
                  <a:pt x="8" y="28"/>
                  <a:pt x="9" y="27"/>
                  <a:pt x="9" y="28"/>
                </a:cubicBezTo>
                <a:cubicBezTo>
                  <a:pt x="9" y="29"/>
                  <a:pt x="9" y="29"/>
                  <a:pt x="10" y="30"/>
                </a:cubicBezTo>
                <a:cubicBezTo>
                  <a:pt x="10" y="31"/>
                  <a:pt x="9" y="31"/>
                  <a:pt x="8" y="32"/>
                </a:cubicBezTo>
                <a:cubicBezTo>
                  <a:pt x="8" y="33"/>
                  <a:pt x="10" y="33"/>
                  <a:pt x="10" y="33"/>
                </a:cubicBezTo>
                <a:cubicBezTo>
                  <a:pt x="11" y="34"/>
                  <a:pt x="8" y="34"/>
                  <a:pt x="8" y="34"/>
                </a:cubicBezTo>
                <a:cubicBezTo>
                  <a:pt x="7" y="35"/>
                  <a:pt x="7" y="34"/>
                  <a:pt x="9" y="36"/>
                </a:cubicBezTo>
                <a:cubicBezTo>
                  <a:pt x="10" y="37"/>
                  <a:pt x="8" y="36"/>
                  <a:pt x="7" y="36"/>
                </a:cubicBezTo>
                <a:cubicBezTo>
                  <a:pt x="6" y="36"/>
                  <a:pt x="5" y="37"/>
                  <a:pt x="3" y="37"/>
                </a:cubicBezTo>
                <a:cubicBezTo>
                  <a:pt x="2" y="38"/>
                  <a:pt x="4" y="39"/>
                  <a:pt x="4" y="41"/>
                </a:cubicBezTo>
                <a:cubicBezTo>
                  <a:pt x="3" y="43"/>
                  <a:pt x="2" y="42"/>
                  <a:pt x="1" y="42"/>
                </a:cubicBezTo>
                <a:cubicBezTo>
                  <a:pt x="0" y="43"/>
                  <a:pt x="3" y="44"/>
                  <a:pt x="5" y="45"/>
                </a:cubicBezTo>
                <a:cubicBezTo>
                  <a:pt x="8" y="46"/>
                  <a:pt x="8" y="43"/>
                  <a:pt x="9" y="43"/>
                </a:cubicBezTo>
                <a:cubicBezTo>
                  <a:pt x="10" y="42"/>
                  <a:pt x="12" y="40"/>
                  <a:pt x="13" y="39"/>
                </a:cubicBezTo>
                <a:cubicBezTo>
                  <a:pt x="14" y="38"/>
                  <a:pt x="14" y="40"/>
                  <a:pt x="14" y="40"/>
                </a:cubicBezTo>
                <a:cubicBezTo>
                  <a:pt x="14" y="41"/>
                  <a:pt x="16" y="41"/>
                  <a:pt x="16" y="42"/>
                </a:cubicBezTo>
                <a:cubicBezTo>
                  <a:pt x="16" y="43"/>
                  <a:pt x="13" y="43"/>
                  <a:pt x="12" y="44"/>
                </a:cubicBezTo>
                <a:cubicBezTo>
                  <a:pt x="10" y="45"/>
                  <a:pt x="12" y="45"/>
                  <a:pt x="12" y="46"/>
                </a:cubicBezTo>
                <a:cubicBezTo>
                  <a:pt x="13" y="46"/>
                  <a:pt x="15" y="45"/>
                  <a:pt x="15" y="45"/>
                </a:cubicBezTo>
                <a:cubicBezTo>
                  <a:pt x="16" y="46"/>
                  <a:pt x="15" y="47"/>
                  <a:pt x="13" y="48"/>
                </a:cubicBezTo>
                <a:cubicBezTo>
                  <a:pt x="12" y="49"/>
                  <a:pt x="11" y="48"/>
                  <a:pt x="9" y="48"/>
                </a:cubicBezTo>
                <a:cubicBezTo>
                  <a:pt x="7" y="48"/>
                  <a:pt x="8" y="49"/>
                  <a:pt x="7" y="50"/>
                </a:cubicBezTo>
                <a:cubicBezTo>
                  <a:pt x="7" y="51"/>
                  <a:pt x="8" y="52"/>
                  <a:pt x="7" y="54"/>
                </a:cubicBezTo>
                <a:cubicBezTo>
                  <a:pt x="7" y="56"/>
                  <a:pt x="6" y="57"/>
                  <a:pt x="6" y="59"/>
                </a:cubicBezTo>
                <a:cubicBezTo>
                  <a:pt x="6" y="61"/>
                  <a:pt x="9" y="59"/>
                  <a:pt x="9" y="59"/>
                </a:cubicBezTo>
                <a:cubicBezTo>
                  <a:pt x="10" y="58"/>
                  <a:pt x="9" y="56"/>
                  <a:pt x="10" y="55"/>
                </a:cubicBezTo>
                <a:cubicBezTo>
                  <a:pt x="10" y="54"/>
                  <a:pt x="12" y="53"/>
                  <a:pt x="13" y="53"/>
                </a:cubicBezTo>
                <a:cubicBezTo>
                  <a:pt x="14" y="52"/>
                  <a:pt x="13" y="53"/>
                  <a:pt x="12" y="55"/>
                </a:cubicBezTo>
                <a:cubicBezTo>
                  <a:pt x="11" y="56"/>
                  <a:pt x="11" y="58"/>
                  <a:pt x="12" y="58"/>
                </a:cubicBezTo>
                <a:cubicBezTo>
                  <a:pt x="13" y="58"/>
                  <a:pt x="12" y="57"/>
                  <a:pt x="13" y="57"/>
                </a:cubicBezTo>
                <a:cubicBezTo>
                  <a:pt x="14" y="56"/>
                  <a:pt x="15" y="58"/>
                  <a:pt x="16" y="57"/>
                </a:cubicBezTo>
                <a:cubicBezTo>
                  <a:pt x="17" y="56"/>
                  <a:pt x="16" y="54"/>
                  <a:pt x="16" y="53"/>
                </a:cubicBezTo>
                <a:cubicBezTo>
                  <a:pt x="17" y="52"/>
                  <a:pt x="17" y="53"/>
                  <a:pt x="18" y="53"/>
                </a:cubicBezTo>
                <a:cubicBezTo>
                  <a:pt x="19" y="54"/>
                  <a:pt x="19" y="52"/>
                  <a:pt x="19" y="52"/>
                </a:cubicBezTo>
                <a:cubicBezTo>
                  <a:pt x="20" y="51"/>
                  <a:pt x="20" y="55"/>
                  <a:pt x="20" y="56"/>
                </a:cubicBezTo>
                <a:cubicBezTo>
                  <a:pt x="21" y="57"/>
                  <a:pt x="23" y="57"/>
                  <a:pt x="23" y="58"/>
                </a:cubicBezTo>
                <a:cubicBezTo>
                  <a:pt x="24" y="58"/>
                  <a:pt x="23" y="58"/>
                  <a:pt x="22" y="58"/>
                </a:cubicBezTo>
                <a:cubicBezTo>
                  <a:pt x="20" y="59"/>
                  <a:pt x="19" y="58"/>
                  <a:pt x="18" y="58"/>
                </a:cubicBezTo>
                <a:cubicBezTo>
                  <a:pt x="17" y="59"/>
                  <a:pt x="18" y="59"/>
                  <a:pt x="19" y="61"/>
                </a:cubicBezTo>
                <a:cubicBezTo>
                  <a:pt x="19" y="62"/>
                  <a:pt x="18" y="62"/>
                  <a:pt x="19" y="64"/>
                </a:cubicBezTo>
                <a:cubicBezTo>
                  <a:pt x="20" y="66"/>
                  <a:pt x="21" y="65"/>
                  <a:pt x="22" y="67"/>
                </a:cubicBezTo>
                <a:cubicBezTo>
                  <a:pt x="22" y="68"/>
                  <a:pt x="20" y="69"/>
                  <a:pt x="19" y="71"/>
                </a:cubicBezTo>
                <a:cubicBezTo>
                  <a:pt x="17" y="72"/>
                  <a:pt x="17" y="74"/>
                  <a:pt x="16" y="75"/>
                </a:cubicBezTo>
                <a:cubicBezTo>
                  <a:pt x="14" y="77"/>
                  <a:pt x="14" y="76"/>
                  <a:pt x="13" y="77"/>
                </a:cubicBezTo>
                <a:cubicBezTo>
                  <a:pt x="12" y="77"/>
                  <a:pt x="12" y="78"/>
                  <a:pt x="14" y="79"/>
                </a:cubicBezTo>
                <a:cubicBezTo>
                  <a:pt x="15" y="81"/>
                  <a:pt x="15" y="84"/>
                  <a:pt x="17" y="84"/>
                </a:cubicBezTo>
                <a:cubicBezTo>
                  <a:pt x="18" y="84"/>
                  <a:pt x="17" y="82"/>
                  <a:pt x="17" y="81"/>
                </a:cubicBezTo>
                <a:cubicBezTo>
                  <a:pt x="17" y="80"/>
                  <a:pt x="17" y="80"/>
                  <a:pt x="18" y="79"/>
                </a:cubicBezTo>
                <a:cubicBezTo>
                  <a:pt x="19" y="79"/>
                  <a:pt x="22" y="82"/>
                  <a:pt x="24" y="83"/>
                </a:cubicBezTo>
                <a:cubicBezTo>
                  <a:pt x="26" y="84"/>
                  <a:pt x="24" y="80"/>
                  <a:pt x="25" y="79"/>
                </a:cubicBezTo>
                <a:cubicBezTo>
                  <a:pt x="25" y="78"/>
                  <a:pt x="27" y="81"/>
                  <a:pt x="30" y="81"/>
                </a:cubicBezTo>
                <a:cubicBezTo>
                  <a:pt x="32" y="82"/>
                  <a:pt x="34" y="77"/>
                  <a:pt x="36" y="77"/>
                </a:cubicBezTo>
                <a:cubicBezTo>
                  <a:pt x="39" y="77"/>
                  <a:pt x="43" y="77"/>
                  <a:pt x="43" y="77"/>
                </a:cubicBezTo>
                <a:cubicBezTo>
                  <a:pt x="44" y="78"/>
                  <a:pt x="40" y="78"/>
                  <a:pt x="39" y="79"/>
                </a:cubicBezTo>
                <a:cubicBezTo>
                  <a:pt x="38" y="80"/>
                  <a:pt x="36" y="85"/>
                  <a:pt x="36" y="86"/>
                </a:cubicBezTo>
                <a:cubicBezTo>
                  <a:pt x="36" y="88"/>
                  <a:pt x="36" y="88"/>
                  <a:pt x="39" y="90"/>
                </a:cubicBezTo>
                <a:cubicBezTo>
                  <a:pt x="42" y="92"/>
                  <a:pt x="40" y="95"/>
                  <a:pt x="42" y="95"/>
                </a:cubicBezTo>
                <a:cubicBezTo>
                  <a:pt x="44" y="94"/>
                  <a:pt x="43" y="93"/>
                  <a:pt x="44" y="93"/>
                </a:cubicBezTo>
                <a:cubicBezTo>
                  <a:pt x="45" y="92"/>
                  <a:pt x="45" y="93"/>
                  <a:pt x="46" y="94"/>
                </a:cubicBezTo>
                <a:cubicBezTo>
                  <a:pt x="46" y="94"/>
                  <a:pt x="44" y="97"/>
                  <a:pt x="43" y="98"/>
                </a:cubicBezTo>
                <a:cubicBezTo>
                  <a:pt x="42" y="100"/>
                  <a:pt x="45" y="100"/>
                  <a:pt x="45" y="102"/>
                </a:cubicBezTo>
                <a:cubicBezTo>
                  <a:pt x="46" y="104"/>
                  <a:pt x="45" y="104"/>
                  <a:pt x="45" y="106"/>
                </a:cubicBezTo>
                <a:cubicBezTo>
                  <a:pt x="45" y="107"/>
                  <a:pt x="48" y="109"/>
                  <a:pt x="48" y="110"/>
                </a:cubicBezTo>
                <a:cubicBezTo>
                  <a:pt x="48" y="111"/>
                  <a:pt x="47" y="110"/>
                  <a:pt x="46" y="110"/>
                </a:cubicBezTo>
                <a:cubicBezTo>
                  <a:pt x="44" y="110"/>
                  <a:pt x="42" y="108"/>
                  <a:pt x="42" y="109"/>
                </a:cubicBezTo>
                <a:cubicBezTo>
                  <a:pt x="41" y="111"/>
                  <a:pt x="43" y="111"/>
                  <a:pt x="42" y="112"/>
                </a:cubicBezTo>
                <a:cubicBezTo>
                  <a:pt x="41" y="113"/>
                  <a:pt x="39" y="112"/>
                  <a:pt x="37" y="112"/>
                </a:cubicBezTo>
                <a:cubicBezTo>
                  <a:pt x="35" y="111"/>
                  <a:pt x="33" y="110"/>
                  <a:pt x="31" y="111"/>
                </a:cubicBezTo>
                <a:cubicBezTo>
                  <a:pt x="30" y="112"/>
                  <a:pt x="30" y="112"/>
                  <a:pt x="28" y="113"/>
                </a:cubicBezTo>
                <a:cubicBezTo>
                  <a:pt x="27" y="115"/>
                  <a:pt x="27" y="114"/>
                  <a:pt x="25" y="115"/>
                </a:cubicBezTo>
                <a:cubicBezTo>
                  <a:pt x="23" y="116"/>
                  <a:pt x="22" y="117"/>
                  <a:pt x="20" y="119"/>
                </a:cubicBezTo>
                <a:cubicBezTo>
                  <a:pt x="18" y="121"/>
                  <a:pt x="21" y="120"/>
                  <a:pt x="23" y="119"/>
                </a:cubicBezTo>
                <a:cubicBezTo>
                  <a:pt x="26" y="119"/>
                  <a:pt x="27" y="119"/>
                  <a:pt x="29" y="119"/>
                </a:cubicBezTo>
                <a:cubicBezTo>
                  <a:pt x="30" y="119"/>
                  <a:pt x="28" y="122"/>
                  <a:pt x="28" y="124"/>
                </a:cubicBezTo>
                <a:cubicBezTo>
                  <a:pt x="29" y="127"/>
                  <a:pt x="31" y="125"/>
                  <a:pt x="31" y="126"/>
                </a:cubicBezTo>
                <a:cubicBezTo>
                  <a:pt x="30" y="127"/>
                  <a:pt x="27" y="131"/>
                  <a:pt x="25" y="132"/>
                </a:cubicBezTo>
                <a:cubicBezTo>
                  <a:pt x="24" y="133"/>
                  <a:pt x="23" y="133"/>
                  <a:pt x="19" y="134"/>
                </a:cubicBezTo>
                <a:cubicBezTo>
                  <a:pt x="16" y="135"/>
                  <a:pt x="12" y="136"/>
                  <a:pt x="11" y="137"/>
                </a:cubicBezTo>
                <a:cubicBezTo>
                  <a:pt x="9" y="138"/>
                  <a:pt x="12" y="139"/>
                  <a:pt x="14" y="140"/>
                </a:cubicBezTo>
                <a:cubicBezTo>
                  <a:pt x="15" y="141"/>
                  <a:pt x="16" y="139"/>
                  <a:pt x="18" y="140"/>
                </a:cubicBezTo>
                <a:cubicBezTo>
                  <a:pt x="19" y="141"/>
                  <a:pt x="16" y="142"/>
                  <a:pt x="16" y="143"/>
                </a:cubicBezTo>
                <a:cubicBezTo>
                  <a:pt x="16" y="144"/>
                  <a:pt x="21" y="141"/>
                  <a:pt x="23" y="140"/>
                </a:cubicBezTo>
                <a:cubicBezTo>
                  <a:pt x="25" y="140"/>
                  <a:pt x="26" y="141"/>
                  <a:pt x="28" y="142"/>
                </a:cubicBezTo>
                <a:cubicBezTo>
                  <a:pt x="30" y="142"/>
                  <a:pt x="27" y="143"/>
                  <a:pt x="27" y="145"/>
                </a:cubicBezTo>
                <a:cubicBezTo>
                  <a:pt x="27" y="146"/>
                  <a:pt x="31" y="144"/>
                  <a:pt x="34" y="145"/>
                </a:cubicBezTo>
                <a:cubicBezTo>
                  <a:pt x="37" y="146"/>
                  <a:pt x="36" y="147"/>
                  <a:pt x="38" y="146"/>
                </a:cubicBezTo>
                <a:cubicBezTo>
                  <a:pt x="41" y="146"/>
                  <a:pt x="43" y="145"/>
                  <a:pt x="46" y="144"/>
                </a:cubicBezTo>
                <a:cubicBezTo>
                  <a:pt x="48" y="143"/>
                  <a:pt x="49" y="141"/>
                  <a:pt x="51" y="142"/>
                </a:cubicBezTo>
                <a:cubicBezTo>
                  <a:pt x="53" y="142"/>
                  <a:pt x="51" y="143"/>
                  <a:pt x="49" y="145"/>
                </a:cubicBezTo>
                <a:cubicBezTo>
                  <a:pt x="47" y="147"/>
                  <a:pt x="47" y="147"/>
                  <a:pt x="45" y="149"/>
                </a:cubicBezTo>
                <a:cubicBezTo>
                  <a:pt x="43" y="151"/>
                  <a:pt x="45" y="151"/>
                  <a:pt x="44" y="152"/>
                </a:cubicBezTo>
                <a:cubicBezTo>
                  <a:pt x="43" y="153"/>
                  <a:pt x="42" y="151"/>
                  <a:pt x="39" y="151"/>
                </a:cubicBezTo>
                <a:cubicBezTo>
                  <a:pt x="36" y="150"/>
                  <a:pt x="37" y="151"/>
                  <a:pt x="33" y="151"/>
                </a:cubicBezTo>
                <a:cubicBezTo>
                  <a:pt x="30" y="151"/>
                  <a:pt x="29" y="151"/>
                  <a:pt x="28" y="151"/>
                </a:cubicBezTo>
                <a:cubicBezTo>
                  <a:pt x="26" y="151"/>
                  <a:pt x="27" y="152"/>
                  <a:pt x="26" y="154"/>
                </a:cubicBezTo>
                <a:cubicBezTo>
                  <a:pt x="24" y="155"/>
                  <a:pt x="23" y="155"/>
                  <a:pt x="22" y="157"/>
                </a:cubicBezTo>
                <a:cubicBezTo>
                  <a:pt x="20" y="158"/>
                  <a:pt x="22" y="157"/>
                  <a:pt x="22" y="159"/>
                </a:cubicBezTo>
                <a:cubicBezTo>
                  <a:pt x="23" y="160"/>
                  <a:pt x="20" y="163"/>
                  <a:pt x="18" y="164"/>
                </a:cubicBezTo>
                <a:cubicBezTo>
                  <a:pt x="17" y="165"/>
                  <a:pt x="16" y="165"/>
                  <a:pt x="14" y="165"/>
                </a:cubicBezTo>
                <a:cubicBezTo>
                  <a:pt x="12" y="166"/>
                  <a:pt x="12" y="167"/>
                  <a:pt x="11" y="168"/>
                </a:cubicBezTo>
                <a:cubicBezTo>
                  <a:pt x="10" y="170"/>
                  <a:pt x="6" y="171"/>
                  <a:pt x="6" y="173"/>
                </a:cubicBezTo>
                <a:cubicBezTo>
                  <a:pt x="5" y="174"/>
                  <a:pt x="8" y="172"/>
                  <a:pt x="10" y="172"/>
                </a:cubicBezTo>
                <a:cubicBezTo>
                  <a:pt x="12" y="172"/>
                  <a:pt x="11" y="174"/>
                  <a:pt x="13" y="174"/>
                </a:cubicBezTo>
                <a:cubicBezTo>
                  <a:pt x="14" y="175"/>
                  <a:pt x="14" y="172"/>
                  <a:pt x="14" y="171"/>
                </a:cubicBezTo>
                <a:cubicBezTo>
                  <a:pt x="15" y="170"/>
                  <a:pt x="15" y="170"/>
                  <a:pt x="17" y="170"/>
                </a:cubicBezTo>
                <a:cubicBezTo>
                  <a:pt x="20" y="170"/>
                  <a:pt x="20" y="169"/>
                  <a:pt x="23" y="169"/>
                </a:cubicBezTo>
                <a:cubicBezTo>
                  <a:pt x="25" y="169"/>
                  <a:pt x="26" y="169"/>
                  <a:pt x="26" y="16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8" name="Freeform 94"/>
          <p:cNvSpPr>
            <a:spLocks/>
          </p:cNvSpPr>
          <p:nvPr/>
        </p:nvSpPr>
        <p:spPr bwMode="auto">
          <a:xfrm>
            <a:off x="239837" y="2573338"/>
            <a:ext cx="76200" cy="95250"/>
          </a:xfrm>
          <a:custGeom>
            <a:avLst/>
            <a:gdLst>
              <a:gd name="T0" fmla="*/ 5 w 8"/>
              <a:gd name="T1" fmla="*/ 1 h 10"/>
              <a:gd name="T2" fmla="*/ 2 w 8"/>
              <a:gd name="T3" fmla="*/ 6 h 10"/>
              <a:gd name="T4" fmla="*/ 1 w 8"/>
              <a:gd name="T5" fmla="*/ 10 h 10"/>
              <a:gd name="T6" fmla="*/ 5 w 8"/>
              <a:gd name="T7" fmla="*/ 9 h 10"/>
              <a:gd name="T8" fmla="*/ 6 w 8"/>
              <a:gd name="T9" fmla="*/ 5 h 10"/>
              <a:gd name="T10" fmla="*/ 8 w 8"/>
              <a:gd name="T11" fmla="*/ 1 h 10"/>
              <a:gd name="T12" fmla="*/ 5 w 8"/>
              <a:gd name="T13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10">
                <a:moveTo>
                  <a:pt x="5" y="1"/>
                </a:moveTo>
                <a:cubicBezTo>
                  <a:pt x="4" y="2"/>
                  <a:pt x="2" y="4"/>
                  <a:pt x="2" y="6"/>
                </a:cubicBezTo>
                <a:cubicBezTo>
                  <a:pt x="1" y="8"/>
                  <a:pt x="0" y="10"/>
                  <a:pt x="1" y="10"/>
                </a:cubicBezTo>
                <a:cubicBezTo>
                  <a:pt x="2" y="10"/>
                  <a:pt x="3" y="9"/>
                  <a:pt x="5" y="9"/>
                </a:cubicBezTo>
                <a:cubicBezTo>
                  <a:pt x="6" y="8"/>
                  <a:pt x="6" y="7"/>
                  <a:pt x="6" y="5"/>
                </a:cubicBezTo>
                <a:cubicBezTo>
                  <a:pt x="6" y="3"/>
                  <a:pt x="8" y="2"/>
                  <a:pt x="8" y="1"/>
                </a:cubicBezTo>
                <a:cubicBezTo>
                  <a:pt x="8" y="0"/>
                  <a:pt x="7" y="0"/>
                  <a:pt x="5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19" name="Freeform 95"/>
          <p:cNvSpPr>
            <a:spLocks/>
          </p:cNvSpPr>
          <p:nvPr/>
        </p:nvSpPr>
        <p:spPr bwMode="auto">
          <a:xfrm>
            <a:off x="1712" y="2678113"/>
            <a:ext cx="304800" cy="228600"/>
          </a:xfrm>
          <a:custGeom>
            <a:avLst/>
            <a:gdLst>
              <a:gd name="T0" fmla="*/ 5 w 32"/>
              <a:gd name="T1" fmla="*/ 21 h 24"/>
              <a:gd name="T2" fmla="*/ 5 w 32"/>
              <a:gd name="T3" fmla="*/ 20 h 24"/>
              <a:gd name="T4" fmla="*/ 5 w 32"/>
              <a:gd name="T5" fmla="*/ 18 h 24"/>
              <a:gd name="T6" fmla="*/ 5 w 32"/>
              <a:gd name="T7" fmla="*/ 18 h 24"/>
              <a:gd name="T8" fmla="*/ 10 w 32"/>
              <a:gd name="T9" fmla="*/ 17 h 24"/>
              <a:gd name="T10" fmla="*/ 11 w 32"/>
              <a:gd name="T11" fmla="*/ 17 h 24"/>
              <a:gd name="T12" fmla="*/ 15 w 32"/>
              <a:gd name="T13" fmla="*/ 21 h 24"/>
              <a:gd name="T14" fmla="*/ 16 w 32"/>
              <a:gd name="T15" fmla="*/ 23 h 24"/>
              <a:gd name="T16" fmla="*/ 19 w 32"/>
              <a:gd name="T17" fmla="*/ 22 h 24"/>
              <a:gd name="T18" fmla="*/ 19 w 32"/>
              <a:gd name="T19" fmla="*/ 22 h 24"/>
              <a:gd name="T20" fmla="*/ 21 w 32"/>
              <a:gd name="T21" fmla="*/ 21 h 24"/>
              <a:gd name="T22" fmla="*/ 24 w 32"/>
              <a:gd name="T23" fmla="*/ 24 h 24"/>
              <a:gd name="T24" fmla="*/ 24 w 32"/>
              <a:gd name="T25" fmla="*/ 24 h 24"/>
              <a:gd name="T26" fmla="*/ 26 w 32"/>
              <a:gd name="T27" fmla="*/ 22 h 24"/>
              <a:gd name="T28" fmla="*/ 30 w 32"/>
              <a:gd name="T29" fmla="*/ 20 h 24"/>
              <a:gd name="T30" fmla="*/ 28 w 32"/>
              <a:gd name="T31" fmla="*/ 18 h 24"/>
              <a:gd name="T32" fmla="*/ 30 w 32"/>
              <a:gd name="T33" fmla="*/ 16 h 24"/>
              <a:gd name="T34" fmla="*/ 31 w 32"/>
              <a:gd name="T35" fmla="*/ 13 h 24"/>
              <a:gd name="T36" fmla="*/ 25 w 32"/>
              <a:gd name="T37" fmla="*/ 12 h 24"/>
              <a:gd name="T38" fmla="*/ 29 w 32"/>
              <a:gd name="T39" fmla="*/ 9 h 24"/>
              <a:gd name="T40" fmla="*/ 25 w 32"/>
              <a:gd name="T41" fmla="*/ 5 h 24"/>
              <a:gd name="T42" fmla="*/ 22 w 32"/>
              <a:gd name="T43" fmla="*/ 1 h 24"/>
              <a:gd name="T44" fmla="*/ 17 w 32"/>
              <a:gd name="T45" fmla="*/ 0 h 24"/>
              <a:gd name="T46" fmla="*/ 14 w 32"/>
              <a:gd name="T47" fmla="*/ 0 h 24"/>
              <a:gd name="T48" fmla="*/ 12 w 32"/>
              <a:gd name="T49" fmla="*/ 2 h 24"/>
              <a:gd name="T50" fmla="*/ 8 w 32"/>
              <a:gd name="T51" fmla="*/ 4 h 24"/>
              <a:gd name="T52" fmla="*/ 8 w 32"/>
              <a:gd name="T53" fmla="*/ 3 h 24"/>
              <a:gd name="T54" fmla="*/ 7 w 32"/>
              <a:gd name="T55" fmla="*/ 4 h 24"/>
              <a:gd name="T56" fmla="*/ 7 w 32"/>
              <a:gd name="T57" fmla="*/ 4 h 24"/>
              <a:gd name="T58" fmla="*/ 6 w 32"/>
              <a:gd name="T59" fmla="*/ 5 h 24"/>
              <a:gd name="T60" fmla="*/ 4 w 32"/>
              <a:gd name="T61" fmla="*/ 7 h 24"/>
              <a:gd name="T62" fmla="*/ 1 w 32"/>
              <a:gd name="T63" fmla="*/ 9 h 24"/>
              <a:gd name="T64" fmla="*/ 0 w 32"/>
              <a:gd name="T65" fmla="*/ 10 h 24"/>
              <a:gd name="T66" fmla="*/ 0 w 32"/>
              <a:gd name="T67" fmla="*/ 19 h 24"/>
              <a:gd name="T68" fmla="*/ 5 w 32"/>
              <a:gd name="T69" fmla="*/ 21 h 24"/>
              <a:gd name="T70" fmla="*/ 5 w 32"/>
              <a:gd name="T71" fmla="*/ 2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2" h="24">
                <a:moveTo>
                  <a:pt x="5" y="21"/>
                </a:moveTo>
                <a:cubicBezTo>
                  <a:pt x="5" y="21"/>
                  <a:pt x="5" y="20"/>
                  <a:pt x="5" y="20"/>
                </a:cubicBezTo>
                <a:cubicBezTo>
                  <a:pt x="5" y="19"/>
                  <a:pt x="5" y="19"/>
                  <a:pt x="5" y="18"/>
                </a:cubicBezTo>
                <a:cubicBezTo>
                  <a:pt x="5" y="18"/>
                  <a:pt x="5" y="18"/>
                  <a:pt x="5" y="18"/>
                </a:cubicBezTo>
                <a:cubicBezTo>
                  <a:pt x="6" y="17"/>
                  <a:pt x="8" y="17"/>
                  <a:pt x="10" y="17"/>
                </a:cubicBezTo>
                <a:cubicBezTo>
                  <a:pt x="10" y="17"/>
                  <a:pt x="11" y="17"/>
                  <a:pt x="11" y="17"/>
                </a:cubicBezTo>
                <a:cubicBezTo>
                  <a:pt x="14" y="17"/>
                  <a:pt x="15" y="19"/>
                  <a:pt x="15" y="21"/>
                </a:cubicBezTo>
                <a:cubicBezTo>
                  <a:pt x="16" y="22"/>
                  <a:pt x="16" y="22"/>
                  <a:pt x="16" y="23"/>
                </a:cubicBezTo>
                <a:cubicBezTo>
                  <a:pt x="17" y="23"/>
                  <a:pt x="18" y="23"/>
                  <a:pt x="19" y="22"/>
                </a:cubicBezTo>
                <a:cubicBezTo>
                  <a:pt x="19" y="22"/>
                  <a:pt x="19" y="22"/>
                  <a:pt x="19" y="22"/>
                </a:cubicBezTo>
                <a:cubicBezTo>
                  <a:pt x="19" y="22"/>
                  <a:pt x="20" y="22"/>
                  <a:pt x="21" y="21"/>
                </a:cubicBezTo>
                <a:cubicBezTo>
                  <a:pt x="22" y="21"/>
                  <a:pt x="23" y="22"/>
                  <a:pt x="24" y="24"/>
                </a:cubicBezTo>
                <a:cubicBezTo>
                  <a:pt x="24" y="24"/>
                  <a:pt x="24" y="24"/>
                  <a:pt x="24" y="24"/>
                </a:cubicBezTo>
                <a:cubicBezTo>
                  <a:pt x="25" y="23"/>
                  <a:pt x="25" y="23"/>
                  <a:pt x="26" y="22"/>
                </a:cubicBezTo>
                <a:cubicBezTo>
                  <a:pt x="29" y="20"/>
                  <a:pt x="29" y="20"/>
                  <a:pt x="30" y="20"/>
                </a:cubicBezTo>
                <a:cubicBezTo>
                  <a:pt x="31" y="19"/>
                  <a:pt x="30" y="19"/>
                  <a:pt x="28" y="18"/>
                </a:cubicBezTo>
                <a:cubicBezTo>
                  <a:pt x="27" y="18"/>
                  <a:pt x="29" y="16"/>
                  <a:pt x="30" y="16"/>
                </a:cubicBezTo>
                <a:cubicBezTo>
                  <a:pt x="32" y="15"/>
                  <a:pt x="31" y="14"/>
                  <a:pt x="31" y="13"/>
                </a:cubicBezTo>
                <a:cubicBezTo>
                  <a:pt x="30" y="11"/>
                  <a:pt x="26" y="13"/>
                  <a:pt x="25" y="12"/>
                </a:cubicBezTo>
                <a:cubicBezTo>
                  <a:pt x="25" y="11"/>
                  <a:pt x="28" y="10"/>
                  <a:pt x="29" y="9"/>
                </a:cubicBezTo>
                <a:cubicBezTo>
                  <a:pt x="29" y="7"/>
                  <a:pt x="27" y="7"/>
                  <a:pt x="25" y="5"/>
                </a:cubicBezTo>
                <a:cubicBezTo>
                  <a:pt x="23" y="4"/>
                  <a:pt x="24" y="2"/>
                  <a:pt x="22" y="1"/>
                </a:cubicBezTo>
                <a:cubicBezTo>
                  <a:pt x="21" y="0"/>
                  <a:pt x="21" y="1"/>
                  <a:pt x="17" y="0"/>
                </a:cubicBezTo>
                <a:cubicBezTo>
                  <a:pt x="16" y="0"/>
                  <a:pt x="16" y="0"/>
                  <a:pt x="14" y="0"/>
                </a:cubicBezTo>
                <a:cubicBezTo>
                  <a:pt x="13" y="1"/>
                  <a:pt x="13" y="1"/>
                  <a:pt x="12" y="2"/>
                </a:cubicBezTo>
                <a:cubicBezTo>
                  <a:pt x="10" y="3"/>
                  <a:pt x="9" y="4"/>
                  <a:pt x="8" y="4"/>
                </a:cubicBezTo>
                <a:cubicBezTo>
                  <a:pt x="7" y="5"/>
                  <a:pt x="8" y="5"/>
                  <a:pt x="8" y="3"/>
                </a:cubicBezTo>
                <a:cubicBezTo>
                  <a:pt x="7" y="4"/>
                  <a:pt x="7" y="4"/>
                  <a:pt x="7" y="4"/>
                </a:cubicBezTo>
                <a:cubicBezTo>
                  <a:pt x="7" y="4"/>
                  <a:pt x="7" y="4"/>
                  <a:pt x="7" y="4"/>
                </a:cubicBezTo>
                <a:cubicBezTo>
                  <a:pt x="7" y="4"/>
                  <a:pt x="6" y="4"/>
                  <a:pt x="6" y="5"/>
                </a:cubicBezTo>
                <a:cubicBezTo>
                  <a:pt x="5" y="5"/>
                  <a:pt x="5" y="6"/>
                  <a:pt x="4" y="7"/>
                </a:cubicBezTo>
                <a:cubicBezTo>
                  <a:pt x="4" y="8"/>
                  <a:pt x="2" y="8"/>
                  <a:pt x="1" y="9"/>
                </a:cubicBezTo>
                <a:cubicBezTo>
                  <a:pt x="1" y="9"/>
                  <a:pt x="1" y="9"/>
                  <a:pt x="0" y="10"/>
                </a:cubicBezTo>
                <a:cubicBezTo>
                  <a:pt x="0" y="19"/>
                  <a:pt x="0" y="19"/>
                  <a:pt x="0" y="19"/>
                </a:cubicBezTo>
                <a:cubicBezTo>
                  <a:pt x="2" y="20"/>
                  <a:pt x="4" y="21"/>
                  <a:pt x="5" y="21"/>
                </a:cubicBezTo>
                <a:cubicBezTo>
                  <a:pt x="5" y="21"/>
                  <a:pt x="5" y="21"/>
                  <a:pt x="5" y="2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0" name="Freeform 96"/>
          <p:cNvSpPr>
            <a:spLocks/>
          </p:cNvSpPr>
          <p:nvPr/>
        </p:nvSpPr>
        <p:spPr bwMode="auto">
          <a:xfrm>
            <a:off x="373187" y="2820988"/>
            <a:ext cx="95250" cy="85725"/>
          </a:xfrm>
          <a:custGeom>
            <a:avLst/>
            <a:gdLst>
              <a:gd name="T0" fmla="*/ 9 w 10"/>
              <a:gd name="T1" fmla="*/ 1 h 9"/>
              <a:gd name="T2" fmla="*/ 5 w 10"/>
              <a:gd name="T3" fmla="*/ 4 h 9"/>
              <a:gd name="T4" fmla="*/ 2 w 10"/>
              <a:gd name="T5" fmla="*/ 9 h 9"/>
              <a:gd name="T6" fmla="*/ 6 w 10"/>
              <a:gd name="T7" fmla="*/ 8 h 9"/>
              <a:gd name="T8" fmla="*/ 9 w 10"/>
              <a:gd name="T9" fmla="*/ 3 h 9"/>
              <a:gd name="T10" fmla="*/ 9 w 10"/>
              <a:gd name="T11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9">
                <a:moveTo>
                  <a:pt x="9" y="1"/>
                </a:moveTo>
                <a:cubicBezTo>
                  <a:pt x="7" y="1"/>
                  <a:pt x="6" y="3"/>
                  <a:pt x="5" y="4"/>
                </a:cubicBezTo>
                <a:cubicBezTo>
                  <a:pt x="4" y="6"/>
                  <a:pt x="0" y="8"/>
                  <a:pt x="2" y="9"/>
                </a:cubicBezTo>
                <a:cubicBezTo>
                  <a:pt x="4" y="9"/>
                  <a:pt x="5" y="8"/>
                  <a:pt x="6" y="8"/>
                </a:cubicBezTo>
                <a:cubicBezTo>
                  <a:pt x="7" y="8"/>
                  <a:pt x="9" y="4"/>
                  <a:pt x="9" y="3"/>
                </a:cubicBezTo>
                <a:cubicBezTo>
                  <a:pt x="9" y="2"/>
                  <a:pt x="10" y="0"/>
                  <a:pt x="9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1" name="Freeform 97"/>
          <p:cNvSpPr>
            <a:spLocks/>
          </p:cNvSpPr>
          <p:nvPr/>
        </p:nvSpPr>
        <p:spPr bwMode="auto">
          <a:xfrm>
            <a:off x="154112" y="2554288"/>
            <a:ext cx="76200" cy="66675"/>
          </a:xfrm>
          <a:custGeom>
            <a:avLst/>
            <a:gdLst>
              <a:gd name="T0" fmla="*/ 6 w 8"/>
              <a:gd name="T1" fmla="*/ 0 h 7"/>
              <a:gd name="T2" fmla="*/ 1 w 8"/>
              <a:gd name="T3" fmla="*/ 1 h 7"/>
              <a:gd name="T4" fmla="*/ 4 w 8"/>
              <a:gd name="T5" fmla="*/ 3 h 7"/>
              <a:gd name="T6" fmla="*/ 4 w 8"/>
              <a:gd name="T7" fmla="*/ 6 h 7"/>
              <a:gd name="T8" fmla="*/ 7 w 8"/>
              <a:gd name="T9" fmla="*/ 3 h 7"/>
              <a:gd name="T10" fmla="*/ 6 w 8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7">
                <a:moveTo>
                  <a:pt x="6" y="0"/>
                </a:moveTo>
                <a:cubicBezTo>
                  <a:pt x="5" y="0"/>
                  <a:pt x="3" y="0"/>
                  <a:pt x="1" y="1"/>
                </a:cubicBezTo>
                <a:cubicBezTo>
                  <a:pt x="0" y="1"/>
                  <a:pt x="3" y="2"/>
                  <a:pt x="4" y="3"/>
                </a:cubicBezTo>
                <a:cubicBezTo>
                  <a:pt x="5" y="4"/>
                  <a:pt x="3" y="5"/>
                  <a:pt x="4" y="6"/>
                </a:cubicBezTo>
                <a:cubicBezTo>
                  <a:pt x="4" y="7"/>
                  <a:pt x="7" y="4"/>
                  <a:pt x="7" y="3"/>
                </a:cubicBezTo>
                <a:cubicBezTo>
                  <a:pt x="8" y="3"/>
                  <a:pt x="7" y="0"/>
                  <a:pt x="6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2" name="Freeform 98"/>
          <p:cNvSpPr>
            <a:spLocks/>
          </p:cNvSpPr>
          <p:nvPr/>
        </p:nvSpPr>
        <p:spPr bwMode="auto">
          <a:xfrm>
            <a:off x="220787" y="2497138"/>
            <a:ext cx="47625" cy="57150"/>
          </a:xfrm>
          <a:custGeom>
            <a:avLst/>
            <a:gdLst>
              <a:gd name="T0" fmla="*/ 4 w 5"/>
              <a:gd name="T1" fmla="*/ 3 h 6"/>
              <a:gd name="T2" fmla="*/ 3 w 5"/>
              <a:gd name="T3" fmla="*/ 1 h 6"/>
              <a:gd name="T4" fmla="*/ 1 w 5"/>
              <a:gd name="T5" fmla="*/ 3 h 6"/>
              <a:gd name="T6" fmla="*/ 1 w 5"/>
              <a:gd name="T7" fmla="*/ 6 h 6"/>
              <a:gd name="T8" fmla="*/ 4 w 5"/>
              <a:gd name="T9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6">
                <a:moveTo>
                  <a:pt x="4" y="3"/>
                </a:moveTo>
                <a:cubicBezTo>
                  <a:pt x="5" y="1"/>
                  <a:pt x="4" y="0"/>
                  <a:pt x="3" y="1"/>
                </a:cubicBezTo>
                <a:cubicBezTo>
                  <a:pt x="2" y="2"/>
                  <a:pt x="1" y="3"/>
                  <a:pt x="1" y="3"/>
                </a:cubicBezTo>
                <a:cubicBezTo>
                  <a:pt x="0" y="4"/>
                  <a:pt x="1" y="5"/>
                  <a:pt x="1" y="6"/>
                </a:cubicBezTo>
                <a:cubicBezTo>
                  <a:pt x="2" y="6"/>
                  <a:pt x="4" y="5"/>
                  <a:pt x="4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3" name="Freeform 99"/>
          <p:cNvSpPr>
            <a:spLocks/>
          </p:cNvSpPr>
          <p:nvPr/>
        </p:nvSpPr>
        <p:spPr bwMode="auto">
          <a:xfrm>
            <a:off x="687512" y="3725863"/>
            <a:ext cx="28575" cy="28575"/>
          </a:xfrm>
          <a:custGeom>
            <a:avLst/>
            <a:gdLst>
              <a:gd name="T0" fmla="*/ 1 w 3"/>
              <a:gd name="T1" fmla="*/ 1 h 3"/>
              <a:gd name="T2" fmla="*/ 1 w 3"/>
              <a:gd name="T3" fmla="*/ 3 h 3"/>
              <a:gd name="T4" fmla="*/ 3 w 3"/>
              <a:gd name="T5" fmla="*/ 0 h 3"/>
              <a:gd name="T6" fmla="*/ 1 w 3"/>
              <a:gd name="T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" h="3">
                <a:moveTo>
                  <a:pt x="1" y="1"/>
                </a:moveTo>
                <a:cubicBezTo>
                  <a:pt x="1" y="1"/>
                  <a:pt x="0" y="3"/>
                  <a:pt x="1" y="3"/>
                </a:cubicBezTo>
                <a:cubicBezTo>
                  <a:pt x="1" y="3"/>
                  <a:pt x="3" y="1"/>
                  <a:pt x="3" y="0"/>
                </a:cubicBezTo>
                <a:cubicBezTo>
                  <a:pt x="3" y="0"/>
                  <a:pt x="2" y="0"/>
                  <a:pt x="1" y="1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4" name="Freeform 100"/>
          <p:cNvSpPr>
            <a:spLocks/>
          </p:cNvSpPr>
          <p:nvPr/>
        </p:nvSpPr>
        <p:spPr bwMode="auto">
          <a:xfrm>
            <a:off x="154112" y="2316163"/>
            <a:ext cx="47625" cy="47625"/>
          </a:xfrm>
          <a:custGeom>
            <a:avLst/>
            <a:gdLst>
              <a:gd name="T0" fmla="*/ 4 w 5"/>
              <a:gd name="T1" fmla="*/ 4 h 5"/>
              <a:gd name="T2" fmla="*/ 2 w 5"/>
              <a:gd name="T3" fmla="*/ 1 h 5"/>
              <a:gd name="T4" fmla="*/ 1 w 5"/>
              <a:gd name="T5" fmla="*/ 3 h 5"/>
              <a:gd name="T6" fmla="*/ 4 w 5"/>
              <a:gd name="T7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5">
                <a:moveTo>
                  <a:pt x="4" y="4"/>
                </a:moveTo>
                <a:cubicBezTo>
                  <a:pt x="5" y="2"/>
                  <a:pt x="4" y="0"/>
                  <a:pt x="2" y="1"/>
                </a:cubicBezTo>
                <a:cubicBezTo>
                  <a:pt x="1" y="1"/>
                  <a:pt x="0" y="2"/>
                  <a:pt x="1" y="3"/>
                </a:cubicBezTo>
                <a:cubicBezTo>
                  <a:pt x="2" y="4"/>
                  <a:pt x="3" y="5"/>
                  <a:pt x="4" y="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5" name="Freeform 101"/>
          <p:cNvSpPr>
            <a:spLocks/>
          </p:cNvSpPr>
          <p:nvPr/>
        </p:nvSpPr>
        <p:spPr bwMode="auto">
          <a:xfrm>
            <a:off x="716087" y="3783013"/>
            <a:ext cx="57150" cy="38100"/>
          </a:xfrm>
          <a:custGeom>
            <a:avLst/>
            <a:gdLst>
              <a:gd name="T0" fmla="*/ 2 w 6"/>
              <a:gd name="T1" fmla="*/ 2 h 4"/>
              <a:gd name="T2" fmla="*/ 5 w 6"/>
              <a:gd name="T3" fmla="*/ 3 h 4"/>
              <a:gd name="T4" fmla="*/ 4 w 6"/>
              <a:gd name="T5" fmla="*/ 0 h 4"/>
              <a:gd name="T6" fmla="*/ 2 w 6"/>
              <a:gd name="T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4">
                <a:moveTo>
                  <a:pt x="2" y="2"/>
                </a:moveTo>
                <a:cubicBezTo>
                  <a:pt x="4" y="3"/>
                  <a:pt x="5" y="4"/>
                  <a:pt x="5" y="3"/>
                </a:cubicBezTo>
                <a:cubicBezTo>
                  <a:pt x="6" y="1"/>
                  <a:pt x="5" y="0"/>
                  <a:pt x="4" y="0"/>
                </a:cubicBezTo>
                <a:cubicBezTo>
                  <a:pt x="2" y="1"/>
                  <a:pt x="0" y="1"/>
                  <a:pt x="2" y="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6" name="Freeform 102"/>
          <p:cNvSpPr>
            <a:spLocks/>
          </p:cNvSpPr>
          <p:nvPr/>
        </p:nvSpPr>
        <p:spPr bwMode="auto">
          <a:xfrm>
            <a:off x="839912" y="3516313"/>
            <a:ext cx="85725" cy="47625"/>
          </a:xfrm>
          <a:custGeom>
            <a:avLst/>
            <a:gdLst>
              <a:gd name="T0" fmla="*/ 4 w 9"/>
              <a:gd name="T1" fmla="*/ 1 h 5"/>
              <a:gd name="T2" fmla="*/ 0 w 9"/>
              <a:gd name="T3" fmla="*/ 2 h 5"/>
              <a:gd name="T4" fmla="*/ 2 w 9"/>
              <a:gd name="T5" fmla="*/ 4 h 5"/>
              <a:gd name="T6" fmla="*/ 5 w 9"/>
              <a:gd name="T7" fmla="*/ 4 h 5"/>
              <a:gd name="T8" fmla="*/ 7 w 9"/>
              <a:gd name="T9" fmla="*/ 2 h 5"/>
              <a:gd name="T10" fmla="*/ 4 w 9"/>
              <a:gd name="T11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" h="5">
                <a:moveTo>
                  <a:pt x="4" y="1"/>
                </a:moveTo>
                <a:cubicBezTo>
                  <a:pt x="3" y="1"/>
                  <a:pt x="0" y="1"/>
                  <a:pt x="0" y="2"/>
                </a:cubicBezTo>
                <a:cubicBezTo>
                  <a:pt x="0" y="3"/>
                  <a:pt x="0" y="4"/>
                  <a:pt x="2" y="4"/>
                </a:cubicBezTo>
                <a:cubicBezTo>
                  <a:pt x="3" y="5"/>
                  <a:pt x="5" y="5"/>
                  <a:pt x="5" y="4"/>
                </a:cubicBezTo>
                <a:cubicBezTo>
                  <a:pt x="6" y="3"/>
                  <a:pt x="9" y="2"/>
                  <a:pt x="7" y="2"/>
                </a:cubicBezTo>
                <a:cubicBezTo>
                  <a:pt x="5" y="1"/>
                  <a:pt x="4" y="0"/>
                  <a:pt x="4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7" name="Freeform 103"/>
          <p:cNvSpPr>
            <a:spLocks/>
          </p:cNvSpPr>
          <p:nvPr/>
        </p:nvSpPr>
        <p:spPr bwMode="auto">
          <a:xfrm>
            <a:off x="420812" y="3001963"/>
            <a:ext cx="66675" cy="66675"/>
          </a:xfrm>
          <a:custGeom>
            <a:avLst/>
            <a:gdLst>
              <a:gd name="T0" fmla="*/ 1 w 7"/>
              <a:gd name="T1" fmla="*/ 0 h 7"/>
              <a:gd name="T2" fmla="*/ 1 w 7"/>
              <a:gd name="T3" fmla="*/ 2 h 7"/>
              <a:gd name="T4" fmla="*/ 2 w 7"/>
              <a:gd name="T5" fmla="*/ 6 h 7"/>
              <a:gd name="T6" fmla="*/ 5 w 7"/>
              <a:gd name="T7" fmla="*/ 6 h 7"/>
              <a:gd name="T8" fmla="*/ 7 w 7"/>
              <a:gd name="T9" fmla="*/ 3 h 7"/>
              <a:gd name="T10" fmla="*/ 1 w 7"/>
              <a:gd name="T1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" h="7">
                <a:moveTo>
                  <a:pt x="1" y="0"/>
                </a:moveTo>
                <a:cubicBezTo>
                  <a:pt x="0" y="0"/>
                  <a:pt x="1" y="1"/>
                  <a:pt x="1" y="2"/>
                </a:cubicBezTo>
                <a:cubicBezTo>
                  <a:pt x="2" y="5"/>
                  <a:pt x="1" y="5"/>
                  <a:pt x="2" y="6"/>
                </a:cubicBezTo>
                <a:cubicBezTo>
                  <a:pt x="3" y="7"/>
                  <a:pt x="4" y="7"/>
                  <a:pt x="5" y="6"/>
                </a:cubicBezTo>
                <a:cubicBezTo>
                  <a:pt x="6" y="5"/>
                  <a:pt x="6" y="5"/>
                  <a:pt x="7" y="3"/>
                </a:cubicBezTo>
                <a:cubicBezTo>
                  <a:pt x="7" y="2"/>
                  <a:pt x="1" y="0"/>
                  <a:pt x="1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8" name="Freeform 104"/>
          <p:cNvSpPr>
            <a:spLocks/>
          </p:cNvSpPr>
          <p:nvPr/>
        </p:nvSpPr>
        <p:spPr bwMode="auto">
          <a:xfrm>
            <a:off x="335087" y="2601913"/>
            <a:ext cx="28575" cy="47625"/>
          </a:xfrm>
          <a:custGeom>
            <a:avLst/>
            <a:gdLst>
              <a:gd name="T0" fmla="*/ 1 w 3"/>
              <a:gd name="T1" fmla="*/ 4 h 5"/>
              <a:gd name="T2" fmla="*/ 3 w 3"/>
              <a:gd name="T3" fmla="*/ 2 h 5"/>
              <a:gd name="T4" fmla="*/ 1 w 3"/>
              <a:gd name="T5" fmla="*/ 0 h 5"/>
              <a:gd name="T6" fmla="*/ 0 w 3"/>
              <a:gd name="T7" fmla="*/ 2 h 5"/>
              <a:gd name="T8" fmla="*/ 1 w 3"/>
              <a:gd name="T9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5">
                <a:moveTo>
                  <a:pt x="1" y="4"/>
                </a:moveTo>
                <a:cubicBezTo>
                  <a:pt x="3" y="4"/>
                  <a:pt x="3" y="2"/>
                  <a:pt x="3" y="2"/>
                </a:cubicBezTo>
                <a:cubicBezTo>
                  <a:pt x="3" y="1"/>
                  <a:pt x="2" y="1"/>
                  <a:pt x="1" y="0"/>
                </a:cubicBezTo>
                <a:cubicBezTo>
                  <a:pt x="0" y="0"/>
                  <a:pt x="0" y="0"/>
                  <a:pt x="0" y="2"/>
                </a:cubicBezTo>
                <a:cubicBezTo>
                  <a:pt x="1" y="4"/>
                  <a:pt x="0" y="5"/>
                  <a:pt x="1" y="4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29" name="Freeform 105"/>
          <p:cNvSpPr>
            <a:spLocks/>
          </p:cNvSpPr>
          <p:nvPr/>
        </p:nvSpPr>
        <p:spPr bwMode="auto">
          <a:xfrm>
            <a:off x="573212" y="1906588"/>
            <a:ext cx="76200" cy="57150"/>
          </a:xfrm>
          <a:custGeom>
            <a:avLst/>
            <a:gdLst>
              <a:gd name="T0" fmla="*/ 3 w 8"/>
              <a:gd name="T1" fmla="*/ 5 h 6"/>
              <a:gd name="T2" fmla="*/ 6 w 8"/>
              <a:gd name="T3" fmla="*/ 4 h 6"/>
              <a:gd name="T4" fmla="*/ 7 w 8"/>
              <a:gd name="T5" fmla="*/ 1 h 6"/>
              <a:gd name="T6" fmla="*/ 4 w 8"/>
              <a:gd name="T7" fmla="*/ 0 h 6"/>
              <a:gd name="T8" fmla="*/ 2 w 8"/>
              <a:gd name="T9" fmla="*/ 2 h 6"/>
              <a:gd name="T10" fmla="*/ 3 w 8"/>
              <a:gd name="T11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3" y="5"/>
                </a:moveTo>
                <a:cubicBezTo>
                  <a:pt x="3" y="6"/>
                  <a:pt x="5" y="6"/>
                  <a:pt x="6" y="4"/>
                </a:cubicBezTo>
                <a:cubicBezTo>
                  <a:pt x="6" y="2"/>
                  <a:pt x="8" y="3"/>
                  <a:pt x="7" y="1"/>
                </a:cubicBezTo>
                <a:cubicBezTo>
                  <a:pt x="6" y="0"/>
                  <a:pt x="5" y="0"/>
                  <a:pt x="4" y="0"/>
                </a:cubicBezTo>
                <a:cubicBezTo>
                  <a:pt x="2" y="0"/>
                  <a:pt x="0" y="1"/>
                  <a:pt x="2" y="2"/>
                </a:cubicBezTo>
                <a:cubicBezTo>
                  <a:pt x="3" y="4"/>
                  <a:pt x="2" y="4"/>
                  <a:pt x="3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0" name="Freeform 106"/>
          <p:cNvSpPr>
            <a:spLocks/>
          </p:cNvSpPr>
          <p:nvPr/>
        </p:nvSpPr>
        <p:spPr bwMode="auto">
          <a:xfrm>
            <a:off x="630362" y="1935163"/>
            <a:ext cx="66675" cy="38100"/>
          </a:xfrm>
          <a:custGeom>
            <a:avLst/>
            <a:gdLst>
              <a:gd name="T0" fmla="*/ 2 w 7"/>
              <a:gd name="T1" fmla="*/ 3 h 4"/>
              <a:gd name="T2" fmla="*/ 5 w 7"/>
              <a:gd name="T3" fmla="*/ 3 h 4"/>
              <a:gd name="T4" fmla="*/ 7 w 7"/>
              <a:gd name="T5" fmla="*/ 1 h 4"/>
              <a:gd name="T6" fmla="*/ 3 w 7"/>
              <a:gd name="T7" fmla="*/ 1 h 4"/>
              <a:gd name="T8" fmla="*/ 2 w 7"/>
              <a:gd name="T9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4">
                <a:moveTo>
                  <a:pt x="2" y="3"/>
                </a:moveTo>
                <a:cubicBezTo>
                  <a:pt x="3" y="4"/>
                  <a:pt x="4" y="3"/>
                  <a:pt x="5" y="3"/>
                </a:cubicBezTo>
                <a:cubicBezTo>
                  <a:pt x="7" y="3"/>
                  <a:pt x="7" y="2"/>
                  <a:pt x="7" y="1"/>
                </a:cubicBezTo>
                <a:cubicBezTo>
                  <a:pt x="7" y="0"/>
                  <a:pt x="5" y="1"/>
                  <a:pt x="3" y="1"/>
                </a:cubicBezTo>
                <a:cubicBezTo>
                  <a:pt x="0" y="2"/>
                  <a:pt x="1" y="3"/>
                  <a:pt x="2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1" name="Freeform 107"/>
          <p:cNvSpPr>
            <a:spLocks/>
          </p:cNvSpPr>
          <p:nvPr/>
        </p:nvSpPr>
        <p:spPr bwMode="auto">
          <a:xfrm>
            <a:off x="20762" y="2259013"/>
            <a:ext cx="66675" cy="47625"/>
          </a:xfrm>
          <a:custGeom>
            <a:avLst/>
            <a:gdLst>
              <a:gd name="T0" fmla="*/ 3 w 7"/>
              <a:gd name="T1" fmla="*/ 0 h 5"/>
              <a:gd name="T2" fmla="*/ 1 w 7"/>
              <a:gd name="T3" fmla="*/ 4 h 5"/>
              <a:gd name="T4" fmla="*/ 5 w 7"/>
              <a:gd name="T5" fmla="*/ 2 h 5"/>
              <a:gd name="T6" fmla="*/ 3 w 7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5">
                <a:moveTo>
                  <a:pt x="3" y="0"/>
                </a:moveTo>
                <a:cubicBezTo>
                  <a:pt x="1" y="0"/>
                  <a:pt x="0" y="3"/>
                  <a:pt x="1" y="4"/>
                </a:cubicBezTo>
                <a:cubicBezTo>
                  <a:pt x="1" y="5"/>
                  <a:pt x="3" y="3"/>
                  <a:pt x="5" y="2"/>
                </a:cubicBezTo>
                <a:cubicBezTo>
                  <a:pt x="7" y="2"/>
                  <a:pt x="4" y="1"/>
                  <a:pt x="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2" name="Freeform 108"/>
          <p:cNvSpPr>
            <a:spLocks/>
          </p:cNvSpPr>
          <p:nvPr/>
        </p:nvSpPr>
        <p:spPr bwMode="auto">
          <a:xfrm>
            <a:off x="11237" y="2211388"/>
            <a:ext cx="57150" cy="28575"/>
          </a:xfrm>
          <a:custGeom>
            <a:avLst/>
            <a:gdLst>
              <a:gd name="T0" fmla="*/ 5 w 6"/>
              <a:gd name="T1" fmla="*/ 3 h 3"/>
              <a:gd name="T2" fmla="*/ 6 w 6"/>
              <a:gd name="T3" fmla="*/ 1 h 3"/>
              <a:gd name="T4" fmla="*/ 3 w 6"/>
              <a:gd name="T5" fmla="*/ 0 h 3"/>
              <a:gd name="T6" fmla="*/ 1 w 6"/>
              <a:gd name="T7" fmla="*/ 2 h 3"/>
              <a:gd name="T8" fmla="*/ 5 w 6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">
                <a:moveTo>
                  <a:pt x="5" y="3"/>
                </a:moveTo>
                <a:cubicBezTo>
                  <a:pt x="6" y="3"/>
                  <a:pt x="6" y="2"/>
                  <a:pt x="6" y="1"/>
                </a:cubicBezTo>
                <a:cubicBezTo>
                  <a:pt x="6" y="0"/>
                  <a:pt x="4" y="0"/>
                  <a:pt x="3" y="0"/>
                </a:cubicBezTo>
                <a:cubicBezTo>
                  <a:pt x="2" y="0"/>
                  <a:pt x="0" y="1"/>
                  <a:pt x="1" y="2"/>
                </a:cubicBezTo>
                <a:cubicBezTo>
                  <a:pt x="1" y="3"/>
                  <a:pt x="4" y="3"/>
                  <a:pt x="5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3" name="Freeform 109"/>
          <p:cNvSpPr>
            <a:spLocks/>
          </p:cNvSpPr>
          <p:nvPr/>
        </p:nvSpPr>
        <p:spPr bwMode="auto">
          <a:xfrm>
            <a:off x="906587" y="1544638"/>
            <a:ext cx="47625" cy="85725"/>
          </a:xfrm>
          <a:custGeom>
            <a:avLst/>
            <a:gdLst>
              <a:gd name="T0" fmla="*/ 5 w 5"/>
              <a:gd name="T1" fmla="*/ 6 h 9"/>
              <a:gd name="T2" fmla="*/ 3 w 5"/>
              <a:gd name="T3" fmla="*/ 1 h 9"/>
              <a:gd name="T4" fmla="*/ 2 w 5"/>
              <a:gd name="T5" fmla="*/ 3 h 9"/>
              <a:gd name="T6" fmla="*/ 5 w 5"/>
              <a:gd name="T7" fmla="*/ 6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9">
                <a:moveTo>
                  <a:pt x="5" y="6"/>
                </a:moveTo>
                <a:cubicBezTo>
                  <a:pt x="5" y="3"/>
                  <a:pt x="5" y="0"/>
                  <a:pt x="3" y="1"/>
                </a:cubicBezTo>
                <a:cubicBezTo>
                  <a:pt x="2" y="1"/>
                  <a:pt x="0" y="1"/>
                  <a:pt x="2" y="3"/>
                </a:cubicBezTo>
                <a:cubicBezTo>
                  <a:pt x="3" y="6"/>
                  <a:pt x="4" y="9"/>
                  <a:pt x="5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4" name="Freeform 110"/>
          <p:cNvSpPr>
            <a:spLocks/>
          </p:cNvSpPr>
          <p:nvPr/>
        </p:nvSpPr>
        <p:spPr bwMode="auto">
          <a:xfrm>
            <a:off x="801812" y="1582738"/>
            <a:ext cx="114300" cy="200025"/>
          </a:xfrm>
          <a:custGeom>
            <a:avLst/>
            <a:gdLst>
              <a:gd name="T0" fmla="*/ 3 w 12"/>
              <a:gd name="T1" fmla="*/ 11 h 21"/>
              <a:gd name="T2" fmla="*/ 7 w 12"/>
              <a:gd name="T3" fmla="*/ 12 h 21"/>
              <a:gd name="T4" fmla="*/ 7 w 12"/>
              <a:gd name="T5" fmla="*/ 20 h 21"/>
              <a:gd name="T6" fmla="*/ 9 w 12"/>
              <a:gd name="T7" fmla="*/ 17 h 21"/>
              <a:gd name="T8" fmla="*/ 11 w 12"/>
              <a:gd name="T9" fmla="*/ 10 h 21"/>
              <a:gd name="T10" fmla="*/ 10 w 12"/>
              <a:gd name="T11" fmla="*/ 6 h 21"/>
              <a:gd name="T12" fmla="*/ 8 w 12"/>
              <a:gd name="T13" fmla="*/ 3 h 21"/>
              <a:gd name="T14" fmla="*/ 7 w 12"/>
              <a:gd name="T15" fmla="*/ 1 h 21"/>
              <a:gd name="T16" fmla="*/ 6 w 12"/>
              <a:gd name="T17" fmla="*/ 4 h 21"/>
              <a:gd name="T18" fmla="*/ 6 w 12"/>
              <a:gd name="T19" fmla="*/ 8 h 21"/>
              <a:gd name="T20" fmla="*/ 2 w 12"/>
              <a:gd name="T21" fmla="*/ 9 h 21"/>
              <a:gd name="T22" fmla="*/ 3 w 12"/>
              <a:gd name="T23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" h="21">
                <a:moveTo>
                  <a:pt x="3" y="11"/>
                </a:moveTo>
                <a:cubicBezTo>
                  <a:pt x="5" y="12"/>
                  <a:pt x="6" y="10"/>
                  <a:pt x="7" y="12"/>
                </a:cubicBezTo>
                <a:cubicBezTo>
                  <a:pt x="8" y="14"/>
                  <a:pt x="6" y="18"/>
                  <a:pt x="7" y="20"/>
                </a:cubicBezTo>
                <a:cubicBezTo>
                  <a:pt x="8" y="21"/>
                  <a:pt x="9" y="19"/>
                  <a:pt x="9" y="17"/>
                </a:cubicBezTo>
                <a:cubicBezTo>
                  <a:pt x="9" y="15"/>
                  <a:pt x="10" y="12"/>
                  <a:pt x="11" y="10"/>
                </a:cubicBezTo>
                <a:cubicBezTo>
                  <a:pt x="12" y="9"/>
                  <a:pt x="11" y="7"/>
                  <a:pt x="10" y="6"/>
                </a:cubicBezTo>
                <a:cubicBezTo>
                  <a:pt x="9" y="6"/>
                  <a:pt x="9" y="4"/>
                  <a:pt x="8" y="3"/>
                </a:cubicBezTo>
                <a:cubicBezTo>
                  <a:pt x="8" y="1"/>
                  <a:pt x="8" y="0"/>
                  <a:pt x="7" y="1"/>
                </a:cubicBezTo>
                <a:cubicBezTo>
                  <a:pt x="5" y="1"/>
                  <a:pt x="6" y="2"/>
                  <a:pt x="6" y="4"/>
                </a:cubicBezTo>
                <a:cubicBezTo>
                  <a:pt x="5" y="6"/>
                  <a:pt x="6" y="6"/>
                  <a:pt x="6" y="8"/>
                </a:cubicBezTo>
                <a:cubicBezTo>
                  <a:pt x="6" y="9"/>
                  <a:pt x="4" y="8"/>
                  <a:pt x="2" y="9"/>
                </a:cubicBezTo>
                <a:cubicBezTo>
                  <a:pt x="0" y="10"/>
                  <a:pt x="2" y="10"/>
                  <a:pt x="3" y="1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5" name="Freeform 111"/>
          <p:cNvSpPr>
            <a:spLocks/>
          </p:cNvSpPr>
          <p:nvPr/>
        </p:nvSpPr>
        <p:spPr bwMode="auto">
          <a:xfrm>
            <a:off x="173162" y="2430463"/>
            <a:ext cx="104775" cy="66675"/>
          </a:xfrm>
          <a:custGeom>
            <a:avLst/>
            <a:gdLst>
              <a:gd name="T0" fmla="*/ 1 w 11"/>
              <a:gd name="T1" fmla="*/ 5 h 7"/>
              <a:gd name="T2" fmla="*/ 3 w 11"/>
              <a:gd name="T3" fmla="*/ 6 h 7"/>
              <a:gd name="T4" fmla="*/ 8 w 11"/>
              <a:gd name="T5" fmla="*/ 5 h 7"/>
              <a:gd name="T6" fmla="*/ 10 w 11"/>
              <a:gd name="T7" fmla="*/ 3 h 7"/>
              <a:gd name="T8" fmla="*/ 7 w 11"/>
              <a:gd name="T9" fmla="*/ 2 h 7"/>
              <a:gd name="T10" fmla="*/ 4 w 11"/>
              <a:gd name="T11" fmla="*/ 3 h 7"/>
              <a:gd name="T12" fmla="*/ 1 w 11"/>
              <a:gd name="T13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" h="7">
                <a:moveTo>
                  <a:pt x="1" y="5"/>
                </a:moveTo>
                <a:cubicBezTo>
                  <a:pt x="1" y="6"/>
                  <a:pt x="1" y="7"/>
                  <a:pt x="3" y="6"/>
                </a:cubicBezTo>
                <a:cubicBezTo>
                  <a:pt x="5" y="6"/>
                  <a:pt x="7" y="5"/>
                  <a:pt x="8" y="5"/>
                </a:cubicBezTo>
                <a:cubicBezTo>
                  <a:pt x="9" y="4"/>
                  <a:pt x="10" y="4"/>
                  <a:pt x="10" y="3"/>
                </a:cubicBezTo>
                <a:cubicBezTo>
                  <a:pt x="11" y="2"/>
                  <a:pt x="8" y="0"/>
                  <a:pt x="7" y="2"/>
                </a:cubicBezTo>
                <a:cubicBezTo>
                  <a:pt x="7" y="3"/>
                  <a:pt x="5" y="3"/>
                  <a:pt x="4" y="3"/>
                </a:cubicBezTo>
                <a:cubicBezTo>
                  <a:pt x="2" y="4"/>
                  <a:pt x="0" y="3"/>
                  <a:pt x="1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6" name="Freeform 112"/>
          <p:cNvSpPr>
            <a:spLocks/>
          </p:cNvSpPr>
          <p:nvPr/>
        </p:nvSpPr>
        <p:spPr bwMode="auto">
          <a:xfrm>
            <a:off x="116012" y="2192338"/>
            <a:ext cx="104775" cy="114300"/>
          </a:xfrm>
          <a:custGeom>
            <a:avLst/>
            <a:gdLst>
              <a:gd name="T0" fmla="*/ 8 w 11"/>
              <a:gd name="T1" fmla="*/ 10 h 12"/>
              <a:gd name="T2" fmla="*/ 11 w 11"/>
              <a:gd name="T3" fmla="*/ 10 h 12"/>
              <a:gd name="T4" fmla="*/ 9 w 11"/>
              <a:gd name="T5" fmla="*/ 6 h 12"/>
              <a:gd name="T6" fmla="*/ 10 w 11"/>
              <a:gd name="T7" fmla="*/ 3 h 12"/>
              <a:gd name="T8" fmla="*/ 7 w 11"/>
              <a:gd name="T9" fmla="*/ 2 h 12"/>
              <a:gd name="T10" fmla="*/ 6 w 11"/>
              <a:gd name="T11" fmla="*/ 4 h 12"/>
              <a:gd name="T12" fmla="*/ 3 w 11"/>
              <a:gd name="T13" fmla="*/ 3 h 12"/>
              <a:gd name="T14" fmla="*/ 3 w 11"/>
              <a:gd name="T15" fmla="*/ 5 h 12"/>
              <a:gd name="T16" fmla="*/ 2 w 11"/>
              <a:gd name="T17" fmla="*/ 6 h 12"/>
              <a:gd name="T18" fmla="*/ 6 w 11"/>
              <a:gd name="T19" fmla="*/ 8 h 12"/>
              <a:gd name="T20" fmla="*/ 8 w 11"/>
              <a:gd name="T21" fmla="*/ 1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" h="12">
                <a:moveTo>
                  <a:pt x="8" y="10"/>
                </a:moveTo>
                <a:cubicBezTo>
                  <a:pt x="10" y="10"/>
                  <a:pt x="11" y="12"/>
                  <a:pt x="11" y="10"/>
                </a:cubicBezTo>
                <a:cubicBezTo>
                  <a:pt x="10" y="8"/>
                  <a:pt x="9" y="7"/>
                  <a:pt x="9" y="6"/>
                </a:cubicBezTo>
                <a:cubicBezTo>
                  <a:pt x="10" y="4"/>
                  <a:pt x="10" y="4"/>
                  <a:pt x="10" y="3"/>
                </a:cubicBezTo>
                <a:cubicBezTo>
                  <a:pt x="9" y="1"/>
                  <a:pt x="8" y="0"/>
                  <a:pt x="7" y="2"/>
                </a:cubicBezTo>
                <a:cubicBezTo>
                  <a:pt x="7" y="3"/>
                  <a:pt x="7" y="4"/>
                  <a:pt x="6" y="4"/>
                </a:cubicBezTo>
                <a:cubicBezTo>
                  <a:pt x="5" y="4"/>
                  <a:pt x="4" y="2"/>
                  <a:pt x="3" y="3"/>
                </a:cubicBezTo>
                <a:cubicBezTo>
                  <a:pt x="3" y="4"/>
                  <a:pt x="3" y="5"/>
                  <a:pt x="3" y="5"/>
                </a:cubicBezTo>
                <a:cubicBezTo>
                  <a:pt x="2" y="6"/>
                  <a:pt x="0" y="5"/>
                  <a:pt x="2" y="6"/>
                </a:cubicBezTo>
                <a:cubicBezTo>
                  <a:pt x="3" y="8"/>
                  <a:pt x="4" y="7"/>
                  <a:pt x="6" y="8"/>
                </a:cubicBezTo>
                <a:cubicBezTo>
                  <a:pt x="7" y="9"/>
                  <a:pt x="6" y="10"/>
                  <a:pt x="8" y="1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7" name="Freeform 113"/>
          <p:cNvSpPr>
            <a:spLocks/>
          </p:cNvSpPr>
          <p:nvPr/>
        </p:nvSpPr>
        <p:spPr bwMode="auto">
          <a:xfrm>
            <a:off x="49337" y="2163763"/>
            <a:ext cx="66675" cy="38100"/>
          </a:xfrm>
          <a:custGeom>
            <a:avLst/>
            <a:gdLst>
              <a:gd name="T0" fmla="*/ 3 w 7"/>
              <a:gd name="T1" fmla="*/ 1 h 4"/>
              <a:gd name="T2" fmla="*/ 1 w 7"/>
              <a:gd name="T3" fmla="*/ 2 h 4"/>
              <a:gd name="T4" fmla="*/ 5 w 7"/>
              <a:gd name="T5" fmla="*/ 4 h 4"/>
              <a:gd name="T6" fmla="*/ 7 w 7"/>
              <a:gd name="T7" fmla="*/ 2 h 4"/>
              <a:gd name="T8" fmla="*/ 3 w 7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4">
                <a:moveTo>
                  <a:pt x="3" y="1"/>
                </a:moveTo>
                <a:cubicBezTo>
                  <a:pt x="2" y="1"/>
                  <a:pt x="0" y="1"/>
                  <a:pt x="1" y="2"/>
                </a:cubicBezTo>
                <a:cubicBezTo>
                  <a:pt x="3" y="3"/>
                  <a:pt x="4" y="4"/>
                  <a:pt x="5" y="4"/>
                </a:cubicBezTo>
                <a:cubicBezTo>
                  <a:pt x="6" y="3"/>
                  <a:pt x="7" y="3"/>
                  <a:pt x="7" y="2"/>
                </a:cubicBezTo>
                <a:cubicBezTo>
                  <a:pt x="7" y="2"/>
                  <a:pt x="5" y="0"/>
                  <a:pt x="3" y="1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8" name="Freeform 114"/>
          <p:cNvSpPr>
            <a:spLocks/>
          </p:cNvSpPr>
          <p:nvPr/>
        </p:nvSpPr>
        <p:spPr bwMode="auto">
          <a:xfrm>
            <a:off x="192212" y="2401888"/>
            <a:ext cx="19050" cy="38100"/>
          </a:xfrm>
          <a:custGeom>
            <a:avLst/>
            <a:gdLst>
              <a:gd name="T0" fmla="*/ 2 w 2"/>
              <a:gd name="T1" fmla="*/ 1 h 4"/>
              <a:gd name="T2" fmla="*/ 0 w 2"/>
              <a:gd name="T3" fmla="*/ 2 h 4"/>
              <a:gd name="T4" fmla="*/ 1 w 2"/>
              <a:gd name="T5" fmla="*/ 3 h 4"/>
              <a:gd name="T6" fmla="*/ 2 w 2"/>
              <a:gd name="T7" fmla="*/ 2 h 4"/>
              <a:gd name="T8" fmla="*/ 2 w 2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2" y="1"/>
                </a:moveTo>
                <a:cubicBezTo>
                  <a:pt x="1" y="0"/>
                  <a:pt x="0" y="0"/>
                  <a:pt x="0" y="2"/>
                </a:cubicBezTo>
                <a:cubicBezTo>
                  <a:pt x="0" y="3"/>
                  <a:pt x="1" y="3"/>
                  <a:pt x="1" y="3"/>
                </a:cubicBezTo>
                <a:cubicBezTo>
                  <a:pt x="2" y="3"/>
                  <a:pt x="2" y="4"/>
                  <a:pt x="2" y="2"/>
                </a:cubicBezTo>
                <a:cubicBezTo>
                  <a:pt x="2" y="1"/>
                  <a:pt x="2" y="1"/>
                  <a:pt x="2" y="1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39" name="Freeform 115"/>
          <p:cNvSpPr>
            <a:spLocks/>
          </p:cNvSpPr>
          <p:nvPr/>
        </p:nvSpPr>
        <p:spPr bwMode="auto">
          <a:xfrm>
            <a:off x="154112" y="2135188"/>
            <a:ext cx="38100" cy="38100"/>
          </a:xfrm>
          <a:custGeom>
            <a:avLst/>
            <a:gdLst>
              <a:gd name="T0" fmla="*/ 1 w 4"/>
              <a:gd name="T1" fmla="*/ 3 h 4"/>
              <a:gd name="T2" fmla="*/ 4 w 4"/>
              <a:gd name="T3" fmla="*/ 2 h 4"/>
              <a:gd name="T4" fmla="*/ 0 w 4"/>
              <a:gd name="T5" fmla="*/ 1 h 4"/>
              <a:gd name="T6" fmla="*/ 1 w 4"/>
              <a:gd name="T7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4">
                <a:moveTo>
                  <a:pt x="1" y="3"/>
                </a:moveTo>
                <a:cubicBezTo>
                  <a:pt x="3" y="3"/>
                  <a:pt x="4" y="2"/>
                  <a:pt x="4" y="2"/>
                </a:cubicBezTo>
                <a:cubicBezTo>
                  <a:pt x="3" y="1"/>
                  <a:pt x="1" y="0"/>
                  <a:pt x="0" y="1"/>
                </a:cubicBezTo>
                <a:cubicBezTo>
                  <a:pt x="0" y="3"/>
                  <a:pt x="0" y="4"/>
                  <a:pt x="1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0" name="Freeform 116"/>
          <p:cNvSpPr>
            <a:spLocks/>
          </p:cNvSpPr>
          <p:nvPr/>
        </p:nvSpPr>
        <p:spPr bwMode="auto">
          <a:xfrm>
            <a:off x="68387" y="2030413"/>
            <a:ext cx="152400" cy="123825"/>
          </a:xfrm>
          <a:custGeom>
            <a:avLst/>
            <a:gdLst>
              <a:gd name="T0" fmla="*/ 7 w 16"/>
              <a:gd name="T1" fmla="*/ 9 h 13"/>
              <a:gd name="T2" fmla="*/ 11 w 16"/>
              <a:gd name="T3" fmla="*/ 9 h 13"/>
              <a:gd name="T4" fmla="*/ 12 w 16"/>
              <a:gd name="T5" fmla="*/ 7 h 13"/>
              <a:gd name="T6" fmla="*/ 15 w 16"/>
              <a:gd name="T7" fmla="*/ 6 h 13"/>
              <a:gd name="T8" fmla="*/ 15 w 16"/>
              <a:gd name="T9" fmla="*/ 2 h 13"/>
              <a:gd name="T10" fmla="*/ 11 w 16"/>
              <a:gd name="T11" fmla="*/ 3 h 13"/>
              <a:gd name="T12" fmla="*/ 8 w 16"/>
              <a:gd name="T13" fmla="*/ 4 h 13"/>
              <a:gd name="T14" fmla="*/ 4 w 16"/>
              <a:gd name="T15" fmla="*/ 7 h 13"/>
              <a:gd name="T16" fmla="*/ 1 w 16"/>
              <a:gd name="T17" fmla="*/ 8 h 13"/>
              <a:gd name="T18" fmla="*/ 1 w 16"/>
              <a:gd name="T19" fmla="*/ 11 h 13"/>
              <a:gd name="T20" fmla="*/ 6 w 16"/>
              <a:gd name="T21" fmla="*/ 12 h 13"/>
              <a:gd name="T22" fmla="*/ 7 w 16"/>
              <a:gd name="T23" fmla="*/ 9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" h="13">
                <a:moveTo>
                  <a:pt x="7" y="9"/>
                </a:moveTo>
                <a:cubicBezTo>
                  <a:pt x="8" y="9"/>
                  <a:pt x="9" y="9"/>
                  <a:pt x="11" y="9"/>
                </a:cubicBezTo>
                <a:cubicBezTo>
                  <a:pt x="14" y="9"/>
                  <a:pt x="12" y="8"/>
                  <a:pt x="12" y="7"/>
                </a:cubicBezTo>
                <a:cubicBezTo>
                  <a:pt x="12" y="5"/>
                  <a:pt x="15" y="7"/>
                  <a:pt x="15" y="6"/>
                </a:cubicBezTo>
                <a:cubicBezTo>
                  <a:pt x="16" y="6"/>
                  <a:pt x="15" y="4"/>
                  <a:pt x="15" y="2"/>
                </a:cubicBezTo>
                <a:cubicBezTo>
                  <a:pt x="14" y="0"/>
                  <a:pt x="12" y="2"/>
                  <a:pt x="11" y="3"/>
                </a:cubicBezTo>
                <a:cubicBezTo>
                  <a:pt x="9" y="4"/>
                  <a:pt x="9" y="3"/>
                  <a:pt x="8" y="4"/>
                </a:cubicBezTo>
                <a:cubicBezTo>
                  <a:pt x="7" y="4"/>
                  <a:pt x="6" y="6"/>
                  <a:pt x="4" y="7"/>
                </a:cubicBezTo>
                <a:cubicBezTo>
                  <a:pt x="1" y="8"/>
                  <a:pt x="2" y="7"/>
                  <a:pt x="1" y="8"/>
                </a:cubicBezTo>
                <a:cubicBezTo>
                  <a:pt x="0" y="9"/>
                  <a:pt x="1" y="9"/>
                  <a:pt x="1" y="11"/>
                </a:cubicBezTo>
                <a:cubicBezTo>
                  <a:pt x="1" y="13"/>
                  <a:pt x="6" y="13"/>
                  <a:pt x="6" y="12"/>
                </a:cubicBezTo>
                <a:cubicBezTo>
                  <a:pt x="6" y="10"/>
                  <a:pt x="7" y="10"/>
                  <a:pt x="7" y="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1" name="Freeform 117"/>
          <p:cNvSpPr>
            <a:spLocks/>
          </p:cNvSpPr>
          <p:nvPr/>
        </p:nvSpPr>
        <p:spPr bwMode="auto">
          <a:xfrm>
            <a:off x="5459537" y="6051551"/>
            <a:ext cx="323850" cy="161925"/>
          </a:xfrm>
          <a:custGeom>
            <a:avLst/>
            <a:gdLst>
              <a:gd name="T0" fmla="*/ 33 w 34"/>
              <a:gd name="T1" fmla="*/ 0 h 17"/>
              <a:gd name="T2" fmla="*/ 26 w 34"/>
              <a:gd name="T3" fmla="*/ 3 h 17"/>
              <a:gd name="T4" fmla="*/ 20 w 34"/>
              <a:gd name="T5" fmla="*/ 5 h 17"/>
              <a:gd name="T6" fmla="*/ 13 w 34"/>
              <a:gd name="T7" fmla="*/ 5 h 17"/>
              <a:gd name="T8" fmla="*/ 10 w 34"/>
              <a:gd name="T9" fmla="*/ 5 h 17"/>
              <a:gd name="T10" fmla="*/ 10 w 34"/>
              <a:gd name="T11" fmla="*/ 6 h 17"/>
              <a:gd name="T12" fmla="*/ 7 w 34"/>
              <a:gd name="T13" fmla="*/ 8 h 17"/>
              <a:gd name="T14" fmla="*/ 4 w 34"/>
              <a:gd name="T15" fmla="*/ 10 h 17"/>
              <a:gd name="T16" fmla="*/ 0 w 34"/>
              <a:gd name="T17" fmla="*/ 9 h 17"/>
              <a:gd name="T18" fmla="*/ 1 w 34"/>
              <a:gd name="T19" fmla="*/ 14 h 17"/>
              <a:gd name="T20" fmla="*/ 5 w 34"/>
              <a:gd name="T21" fmla="*/ 16 h 17"/>
              <a:gd name="T22" fmla="*/ 11 w 34"/>
              <a:gd name="T23" fmla="*/ 16 h 17"/>
              <a:gd name="T24" fmla="*/ 19 w 34"/>
              <a:gd name="T25" fmla="*/ 14 h 17"/>
              <a:gd name="T26" fmla="*/ 21 w 34"/>
              <a:gd name="T27" fmla="*/ 11 h 17"/>
              <a:gd name="T28" fmla="*/ 27 w 34"/>
              <a:gd name="T29" fmla="*/ 11 h 17"/>
              <a:gd name="T30" fmla="*/ 25 w 34"/>
              <a:gd name="T31" fmla="*/ 7 h 17"/>
              <a:gd name="T32" fmla="*/ 30 w 34"/>
              <a:gd name="T33" fmla="*/ 3 h 17"/>
              <a:gd name="T34" fmla="*/ 33 w 34"/>
              <a:gd name="T35" fmla="*/ 0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4" h="17">
                <a:moveTo>
                  <a:pt x="33" y="0"/>
                </a:moveTo>
                <a:cubicBezTo>
                  <a:pt x="32" y="0"/>
                  <a:pt x="28" y="2"/>
                  <a:pt x="26" y="3"/>
                </a:cubicBezTo>
                <a:cubicBezTo>
                  <a:pt x="23" y="4"/>
                  <a:pt x="22" y="4"/>
                  <a:pt x="20" y="5"/>
                </a:cubicBezTo>
                <a:cubicBezTo>
                  <a:pt x="19" y="6"/>
                  <a:pt x="16" y="5"/>
                  <a:pt x="13" y="5"/>
                </a:cubicBezTo>
                <a:cubicBezTo>
                  <a:pt x="11" y="3"/>
                  <a:pt x="11" y="4"/>
                  <a:pt x="10" y="5"/>
                </a:cubicBezTo>
                <a:cubicBezTo>
                  <a:pt x="10" y="5"/>
                  <a:pt x="10" y="5"/>
                  <a:pt x="10" y="6"/>
                </a:cubicBezTo>
                <a:cubicBezTo>
                  <a:pt x="10" y="8"/>
                  <a:pt x="8" y="7"/>
                  <a:pt x="7" y="8"/>
                </a:cubicBezTo>
                <a:cubicBezTo>
                  <a:pt x="5" y="8"/>
                  <a:pt x="6" y="9"/>
                  <a:pt x="4" y="10"/>
                </a:cubicBezTo>
                <a:cubicBezTo>
                  <a:pt x="2" y="11"/>
                  <a:pt x="1" y="8"/>
                  <a:pt x="0" y="9"/>
                </a:cubicBezTo>
                <a:cubicBezTo>
                  <a:pt x="0" y="11"/>
                  <a:pt x="1" y="12"/>
                  <a:pt x="1" y="14"/>
                </a:cubicBezTo>
                <a:cubicBezTo>
                  <a:pt x="2" y="16"/>
                  <a:pt x="4" y="15"/>
                  <a:pt x="5" y="16"/>
                </a:cubicBezTo>
                <a:cubicBezTo>
                  <a:pt x="7" y="17"/>
                  <a:pt x="9" y="16"/>
                  <a:pt x="11" y="16"/>
                </a:cubicBezTo>
                <a:cubicBezTo>
                  <a:pt x="14" y="16"/>
                  <a:pt x="17" y="14"/>
                  <a:pt x="19" y="14"/>
                </a:cubicBezTo>
                <a:cubicBezTo>
                  <a:pt x="21" y="14"/>
                  <a:pt x="21" y="13"/>
                  <a:pt x="21" y="11"/>
                </a:cubicBezTo>
                <a:cubicBezTo>
                  <a:pt x="22" y="10"/>
                  <a:pt x="26" y="12"/>
                  <a:pt x="27" y="11"/>
                </a:cubicBezTo>
                <a:cubicBezTo>
                  <a:pt x="28" y="11"/>
                  <a:pt x="25" y="8"/>
                  <a:pt x="25" y="7"/>
                </a:cubicBezTo>
                <a:cubicBezTo>
                  <a:pt x="25" y="5"/>
                  <a:pt x="28" y="5"/>
                  <a:pt x="30" y="3"/>
                </a:cubicBezTo>
                <a:cubicBezTo>
                  <a:pt x="31" y="2"/>
                  <a:pt x="34" y="0"/>
                  <a:pt x="3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2" name="Freeform 118"/>
          <p:cNvSpPr>
            <a:spLocks/>
          </p:cNvSpPr>
          <p:nvPr/>
        </p:nvSpPr>
        <p:spPr bwMode="auto">
          <a:xfrm>
            <a:off x="3011612" y="5994401"/>
            <a:ext cx="47625" cy="76200"/>
          </a:xfrm>
          <a:custGeom>
            <a:avLst/>
            <a:gdLst>
              <a:gd name="T0" fmla="*/ 4 w 5"/>
              <a:gd name="T1" fmla="*/ 1 h 8"/>
              <a:gd name="T2" fmla="*/ 0 w 5"/>
              <a:gd name="T3" fmla="*/ 0 h 8"/>
              <a:gd name="T4" fmla="*/ 1 w 5"/>
              <a:gd name="T5" fmla="*/ 4 h 8"/>
              <a:gd name="T6" fmla="*/ 4 w 5"/>
              <a:gd name="T7" fmla="*/ 7 h 8"/>
              <a:gd name="T8" fmla="*/ 4 w 5"/>
              <a:gd name="T9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8">
                <a:moveTo>
                  <a:pt x="4" y="1"/>
                </a:moveTo>
                <a:cubicBezTo>
                  <a:pt x="3" y="1"/>
                  <a:pt x="2" y="0"/>
                  <a:pt x="0" y="0"/>
                </a:cubicBezTo>
                <a:cubicBezTo>
                  <a:pt x="0" y="0"/>
                  <a:pt x="0" y="3"/>
                  <a:pt x="1" y="4"/>
                </a:cubicBezTo>
                <a:cubicBezTo>
                  <a:pt x="2" y="5"/>
                  <a:pt x="3" y="8"/>
                  <a:pt x="4" y="7"/>
                </a:cubicBezTo>
                <a:cubicBezTo>
                  <a:pt x="4" y="5"/>
                  <a:pt x="5" y="2"/>
                  <a:pt x="4" y="1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3" name="Freeform 119"/>
          <p:cNvSpPr>
            <a:spLocks/>
          </p:cNvSpPr>
          <p:nvPr/>
        </p:nvSpPr>
        <p:spPr bwMode="auto">
          <a:xfrm>
            <a:off x="1712" y="6013451"/>
            <a:ext cx="904875" cy="571500"/>
          </a:xfrm>
          <a:custGeom>
            <a:avLst/>
            <a:gdLst>
              <a:gd name="T0" fmla="*/ 94 w 95"/>
              <a:gd name="T1" fmla="*/ 56 h 60"/>
              <a:gd name="T2" fmla="*/ 95 w 95"/>
              <a:gd name="T3" fmla="*/ 55 h 60"/>
              <a:gd name="T4" fmla="*/ 93 w 95"/>
              <a:gd name="T5" fmla="*/ 54 h 60"/>
              <a:gd name="T6" fmla="*/ 91 w 95"/>
              <a:gd name="T7" fmla="*/ 52 h 60"/>
              <a:gd name="T8" fmla="*/ 90 w 95"/>
              <a:gd name="T9" fmla="*/ 49 h 60"/>
              <a:gd name="T10" fmla="*/ 89 w 95"/>
              <a:gd name="T11" fmla="*/ 45 h 60"/>
              <a:gd name="T12" fmla="*/ 87 w 95"/>
              <a:gd name="T13" fmla="*/ 41 h 60"/>
              <a:gd name="T14" fmla="*/ 84 w 95"/>
              <a:gd name="T15" fmla="*/ 36 h 60"/>
              <a:gd name="T16" fmla="*/ 85 w 95"/>
              <a:gd name="T17" fmla="*/ 33 h 60"/>
              <a:gd name="T18" fmla="*/ 86 w 95"/>
              <a:gd name="T19" fmla="*/ 31 h 60"/>
              <a:gd name="T20" fmla="*/ 86 w 95"/>
              <a:gd name="T21" fmla="*/ 28 h 60"/>
              <a:gd name="T22" fmla="*/ 86 w 95"/>
              <a:gd name="T23" fmla="*/ 26 h 60"/>
              <a:gd name="T24" fmla="*/ 85 w 95"/>
              <a:gd name="T25" fmla="*/ 24 h 60"/>
              <a:gd name="T26" fmla="*/ 84 w 95"/>
              <a:gd name="T27" fmla="*/ 22 h 60"/>
              <a:gd name="T28" fmla="*/ 85 w 95"/>
              <a:gd name="T29" fmla="*/ 19 h 60"/>
              <a:gd name="T30" fmla="*/ 85 w 95"/>
              <a:gd name="T31" fmla="*/ 19 h 60"/>
              <a:gd name="T32" fmla="*/ 80 w 95"/>
              <a:gd name="T33" fmla="*/ 14 h 60"/>
              <a:gd name="T34" fmla="*/ 80 w 95"/>
              <a:gd name="T35" fmla="*/ 14 h 60"/>
              <a:gd name="T36" fmla="*/ 79 w 95"/>
              <a:gd name="T37" fmla="*/ 13 h 60"/>
              <a:gd name="T38" fmla="*/ 77 w 95"/>
              <a:gd name="T39" fmla="*/ 13 h 60"/>
              <a:gd name="T40" fmla="*/ 71 w 95"/>
              <a:gd name="T41" fmla="*/ 12 h 60"/>
              <a:gd name="T42" fmla="*/ 69 w 95"/>
              <a:gd name="T43" fmla="*/ 14 h 60"/>
              <a:gd name="T44" fmla="*/ 69 w 95"/>
              <a:gd name="T45" fmla="*/ 12 h 60"/>
              <a:gd name="T46" fmla="*/ 67 w 95"/>
              <a:gd name="T47" fmla="*/ 8 h 60"/>
              <a:gd name="T48" fmla="*/ 61 w 95"/>
              <a:gd name="T49" fmla="*/ 10 h 60"/>
              <a:gd name="T50" fmla="*/ 52 w 95"/>
              <a:gd name="T51" fmla="*/ 12 h 60"/>
              <a:gd name="T52" fmla="*/ 44 w 95"/>
              <a:gd name="T53" fmla="*/ 11 h 60"/>
              <a:gd name="T54" fmla="*/ 37 w 95"/>
              <a:gd name="T55" fmla="*/ 8 h 60"/>
              <a:gd name="T56" fmla="*/ 35 w 95"/>
              <a:gd name="T57" fmla="*/ 4 h 60"/>
              <a:gd name="T58" fmla="*/ 36 w 95"/>
              <a:gd name="T59" fmla="*/ 1 h 60"/>
              <a:gd name="T60" fmla="*/ 35 w 95"/>
              <a:gd name="T61" fmla="*/ 0 h 60"/>
              <a:gd name="T62" fmla="*/ 32 w 95"/>
              <a:gd name="T63" fmla="*/ 1 h 60"/>
              <a:gd name="T64" fmla="*/ 26 w 95"/>
              <a:gd name="T65" fmla="*/ 2 h 60"/>
              <a:gd name="T66" fmla="*/ 25 w 95"/>
              <a:gd name="T67" fmla="*/ 4 h 60"/>
              <a:gd name="T68" fmla="*/ 20 w 95"/>
              <a:gd name="T69" fmla="*/ 16 h 60"/>
              <a:gd name="T70" fmla="*/ 15 w 95"/>
              <a:gd name="T71" fmla="*/ 26 h 60"/>
              <a:gd name="T72" fmla="*/ 8 w 95"/>
              <a:gd name="T73" fmla="*/ 34 h 60"/>
              <a:gd name="T74" fmla="*/ 0 w 95"/>
              <a:gd name="T75" fmla="*/ 38 h 60"/>
              <a:gd name="T76" fmla="*/ 0 w 95"/>
              <a:gd name="T77" fmla="*/ 60 h 60"/>
              <a:gd name="T78" fmla="*/ 92 w 95"/>
              <a:gd name="T79" fmla="*/ 60 h 60"/>
              <a:gd name="T80" fmla="*/ 92 w 95"/>
              <a:gd name="T81" fmla="*/ 59 h 60"/>
              <a:gd name="T82" fmla="*/ 94 w 95"/>
              <a:gd name="T83" fmla="*/ 56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5" h="60">
                <a:moveTo>
                  <a:pt x="94" y="56"/>
                </a:moveTo>
                <a:cubicBezTo>
                  <a:pt x="94" y="56"/>
                  <a:pt x="95" y="55"/>
                  <a:pt x="95" y="55"/>
                </a:cubicBezTo>
                <a:cubicBezTo>
                  <a:pt x="95" y="55"/>
                  <a:pt x="94" y="54"/>
                  <a:pt x="93" y="54"/>
                </a:cubicBezTo>
                <a:cubicBezTo>
                  <a:pt x="92" y="53"/>
                  <a:pt x="91" y="53"/>
                  <a:pt x="91" y="52"/>
                </a:cubicBezTo>
                <a:cubicBezTo>
                  <a:pt x="90" y="52"/>
                  <a:pt x="90" y="51"/>
                  <a:pt x="90" y="49"/>
                </a:cubicBezTo>
                <a:cubicBezTo>
                  <a:pt x="89" y="48"/>
                  <a:pt x="89" y="46"/>
                  <a:pt x="89" y="45"/>
                </a:cubicBezTo>
                <a:cubicBezTo>
                  <a:pt x="88" y="44"/>
                  <a:pt x="87" y="43"/>
                  <a:pt x="87" y="41"/>
                </a:cubicBezTo>
                <a:cubicBezTo>
                  <a:pt x="86" y="39"/>
                  <a:pt x="85" y="37"/>
                  <a:pt x="84" y="36"/>
                </a:cubicBezTo>
                <a:cubicBezTo>
                  <a:pt x="84" y="35"/>
                  <a:pt x="85" y="34"/>
                  <a:pt x="85" y="33"/>
                </a:cubicBezTo>
                <a:cubicBezTo>
                  <a:pt x="85" y="32"/>
                  <a:pt x="86" y="31"/>
                  <a:pt x="86" y="31"/>
                </a:cubicBezTo>
                <a:cubicBezTo>
                  <a:pt x="86" y="30"/>
                  <a:pt x="86" y="29"/>
                  <a:pt x="86" y="28"/>
                </a:cubicBezTo>
                <a:cubicBezTo>
                  <a:pt x="86" y="27"/>
                  <a:pt x="86" y="26"/>
                  <a:pt x="86" y="26"/>
                </a:cubicBezTo>
                <a:cubicBezTo>
                  <a:pt x="86" y="25"/>
                  <a:pt x="85" y="25"/>
                  <a:pt x="85" y="24"/>
                </a:cubicBezTo>
                <a:cubicBezTo>
                  <a:pt x="84" y="23"/>
                  <a:pt x="84" y="23"/>
                  <a:pt x="84" y="22"/>
                </a:cubicBezTo>
                <a:cubicBezTo>
                  <a:pt x="83" y="21"/>
                  <a:pt x="84" y="20"/>
                  <a:pt x="85" y="19"/>
                </a:cubicBezTo>
                <a:cubicBezTo>
                  <a:pt x="85" y="19"/>
                  <a:pt x="85" y="19"/>
                  <a:pt x="85" y="19"/>
                </a:cubicBezTo>
                <a:cubicBezTo>
                  <a:pt x="85" y="18"/>
                  <a:pt x="83" y="16"/>
                  <a:pt x="80" y="14"/>
                </a:cubicBezTo>
                <a:cubicBezTo>
                  <a:pt x="80" y="14"/>
                  <a:pt x="80" y="14"/>
                  <a:pt x="80" y="14"/>
                </a:cubicBezTo>
                <a:cubicBezTo>
                  <a:pt x="80" y="14"/>
                  <a:pt x="79" y="13"/>
                  <a:pt x="79" y="13"/>
                </a:cubicBezTo>
                <a:cubicBezTo>
                  <a:pt x="78" y="13"/>
                  <a:pt x="77" y="13"/>
                  <a:pt x="77" y="13"/>
                </a:cubicBezTo>
                <a:cubicBezTo>
                  <a:pt x="74" y="13"/>
                  <a:pt x="72" y="11"/>
                  <a:pt x="71" y="12"/>
                </a:cubicBezTo>
                <a:cubicBezTo>
                  <a:pt x="70" y="13"/>
                  <a:pt x="71" y="14"/>
                  <a:pt x="69" y="14"/>
                </a:cubicBezTo>
                <a:cubicBezTo>
                  <a:pt x="68" y="14"/>
                  <a:pt x="69" y="13"/>
                  <a:pt x="69" y="12"/>
                </a:cubicBezTo>
                <a:cubicBezTo>
                  <a:pt x="68" y="10"/>
                  <a:pt x="68" y="8"/>
                  <a:pt x="67" y="8"/>
                </a:cubicBezTo>
                <a:cubicBezTo>
                  <a:pt x="66" y="8"/>
                  <a:pt x="64" y="9"/>
                  <a:pt x="61" y="10"/>
                </a:cubicBezTo>
                <a:cubicBezTo>
                  <a:pt x="59" y="11"/>
                  <a:pt x="54" y="12"/>
                  <a:pt x="52" y="12"/>
                </a:cubicBezTo>
                <a:cubicBezTo>
                  <a:pt x="50" y="12"/>
                  <a:pt x="45" y="12"/>
                  <a:pt x="44" y="11"/>
                </a:cubicBezTo>
                <a:cubicBezTo>
                  <a:pt x="43" y="10"/>
                  <a:pt x="39" y="9"/>
                  <a:pt x="37" y="8"/>
                </a:cubicBezTo>
                <a:cubicBezTo>
                  <a:pt x="36" y="7"/>
                  <a:pt x="35" y="5"/>
                  <a:pt x="35" y="4"/>
                </a:cubicBezTo>
                <a:cubicBezTo>
                  <a:pt x="35" y="3"/>
                  <a:pt x="35" y="2"/>
                  <a:pt x="36" y="1"/>
                </a:cubicBezTo>
                <a:cubicBezTo>
                  <a:pt x="36" y="1"/>
                  <a:pt x="36" y="0"/>
                  <a:pt x="35" y="0"/>
                </a:cubicBezTo>
                <a:cubicBezTo>
                  <a:pt x="35" y="0"/>
                  <a:pt x="34" y="0"/>
                  <a:pt x="32" y="1"/>
                </a:cubicBezTo>
                <a:cubicBezTo>
                  <a:pt x="29" y="1"/>
                  <a:pt x="28" y="1"/>
                  <a:pt x="26" y="2"/>
                </a:cubicBezTo>
                <a:cubicBezTo>
                  <a:pt x="24" y="2"/>
                  <a:pt x="25" y="3"/>
                  <a:pt x="25" y="4"/>
                </a:cubicBezTo>
                <a:cubicBezTo>
                  <a:pt x="24" y="6"/>
                  <a:pt x="22" y="11"/>
                  <a:pt x="20" y="16"/>
                </a:cubicBezTo>
                <a:cubicBezTo>
                  <a:pt x="18" y="20"/>
                  <a:pt x="17" y="23"/>
                  <a:pt x="15" y="26"/>
                </a:cubicBezTo>
                <a:cubicBezTo>
                  <a:pt x="13" y="30"/>
                  <a:pt x="12" y="31"/>
                  <a:pt x="8" y="34"/>
                </a:cubicBezTo>
                <a:cubicBezTo>
                  <a:pt x="6" y="35"/>
                  <a:pt x="3" y="37"/>
                  <a:pt x="0" y="38"/>
                </a:cubicBezTo>
                <a:cubicBezTo>
                  <a:pt x="0" y="60"/>
                  <a:pt x="0" y="60"/>
                  <a:pt x="0" y="60"/>
                </a:cubicBezTo>
                <a:cubicBezTo>
                  <a:pt x="92" y="60"/>
                  <a:pt x="92" y="60"/>
                  <a:pt x="92" y="60"/>
                </a:cubicBezTo>
                <a:cubicBezTo>
                  <a:pt x="92" y="59"/>
                  <a:pt x="92" y="59"/>
                  <a:pt x="92" y="59"/>
                </a:cubicBezTo>
                <a:cubicBezTo>
                  <a:pt x="92" y="58"/>
                  <a:pt x="93" y="57"/>
                  <a:pt x="94" y="5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4" name="Freeform 120"/>
          <p:cNvSpPr>
            <a:spLocks/>
          </p:cNvSpPr>
          <p:nvPr/>
        </p:nvSpPr>
        <p:spPr bwMode="auto">
          <a:xfrm>
            <a:off x="4802312" y="0"/>
            <a:ext cx="4343400" cy="5156201"/>
          </a:xfrm>
          <a:custGeom>
            <a:avLst/>
            <a:gdLst>
              <a:gd name="T0" fmla="*/ 272 w 456"/>
              <a:gd name="T1" fmla="*/ 28 h 541"/>
              <a:gd name="T2" fmla="*/ 277 w 456"/>
              <a:gd name="T3" fmla="*/ 0 h 541"/>
              <a:gd name="T4" fmla="*/ 240 w 456"/>
              <a:gd name="T5" fmla="*/ 43 h 541"/>
              <a:gd name="T6" fmla="*/ 219 w 456"/>
              <a:gd name="T7" fmla="*/ 35 h 541"/>
              <a:gd name="T8" fmla="*/ 189 w 456"/>
              <a:gd name="T9" fmla="*/ 79 h 541"/>
              <a:gd name="T10" fmla="*/ 136 w 456"/>
              <a:gd name="T11" fmla="*/ 68 h 541"/>
              <a:gd name="T12" fmla="*/ 137 w 456"/>
              <a:gd name="T13" fmla="*/ 94 h 541"/>
              <a:gd name="T14" fmla="*/ 99 w 456"/>
              <a:gd name="T15" fmla="*/ 60 h 541"/>
              <a:gd name="T16" fmla="*/ 82 w 456"/>
              <a:gd name="T17" fmla="*/ 33 h 541"/>
              <a:gd name="T18" fmla="*/ 78 w 456"/>
              <a:gd name="T19" fmla="*/ 20 h 541"/>
              <a:gd name="T20" fmla="*/ 158 w 456"/>
              <a:gd name="T21" fmla="*/ 44 h 541"/>
              <a:gd name="T22" fmla="*/ 196 w 456"/>
              <a:gd name="T23" fmla="*/ 3 h 541"/>
              <a:gd name="T24" fmla="*/ 26 w 456"/>
              <a:gd name="T25" fmla="*/ 25 h 541"/>
              <a:gd name="T26" fmla="*/ 33 w 456"/>
              <a:gd name="T27" fmla="*/ 60 h 541"/>
              <a:gd name="T28" fmla="*/ 38 w 456"/>
              <a:gd name="T29" fmla="*/ 73 h 541"/>
              <a:gd name="T30" fmla="*/ 45 w 456"/>
              <a:gd name="T31" fmla="*/ 94 h 541"/>
              <a:gd name="T32" fmla="*/ 57 w 456"/>
              <a:gd name="T33" fmla="*/ 126 h 541"/>
              <a:gd name="T34" fmla="*/ 19 w 456"/>
              <a:gd name="T35" fmla="*/ 160 h 541"/>
              <a:gd name="T36" fmla="*/ 17 w 456"/>
              <a:gd name="T37" fmla="*/ 173 h 541"/>
              <a:gd name="T38" fmla="*/ 10 w 456"/>
              <a:gd name="T39" fmla="*/ 186 h 541"/>
              <a:gd name="T40" fmla="*/ 1 w 456"/>
              <a:gd name="T41" fmla="*/ 208 h 541"/>
              <a:gd name="T42" fmla="*/ 0 w 456"/>
              <a:gd name="T43" fmla="*/ 233 h 541"/>
              <a:gd name="T44" fmla="*/ 5 w 456"/>
              <a:gd name="T45" fmla="*/ 247 h 541"/>
              <a:gd name="T46" fmla="*/ 26 w 456"/>
              <a:gd name="T47" fmla="*/ 265 h 541"/>
              <a:gd name="T48" fmla="*/ 51 w 456"/>
              <a:gd name="T49" fmla="*/ 278 h 541"/>
              <a:gd name="T50" fmla="*/ 55 w 456"/>
              <a:gd name="T51" fmla="*/ 295 h 541"/>
              <a:gd name="T52" fmla="*/ 65 w 456"/>
              <a:gd name="T53" fmla="*/ 310 h 541"/>
              <a:gd name="T54" fmla="*/ 57 w 456"/>
              <a:gd name="T55" fmla="*/ 324 h 541"/>
              <a:gd name="T56" fmla="*/ 63 w 456"/>
              <a:gd name="T57" fmla="*/ 343 h 541"/>
              <a:gd name="T58" fmla="*/ 97 w 456"/>
              <a:gd name="T59" fmla="*/ 342 h 541"/>
              <a:gd name="T60" fmla="*/ 98 w 456"/>
              <a:gd name="T61" fmla="*/ 358 h 541"/>
              <a:gd name="T62" fmla="*/ 115 w 456"/>
              <a:gd name="T63" fmla="*/ 367 h 541"/>
              <a:gd name="T64" fmla="*/ 135 w 456"/>
              <a:gd name="T65" fmla="*/ 376 h 541"/>
              <a:gd name="T66" fmla="*/ 169 w 456"/>
              <a:gd name="T67" fmla="*/ 385 h 541"/>
              <a:gd name="T68" fmla="*/ 178 w 456"/>
              <a:gd name="T69" fmla="*/ 407 h 541"/>
              <a:gd name="T70" fmla="*/ 178 w 456"/>
              <a:gd name="T71" fmla="*/ 424 h 541"/>
              <a:gd name="T72" fmla="*/ 157 w 456"/>
              <a:gd name="T73" fmla="*/ 435 h 541"/>
              <a:gd name="T74" fmla="*/ 160 w 456"/>
              <a:gd name="T75" fmla="*/ 444 h 541"/>
              <a:gd name="T76" fmla="*/ 150 w 456"/>
              <a:gd name="T77" fmla="*/ 461 h 541"/>
              <a:gd name="T78" fmla="*/ 150 w 456"/>
              <a:gd name="T79" fmla="*/ 481 h 541"/>
              <a:gd name="T80" fmla="*/ 197 w 456"/>
              <a:gd name="T81" fmla="*/ 503 h 541"/>
              <a:gd name="T82" fmla="*/ 227 w 456"/>
              <a:gd name="T83" fmla="*/ 511 h 541"/>
              <a:gd name="T84" fmla="*/ 247 w 456"/>
              <a:gd name="T85" fmla="*/ 514 h 541"/>
              <a:gd name="T86" fmla="*/ 264 w 456"/>
              <a:gd name="T87" fmla="*/ 522 h 541"/>
              <a:gd name="T88" fmla="*/ 283 w 456"/>
              <a:gd name="T89" fmla="*/ 535 h 541"/>
              <a:gd name="T90" fmla="*/ 303 w 456"/>
              <a:gd name="T91" fmla="*/ 532 h 541"/>
              <a:gd name="T92" fmla="*/ 284 w 456"/>
              <a:gd name="T93" fmla="*/ 488 h 541"/>
              <a:gd name="T94" fmla="*/ 298 w 456"/>
              <a:gd name="T95" fmla="*/ 462 h 541"/>
              <a:gd name="T96" fmla="*/ 302 w 456"/>
              <a:gd name="T97" fmla="*/ 446 h 541"/>
              <a:gd name="T98" fmla="*/ 299 w 456"/>
              <a:gd name="T99" fmla="*/ 427 h 541"/>
              <a:gd name="T100" fmla="*/ 274 w 456"/>
              <a:gd name="T101" fmla="*/ 413 h 541"/>
              <a:gd name="T102" fmla="*/ 285 w 456"/>
              <a:gd name="T103" fmla="*/ 382 h 541"/>
              <a:gd name="T104" fmla="*/ 309 w 456"/>
              <a:gd name="T105" fmla="*/ 383 h 541"/>
              <a:gd name="T106" fmla="*/ 323 w 456"/>
              <a:gd name="T107" fmla="*/ 359 h 541"/>
              <a:gd name="T108" fmla="*/ 344 w 456"/>
              <a:gd name="T109" fmla="*/ 351 h 541"/>
              <a:gd name="T110" fmla="*/ 358 w 456"/>
              <a:gd name="T111" fmla="*/ 349 h 541"/>
              <a:gd name="T112" fmla="*/ 400 w 456"/>
              <a:gd name="T113" fmla="*/ 369 h 541"/>
              <a:gd name="T114" fmla="*/ 423 w 456"/>
              <a:gd name="T115" fmla="*/ 361 h 541"/>
              <a:gd name="T116" fmla="*/ 443 w 456"/>
              <a:gd name="T117" fmla="*/ 361 h 5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56" h="541">
                <a:moveTo>
                  <a:pt x="307" y="3"/>
                </a:moveTo>
                <a:cubicBezTo>
                  <a:pt x="307" y="4"/>
                  <a:pt x="313" y="5"/>
                  <a:pt x="312" y="5"/>
                </a:cubicBezTo>
                <a:cubicBezTo>
                  <a:pt x="311" y="6"/>
                  <a:pt x="301" y="5"/>
                  <a:pt x="299" y="5"/>
                </a:cubicBezTo>
                <a:cubicBezTo>
                  <a:pt x="297" y="5"/>
                  <a:pt x="296" y="5"/>
                  <a:pt x="294" y="6"/>
                </a:cubicBezTo>
                <a:cubicBezTo>
                  <a:pt x="292" y="8"/>
                  <a:pt x="296" y="8"/>
                  <a:pt x="296" y="10"/>
                </a:cubicBezTo>
                <a:cubicBezTo>
                  <a:pt x="296" y="12"/>
                  <a:pt x="295" y="11"/>
                  <a:pt x="293" y="12"/>
                </a:cubicBezTo>
                <a:cubicBezTo>
                  <a:pt x="292" y="13"/>
                  <a:pt x="293" y="14"/>
                  <a:pt x="292" y="16"/>
                </a:cubicBezTo>
                <a:cubicBezTo>
                  <a:pt x="290" y="17"/>
                  <a:pt x="292" y="18"/>
                  <a:pt x="292" y="20"/>
                </a:cubicBezTo>
                <a:cubicBezTo>
                  <a:pt x="293" y="22"/>
                  <a:pt x="290" y="23"/>
                  <a:pt x="289" y="25"/>
                </a:cubicBezTo>
                <a:cubicBezTo>
                  <a:pt x="288" y="26"/>
                  <a:pt x="286" y="24"/>
                  <a:pt x="283" y="25"/>
                </a:cubicBezTo>
                <a:cubicBezTo>
                  <a:pt x="279" y="25"/>
                  <a:pt x="274" y="29"/>
                  <a:pt x="272" y="28"/>
                </a:cubicBezTo>
                <a:cubicBezTo>
                  <a:pt x="271" y="27"/>
                  <a:pt x="275" y="24"/>
                  <a:pt x="274" y="24"/>
                </a:cubicBezTo>
                <a:cubicBezTo>
                  <a:pt x="272" y="24"/>
                  <a:pt x="270" y="25"/>
                  <a:pt x="268" y="25"/>
                </a:cubicBezTo>
                <a:cubicBezTo>
                  <a:pt x="266" y="26"/>
                  <a:pt x="267" y="25"/>
                  <a:pt x="264" y="23"/>
                </a:cubicBezTo>
                <a:cubicBezTo>
                  <a:pt x="261" y="21"/>
                  <a:pt x="264" y="20"/>
                  <a:pt x="262" y="19"/>
                </a:cubicBezTo>
                <a:cubicBezTo>
                  <a:pt x="260" y="18"/>
                  <a:pt x="254" y="13"/>
                  <a:pt x="252" y="12"/>
                </a:cubicBezTo>
                <a:cubicBezTo>
                  <a:pt x="250" y="11"/>
                  <a:pt x="252" y="10"/>
                  <a:pt x="252" y="9"/>
                </a:cubicBezTo>
                <a:cubicBezTo>
                  <a:pt x="252" y="7"/>
                  <a:pt x="254" y="8"/>
                  <a:pt x="257" y="7"/>
                </a:cubicBezTo>
                <a:cubicBezTo>
                  <a:pt x="259" y="6"/>
                  <a:pt x="257" y="4"/>
                  <a:pt x="257" y="3"/>
                </a:cubicBezTo>
                <a:cubicBezTo>
                  <a:pt x="258" y="2"/>
                  <a:pt x="260" y="3"/>
                  <a:pt x="262" y="3"/>
                </a:cubicBezTo>
                <a:cubicBezTo>
                  <a:pt x="264" y="2"/>
                  <a:pt x="269" y="1"/>
                  <a:pt x="272" y="2"/>
                </a:cubicBezTo>
                <a:cubicBezTo>
                  <a:pt x="274" y="2"/>
                  <a:pt x="276" y="1"/>
                  <a:pt x="277" y="0"/>
                </a:cubicBezTo>
                <a:cubicBezTo>
                  <a:pt x="240" y="0"/>
                  <a:pt x="240" y="0"/>
                  <a:pt x="240" y="0"/>
                </a:cubicBezTo>
                <a:cubicBezTo>
                  <a:pt x="239" y="1"/>
                  <a:pt x="239" y="5"/>
                  <a:pt x="239" y="7"/>
                </a:cubicBezTo>
                <a:cubicBezTo>
                  <a:pt x="238" y="8"/>
                  <a:pt x="236" y="10"/>
                  <a:pt x="235" y="13"/>
                </a:cubicBezTo>
                <a:cubicBezTo>
                  <a:pt x="234" y="15"/>
                  <a:pt x="237" y="15"/>
                  <a:pt x="238" y="17"/>
                </a:cubicBezTo>
                <a:cubicBezTo>
                  <a:pt x="239" y="18"/>
                  <a:pt x="241" y="17"/>
                  <a:pt x="243" y="18"/>
                </a:cubicBezTo>
                <a:cubicBezTo>
                  <a:pt x="245" y="19"/>
                  <a:pt x="244" y="21"/>
                  <a:pt x="245" y="22"/>
                </a:cubicBezTo>
                <a:cubicBezTo>
                  <a:pt x="246" y="24"/>
                  <a:pt x="246" y="24"/>
                  <a:pt x="246" y="25"/>
                </a:cubicBezTo>
                <a:cubicBezTo>
                  <a:pt x="246" y="26"/>
                  <a:pt x="247" y="28"/>
                  <a:pt x="247" y="29"/>
                </a:cubicBezTo>
                <a:cubicBezTo>
                  <a:pt x="247" y="30"/>
                  <a:pt x="243" y="33"/>
                  <a:pt x="242" y="34"/>
                </a:cubicBezTo>
                <a:cubicBezTo>
                  <a:pt x="242" y="35"/>
                  <a:pt x="241" y="37"/>
                  <a:pt x="240" y="39"/>
                </a:cubicBezTo>
                <a:cubicBezTo>
                  <a:pt x="239" y="40"/>
                  <a:pt x="240" y="41"/>
                  <a:pt x="240" y="43"/>
                </a:cubicBezTo>
                <a:cubicBezTo>
                  <a:pt x="241" y="45"/>
                  <a:pt x="241" y="48"/>
                  <a:pt x="240" y="49"/>
                </a:cubicBezTo>
                <a:cubicBezTo>
                  <a:pt x="239" y="50"/>
                  <a:pt x="239" y="46"/>
                  <a:pt x="239" y="44"/>
                </a:cubicBezTo>
                <a:cubicBezTo>
                  <a:pt x="239" y="43"/>
                  <a:pt x="237" y="42"/>
                  <a:pt x="236" y="41"/>
                </a:cubicBezTo>
                <a:cubicBezTo>
                  <a:pt x="235" y="40"/>
                  <a:pt x="234" y="42"/>
                  <a:pt x="232" y="43"/>
                </a:cubicBezTo>
                <a:cubicBezTo>
                  <a:pt x="230" y="44"/>
                  <a:pt x="232" y="45"/>
                  <a:pt x="232" y="46"/>
                </a:cubicBezTo>
                <a:cubicBezTo>
                  <a:pt x="232" y="47"/>
                  <a:pt x="231" y="46"/>
                  <a:pt x="230" y="45"/>
                </a:cubicBezTo>
                <a:cubicBezTo>
                  <a:pt x="229" y="44"/>
                  <a:pt x="228" y="43"/>
                  <a:pt x="229" y="42"/>
                </a:cubicBezTo>
                <a:cubicBezTo>
                  <a:pt x="230" y="41"/>
                  <a:pt x="233" y="40"/>
                  <a:pt x="233" y="40"/>
                </a:cubicBezTo>
                <a:cubicBezTo>
                  <a:pt x="234" y="39"/>
                  <a:pt x="233" y="39"/>
                  <a:pt x="231" y="38"/>
                </a:cubicBezTo>
                <a:cubicBezTo>
                  <a:pt x="230" y="37"/>
                  <a:pt x="231" y="35"/>
                  <a:pt x="228" y="35"/>
                </a:cubicBezTo>
                <a:cubicBezTo>
                  <a:pt x="226" y="35"/>
                  <a:pt x="221" y="34"/>
                  <a:pt x="219" y="35"/>
                </a:cubicBezTo>
                <a:cubicBezTo>
                  <a:pt x="217" y="35"/>
                  <a:pt x="216" y="32"/>
                  <a:pt x="213" y="32"/>
                </a:cubicBezTo>
                <a:cubicBezTo>
                  <a:pt x="211" y="32"/>
                  <a:pt x="207" y="39"/>
                  <a:pt x="205" y="40"/>
                </a:cubicBezTo>
                <a:cubicBezTo>
                  <a:pt x="204" y="42"/>
                  <a:pt x="203" y="42"/>
                  <a:pt x="200" y="43"/>
                </a:cubicBezTo>
                <a:cubicBezTo>
                  <a:pt x="197" y="44"/>
                  <a:pt x="193" y="45"/>
                  <a:pt x="191" y="46"/>
                </a:cubicBezTo>
                <a:cubicBezTo>
                  <a:pt x="188" y="47"/>
                  <a:pt x="184" y="52"/>
                  <a:pt x="182" y="53"/>
                </a:cubicBezTo>
                <a:cubicBezTo>
                  <a:pt x="181" y="54"/>
                  <a:pt x="178" y="55"/>
                  <a:pt x="178" y="56"/>
                </a:cubicBezTo>
                <a:cubicBezTo>
                  <a:pt x="178" y="57"/>
                  <a:pt x="177" y="58"/>
                  <a:pt x="177" y="59"/>
                </a:cubicBezTo>
                <a:cubicBezTo>
                  <a:pt x="177" y="61"/>
                  <a:pt x="178" y="62"/>
                  <a:pt x="180" y="63"/>
                </a:cubicBezTo>
                <a:cubicBezTo>
                  <a:pt x="181" y="65"/>
                  <a:pt x="185" y="67"/>
                  <a:pt x="186" y="69"/>
                </a:cubicBezTo>
                <a:cubicBezTo>
                  <a:pt x="188" y="72"/>
                  <a:pt x="186" y="71"/>
                  <a:pt x="186" y="72"/>
                </a:cubicBezTo>
                <a:cubicBezTo>
                  <a:pt x="186" y="74"/>
                  <a:pt x="189" y="78"/>
                  <a:pt x="189" y="79"/>
                </a:cubicBezTo>
                <a:cubicBezTo>
                  <a:pt x="189" y="81"/>
                  <a:pt x="183" y="79"/>
                  <a:pt x="180" y="78"/>
                </a:cubicBezTo>
                <a:cubicBezTo>
                  <a:pt x="178" y="78"/>
                  <a:pt x="170" y="77"/>
                  <a:pt x="167" y="77"/>
                </a:cubicBezTo>
                <a:cubicBezTo>
                  <a:pt x="165" y="77"/>
                  <a:pt x="159" y="76"/>
                  <a:pt x="157" y="76"/>
                </a:cubicBezTo>
                <a:cubicBezTo>
                  <a:pt x="154" y="77"/>
                  <a:pt x="155" y="77"/>
                  <a:pt x="153" y="78"/>
                </a:cubicBezTo>
                <a:cubicBezTo>
                  <a:pt x="151" y="79"/>
                  <a:pt x="152" y="76"/>
                  <a:pt x="152" y="75"/>
                </a:cubicBezTo>
                <a:cubicBezTo>
                  <a:pt x="152" y="73"/>
                  <a:pt x="154" y="73"/>
                  <a:pt x="155" y="74"/>
                </a:cubicBezTo>
                <a:cubicBezTo>
                  <a:pt x="156" y="74"/>
                  <a:pt x="158" y="74"/>
                  <a:pt x="159" y="73"/>
                </a:cubicBezTo>
                <a:cubicBezTo>
                  <a:pt x="160" y="72"/>
                  <a:pt x="153" y="71"/>
                  <a:pt x="149" y="69"/>
                </a:cubicBezTo>
                <a:cubicBezTo>
                  <a:pt x="146" y="67"/>
                  <a:pt x="143" y="65"/>
                  <a:pt x="141" y="65"/>
                </a:cubicBezTo>
                <a:cubicBezTo>
                  <a:pt x="139" y="64"/>
                  <a:pt x="137" y="64"/>
                  <a:pt x="136" y="64"/>
                </a:cubicBezTo>
                <a:cubicBezTo>
                  <a:pt x="135" y="65"/>
                  <a:pt x="136" y="66"/>
                  <a:pt x="136" y="68"/>
                </a:cubicBezTo>
                <a:cubicBezTo>
                  <a:pt x="136" y="69"/>
                  <a:pt x="135" y="70"/>
                  <a:pt x="134" y="70"/>
                </a:cubicBezTo>
                <a:cubicBezTo>
                  <a:pt x="133" y="71"/>
                  <a:pt x="131" y="70"/>
                  <a:pt x="130" y="71"/>
                </a:cubicBezTo>
                <a:cubicBezTo>
                  <a:pt x="129" y="72"/>
                  <a:pt x="133" y="74"/>
                  <a:pt x="133" y="76"/>
                </a:cubicBezTo>
                <a:cubicBezTo>
                  <a:pt x="134" y="77"/>
                  <a:pt x="135" y="77"/>
                  <a:pt x="137" y="79"/>
                </a:cubicBezTo>
                <a:cubicBezTo>
                  <a:pt x="139" y="80"/>
                  <a:pt x="140" y="83"/>
                  <a:pt x="142" y="84"/>
                </a:cubicBezTo>
                <a:cubicBezTo>
                  <a:pt x="143" y="86"/>
                  <a:pt x="145" y="84"/>
                  <a:pt x="147" y="84"/>
                </a:cubicBezTo>
                <a:cubicBezTo>
                  <a:pt x="148" y="84"/>
                  <a:pt x="148" y="82"/>
                  <a:pt x="149" y="82"/>
                </a:cubicBezTo>
                <a:cubicBezTo>
                  <a:pt x="150" y="82"/>
                  <a:pt x="153" y="85"/>
                  <a:pt x="153" y="86"/>
                </a:cubicBezTo>
                <a:cubicBezTo>
                  <a:pt x="152" y="87"/>
                  <a:pt x="154" y="90"/>
                  <a:pt x="153" y="91"/>
                </a:cubicBezTo>
                <a:cubicBezTo>
                  <a:pt x="153" y="93"/>
                  <a:pt x="145" y="96"/>
                  <a:pt x="143" y="96"/>
                </a:cubicBezTo>
                <a:cubicBezTo>
                  <a:pt x="140" y="96"/>
                  <a:pt x="138" y="95"/>
                  <a:pt x="137" y="94"/>
                </a:cubicBezTo>
                <a:cubicBezTo>
                  <a:pt x="136" y="94"/>
                  <a:pt x="135" y="93"/>
                  <a:pt x="132" y="93"/>
                </a:cubicBezTo>
                <a:cubicBezTo>
                  <a:pt x="129" y="93"/>
                  <a:pt x="123" y="86"/>
                  <a:pt x="122" y="85"/>
                </a:cubicBezTo>
                <a:cubicBezTo>
                  <a:pt x="120" y="83"/>
                  <a:pt x="118" y="83"/>
                  <a:pt x="115" y="82"/>
                </a:cubicBezTo>
                <a:cubicBezTo>
                  <a:pt x="112" y="81"/>
                  <a:pt x="109" y="82"/>
                  <a:pt x="107" y="81"/>
                </a:cubicBezTo>
                <a:cubicBezTo>
                  <a:pt x="106" y="81"/>
                  <a:pt x="106" y="78"/>
                  <a:pt x="107" y="77"/>
                </a:cubicBezTo>
                <a:cubicBezTo>
                  <a:pt x="107" y="76"/>
                  <a:pt x="109" y="75"/>
                  <a:pt x="109" y="74"/>
                </a:cubicBezTo>
                <a:cubicBezTo>
                  <a:pt x="109" y="74"/>
                  <a:pt x="107" y="74"/>
                  <a:pt x="106" y="74"/>
                </a:cubicBezTo>
                <a:cubicBezTo>
                  <a:pt x="105" y="74"/>
                  <a:pt x="107" y="73"/>
                  <a:pt x="108" y="72"/>
                </a:cubicBezTo>
                <a:cubicBezTo>
                  <a:pt x="109" y="70"/>
                  <a:pt x="106" y="69"/>
                  <a:pt x="105" y="68"/>
                </a:cubicBezTo>
                <a:cubicBezTo>
                  <a:pt x="104" y="67"/>
                  <a:pt x="104" y="64"/>
                  <a:pt x="103" y="63"/>
                </a:cubicBezTo>
                <a:cubicBezTo>
                  <a:pt x="103" y="62"/>
                  <a:pt x="100" y="61"/>
                  <a:pt x="99" y="60"/>
                </a:cubicBezTo>
                <a:cubicBezTo>
                  <a:pt x="98" y="58"/>
                  <a:pt x="102" y="58"/>
                  <a:pt x="103" y="58"/>
                </a:cubicBezTo>
                <a:cubicBezTo>
                  <a:pt x="104" y="58"/>
                  <a:pt x="104" y="57"/>
                  <a:pt x="104" y="55"/>
                </a:cubicBezTo>
                <a:cubicBezTo>
                  <a:pt x="104" y="53"/>
                  <a:pt x="104" y="51"/>
                  <a:pt x="105" y="50"/>
                </a:cubicBezTo>
                <a:cubicBezTo>
                  <a:pt x="105" y="49"/>
                  <a:pt x="108" y="52"/>
                  <a:pt x="108" y="51"/>
                </a:cubicBezTo>
                <a:cubicBezTo>
                  <a:pt x="108" y="51"/>
                  <a:pt x="108" y="49"/>
                  <a:pt x="107" y="47"/>
                </a:cubicBezTo>
                <a:cubicBezTo>
                  <a:pt x="106" y="46"/>
                  <a:pt x="104" y="44"/>
                  <a:pt x="103" y="43"/>
                </a:cubicBezTo>
                <a:cubicBezTo>
                  <a:pt x="102" y="42"/>
                  <a:pt x="99" y="41"/>
                  <a:pt x="95" y="40"/>
                </a:cubicBezTo>
                <a:cubicBezTo>
                  <a:pt x="90" y="39"/>
                  <a:pt x="86" y="39"/>
                  <a:pt x="85" y="38"/>
                </a:cubicBezTo>
                <a:cubicBezTo>
                  <a:pt x="85" y="37"/>
                  <a:pt x="88" y="37"/>
                  <a:pt x="89" y="36"/>
                </a:cubicBezTo>
                <a:cubicBezTo>
                  <a:pt x="90" y="36"/>
                  <a:pt x="90" y="35"/>
                  <a:pt x="90" y="34"/>
                </a:cubicBezTo>
                <a:cubicBezTo>
                  <a:pt x="90" y="33"/>
                  <a:pt x="84" y="33"/>
                  <a:pt x="82" y="33"/>
                </a:cubicBezTo>
                <a:cubicBezTo>
                  <a:pt x="80" y="33"/>
                  <a:pt x="79" y="32"/>
                  <a:pt x="79" y="31"/>
                </a:cubicBezTo>
                <a:cubicBezTo>
                  <a:pt x="79" y="30"/>
                  <a:pt x="84" y="30"/>
                  <a:pt x="84" y="30"/>
                </a:cubicBezTo>
                <a:cubicBezTo>
                  <a:pt x="85" y="29"/>
                  <a:pt x="80" y="29"/>
                  <a:pt x="78" y="28"/>
                </a:cubicBezTo>
                <a:cubicBezTo>
                  <a:pt x="77" y="28"/>
                  <a:pt x="78" y="27"/>
                  <a:pt x="79" y="26"/>
                </a:cubicBezTo>
                <a:cubicBezTo>
                  <a:pt x="79" y="25"/>
                  <a:pt x="74" y="24"/>
                  <a:pt x="72" y="24"/>
                </a:cubicBezTo>
                <a:cubicBezTo>
                  <a:pt x="71" y="23"/>
                  <a:pt x="72" y="21"/>
                  <a:pt x="73" y="21"/>
                </a:cubicBezTo>
                <a:cubicBezTo>
                  <a:pt x="73" y="20"/>
                  <a:pt x="70" y="19"/>
                  <a:pt x="68" y="19"/>
                </a:cubicBezTo>
                <a:cubicBezTo>
                  <a:pt x="66" y="19"/>
                  <a:pt x="63" y="18"/>
                  <a:pt x="62" y="16"/>
                </a:cubicBezTo>
                <a:cubicBezTo>
                  <a:pt x="62" y="15"/>
                  <a:pt x="69" y="17"/>
                  <a:pt x="73" y="18"/>
                </a:cubicBezTo>
                <a:cubicBezTo>
                  <a:pt x="76" y="18"/>
                  <a:pt x="79" y="17"/>
                  <a:pt x="80" y="18"/>
                </a:cubicBezTo>
                <a:cubicBezTo>
                  <a:pt x="80" y="19"/>
                  <a:pt x="79" y="19"/>
                  <a:pt x="78" y="20"/>
                </a:cubicBezTo>
                <a:cubicBezTo>
                  <a:pt x="77" y="21"/>
                  <a:pt x="79" y="22"/>
                  <a:pt x="81" y="23"/>
                </a:cubicBezTo>
                <a:cubicBezTo>
                  <a:pt x="82" y="24"/>
                  <a:pt x="85" y="26"/>
                  <a:pt x="85" y="27"/>
                </a:cubicBezTo>
                <a:cubicBezTo>
                  <a:pt x="86" y="27"/>
                  <a:pt x="87" y="28"/>
                  <a:pt x="90" y="28"/>
                </a:cubicBezTo>
                <a:cubicBezTo>
                  <a:pt x="93" y="27"/>
                  <a:pt x="92" y="28"/>
                  <a:pt x="94" y="29"/>
                </a:cubicBezTo>
                <a:cubicBezTo>
                  <a:pt x="96" y="29"/>
                  <a:pt x="96" y="27"/>
                  <a:pt x="97" y="27"/>
                </a:cubicBezTo>
                <a:cubicBezTo>
                  <a:pt x="98" y="26"/>
                  <a:pt x="101" y="28"/>
                  <a:pt x="102" y="29"/>
                </a:cubicBezTo>
                <a:cubicBezTo>
                  <a:pt x="103" y="30"/>
                  <a:pt x="101" y="31"/>
                  <a:pt x="102" y="32"/>
                </a:cubicBezTo>
                <a:cubicBezTo>
                  <a:pt x="103" y="33"/>
                  <a:pt x="108" y="32"/>
                  <a:pt x="112" y="32"/>
                </a:cubicBezTo>
                <a:cubicBezTo>
                  <a:pt x="116" y="32"/>
                  <a:pt x="125" y="37"/>
                  <a:pt x="128" y="37"/>
                </a:cubicBezTo>
                <a:cubicBezTo>
                  <a:pt x="131" y="37"/>
                  <a:pt x="139" y="38"/>
                  <a:pt x="143" y="40"/>
                </a:cubicBezTo>
                <a:cubicBezTo>
                  <a:pt x="147" y="42"/>
                  <a:pt x="155" y="42"/>
                  <a:pt x="158" y="44"/>
                </a:cubicBezTo>
                <a:cubicBezTo>
                  <a:pt x="161" y="45"/>
                  <a:pt x="161" y="43"/>
                  <a:pt x="163" y="43"/>
                </a:cubicBezTo>
                <a:cubicBezTo>
                  <a:pt x="165" y="42"/>
                  <a:pt x="168" y="43"/>
                  <a:pt x="171" y="42"/>
                </a:cubicBezTo>
                <a:cubicBezTo>
                  <a:pt x="174" y="42"/>
                  <a:pt x="175" y="40"/>
                  <a:pt x="179" y="39"/>
                </a:cubicBezTo>
                <a:cubicBezTo>
                  <a:pt x="183" y="37"/>
                  <a:pt x="185" y="37"/>
                  <a:pt x="188" y="35"/>
                </a:cubicBezTo>
                <a:cubicBezTo>
                  <a:pt x="190" y="33"/>
                  <a:pt x="193" y="27"/>
                  <a:pt x="196" y="25"/>
                </a:cubicBezTo>
                <a:cubicBezTo>
                  <a:pt x="198" y="23"/>
                  <a:pt x="200" y="22"/>
                  <a:pt x="200" y="21"/>
                </a:cubicBezTo>
                <a:cubicBezTo>
                  <a:pt x="201" y="20"/>
                  <a:pt x="201" y="17"/>
                  <a:pt x="200" y="16"/>
                </a:cubicBezTo>
                <a:cubicBezTo>
                  <a:pt x="200" y="14"/>
                  <a:pt x="198" y="16"/>
                  <a:pt x="197" y="14"/>
                </a:cubicBezTo>
                <a:cubicBezTo>
                  <a:pt x="196" y="13"/>
                  <a:pt x="198" y="12"/>
                  <a:pt x="198" y="11"/>
                </a:cubicBezTo>
                <a:cubicBezTo>
                  <a:pt x="198" y="10"/>
                  <a:pt x="196" y="10"/>
                  <a:pt x="196" y="8"/>
                </a:cubicBezTo>
                <a:cubicBezTo>
                  <a:pt x="195" y="7"/>
                  <a:pt x="196" y="5"/>
                  <a:pt x="196" y="3"/>
                </a:cubicBezTo>
                <a:cubicBezTo>
                  <a:pt x="196" y="2"/>
                  <a:pt x="190" y="2"/>
                  <a:pt x="187" y="2"/>
                </a:cubicBezTo>
                <a:cubicBezTo>
                  <a:pt x="185" y="2"/>
                  <a:pt x="186" y="1"/>
                  <a:pt x="185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35" y="1"/>
                  <a:pt x="36" y="2"/>
                  <a:pt x="37" y="3"/>
                </a:cubicBezTo>
                <a:cubicBezTo>
                  <a:pt x="38" y="4"/>
                  <a:pt x="38" y="5"/>
                  <a:pt x="38" y="6"/>
                </a:cubicBezTo>
                <a:cubicBezTo>
                  <a:pt x="38" y="6"/>
                  <a:pt x="36" y="8"/>
                  <a:pt x="34" y="11"/>
                </a:cubicBezTo>
                <a:cubicBezTo>
                  <a:pt x="30" y="15"/>
                  <a:pt x="26" y="20"/>
                  <a:pt x="26" y="21"/>
                </a:cubicBezTo>
                <a:cubicBezTo>
                  <a:pt x="26" y="21"/>
                  <a:pt x="26" y="22"/>
                  <a:pt x="25" y="23"/>
                </a:cubicBezTo>
                <a:cubicBezTo>
                  <a:pt x="25" y="24"/>
                  <a:pt x="25" y="24"/>
                  <a:pt x="26" y="25"/>
                </a:cubicBezTo>
                <a:cubicBezTo>
                  <a:pt x="26" y="25"/>
                  <a:pt x="26" y="25"/>
                  <a:pt x="26" y="25"/>
                </a:cubicBezTo>
                <a:cubicBezTo>
                  <a:pt x="26" y="25"/>
                  <a:pt x="26" y="25"/>
                  <a:pt x="26" y="25"/>
                </a:cubicBezTo>
                <a:cubicBezTo>
                  <a:pt x="26" y="25"/>
                  <a:pt x="26" y="25"/>
                  <a:pt x="26" y="25"/>
                </a:cubicBezTo>
                <a:cubicBezTo>
                  <a:pt x="26" y="26"/>
                  <a:pt x="28" y="29"/>
                  <a:pt x="30" y="32"/>
                </a:cubicBezTo>
                <a:cubicBezTo>
                  <a:pt x="32" y="34"/>
                  <a:pt x="34" y="40"/>
                  <a:pt x="36" y="43"/>
                </a:cubicBezTo>
                <a:cubicBezTo>
                  <a:pt x="36" y="44"/>
                  <a:pt x="36" y="44"/>
                  <a:pt x="36" y="44"/>
                </a:cubicBezTo>
                <a:cubicBezTo>
                  <a:pt x="37" y="45"/>
                  <a:pt x="37" y="47"/>
                  <a:pt x="38" y="49"/>
                </a:cubicBezTo>
                <a:cubicBezTo>
                  <a:pt x="39" y="51"/>
                  <a:pt x="39" y="53"/>
                  <a:pt x="39" y="53"/>
                </a:cubicBezTo>
                <a:cubicBezTo>
                  <a:pt x="39" y="54"/>
                  <a:pt x="38" y="54"/>
                  <a:pt x="36" y="54"/>
                </a:cubicBezTo>
                <a:cubicBezTo>
                  <a:pt x="35" y="54"/>
                  <a:pt x="35" y="54"/>
                  <a:pt x="34" y="54"/>
                </a:cubicBezTo>
                <a:cubicBezTo>
                  <a:pt x="34" y="55"/>
                  <a:pt x="34" y="56"/>
                  <a:pt x="34" y="57"/>
                </a:cubicBezTo>
                <a:cubicBezTo>
                  <a:pt x="34" y="58"/>
                  <a:pt x="34" y="59"/>
                  <a:pt x="34" y="59"/>
                </a:cubicBezTo>
                <a:cubicBezTo>
                  <a:pt x="34" y="60"/>
                  <a:pt x="34" y="60"/>
                  <a:pt x="33" y="60"/>
                </a:cubicBezTo>
                <a:cubicBezTo>
                  <a:pt x="33" y="60"/>
                  <a:pt x="33" y="60"/>
                  <a:pt x="33" y="60"/>
                </a:cubicBezTo>
                <a:cubicBezTo>
                  <a:pt x="33" y="61"/>
                  <a:pt x="33" y="63"/>
                  <a:pt x="33" y="63"/>
                </a:cubicBezTo>
                <a:cubicBezTo>
                  <a:pt x="33" y="63"/>
                  <a:pt x="33" y="63"/>
                  <a:pt x="33" y="63"/>
                </a:cubicBezTo>
                <a:cubicBezTo>
                  <a:pt x="33" y="63"/>
                  <a:pt x="33" y="63"/>
                  <a:pt x="34" y="64"/>
                </a:cubicBezTo>
                <a:cubicBezTo>
                  <a:pt x="35" y="65"/>
                  <a:pt x="36" y="66"/>
                  <a:pt x="36" y="66"/>
                </a:cubicBezTo>
                <a:cubicBezTo>
                  <a:pt x="36" y="67"/>
                  <a:pt x="35" y="67"/>
                  <a:pt x="34" y="68"/>
                </a:cubicBezTo>
                <a:cubicBezTo>
                  <a:pt x="33" y="68"/>
                  <a:pt x="33" y="69"/>
                  <a:pt x="33" y="69"/>
                </a:cubicBezTo>
                <a:cubicBezTo>
                  <a:pt x="33" y="70"/>
                  <a:pt x="33" y="71"/>
                  <a:pt x="34" y="71"/>
                </a:cubicBezTo>
                <a:cubicBezTo>
                  <a:pt x="34" y="72"/>
                  <a:pt x="34" y="72"/>
                  <a:pt x="34" y="72"/>
                </a:cubicBezTo>
                <a:cubicBezTo>
                  <a:pt x="34" y="73"/>
                  <a:pt x="35" y="73"/>
                  <a:pt x="35" y="73"/>
                </a:cubicBezTo>
                <a:cubicBezTo>
                  <a:pt x="36" y="73"/>
                  <a:pt x="37" y="73"/>
                  <a:pt x="38" y="73"/>
                </a:cubicBezTo>
                <a:cubicBezTo>
                  <a:pt x="38" y="73"/>
                  <a:pt x="38" y="74"/>
                  <a:pt x="39" y="74"/>
                </a:cubicBezTo>
                <a:cubicBezTo>
                  <a:pt x="39" y="75"/>
                  <a:pt x="40" y="76"/>
                  <a:pt x="40" y="76"/>
                </a:cubicBezTo>
                <a:cubicBezTo>
                  <a:pt x="41" y="77"/>
                  <a:pt x="40" y="77"/>
                  <a:pt x="39" y="78"/>
                </a:cubicBezTo>
                <a:cubicBezTo>
                  <a:pt x="39" y="78"/>
                  <a:pt x="38" y="79"/>
                  <a:pt x="38" y="79"/>
                </a:cubicBezTo>
                <a:cubicBezTo>
                  <a:pt x="38" y="80"/>
                  <a:pt x="39" y="81"/>
                  <a:pt x="39" y="82"/>
                </a:cubicBezTo>
                <a:cubicBezTo>
                  <a:pt x="39" y="82"/>
                  <a:pt x="39" y="83"/>
                  <a:pt x="40" y="83"/>
                </a:cubicBezTo>
                <a:cubicBezTo>
                  <a:pt x="40" y="83"/>
                  <a:pt x="41" y="84"/>
                  <a:pt x="42" y="84"/>
                </a:cubicBezTo>
                <a:cubicBezTo>
                  <a:pt x="44" y="85"/>
                  <a:pt x="46" y="86"/>
                  <a:pt x="46" y="86"/>
                </a:cubicBezTo>
                <a:cubicBezTo>
                  <a:pt x="46" y="87"/>
                  <a:pt x="46" y="88"/>
                  <a:pt x="47" y="89"/>
                </a:cubicBezTo>
                <a:cubicBezTo>
                  <a:pt x="47" y="90"/>
                  <a:pt x="47" y="91"/>
                  <a:pt x="46" y="91"/>
                </a:cubicBezTo>
                <a:cubicBezTo>
                  <a:pt x="46" y="92"/>
                  <a:pt x="45" y="93"/>
                  <a:pt x="45" y="94"/>
                </a:cubicBezTo>
                <a:cubicBezTo>
                  <a:pt x="44" y="95"/>
                  <a:pt x="43" y="96"/>
                  <a:pt x="42" y="96"/>
                </a:cubicBezTo>
                <a:cubicBezTo>
                  <a:pt x="42" y="97"/>
                  <a:pt x="41" y="97"/>
                  <a:pt x="40" y="97"/>
                </a:cubicBezTo>
                <a:cubicBezTo>
                  <a:pt x="39" y="98"/>
                  <a:pt x="38" y="98"/>
                  <a:pt x="38" y="98"/>
                </a:cubicBezTo>
                <a:cubicBezTo>
                  <a:pt x="38" y="98"/>
                  <a:pt x="39" y="98"/>
                  <a:pt x="41" y="99"/>
                </a:cubicBezTo>
                <a:cubicBezTo>
                  <a:pt x="43" y="101"/>
                  <a:pt x="46" y="103"/>
                  <a:pt x="48" y="104"/>
                </a:cubicBezTo>
                <a:cubicBezTo>
                  <a:pt x="50" y="106"/>
                  <a:pt x="51" y="107"/>
                  <a:pt x="52" y="108"/>
                </a:cubicBezTo>
                <a:cubicBezTo>
                  <a:pt x="54" y="108"/>
                  <a:pt x="55" y="109"/>
                  <a:pt x="55" y="109"/>
                </a:cubicBezTo>
                <a:cubicBezTo>
                  <a:pt x="55" y="110"/>
                  <a:pt x="56" y="110"/>
                  <a:pt x="57" y="111"/>
                </a:cubicBezTo>
                <a:cubicBezTo>
                  <a:pt x="58" y="113"/>
                  <a:pt x="60" y="115"/>
                  <a:pt x="60" y="117"/>
                </a:cubicBezTo>
                <a:cubicBezTo>
                  <a:pt x="60" y="119"/>
                  <a:pt x="58" y="122"/>
                  <a:pt x="57" y="125"/>
                </a:cubicBezTo>
                <a:cubicBezTo>
                  <a:pt x="57" y="125"/>
                  <a:pt x="57" y="126"/>
                  <a:pt x="57" y="126"/>
                </a:cubicBezTo>
                <a:cubicBezTo>
                  <a:pt x="56" y="126"/>
                  <a:pt x="51" y="131"/>
                  <a:pt x="46" y="135"/>
                </a:cubicBezTo>
                <a:cubicBezTo>
                  <a:pt x="44" y="137"/>
                  <a:pt x="41" y="139"/>
                  <a:pt x="41" y="140"/>
                </a:cubicBezTo>
                <a:cubicBezTo>
                  <a:pt x="41" y="140"/>
                  <a:pt x="39" y="142"/>
                  <a:pt x="38" y="143"/>
                </a:cubicBezTo>
                <a:cubicBezTo>
                  <a:pt x="38" y="143"/>
                  <a:pt x="38" y="143"/>
                  <a:pt x="38" y="143"/>
                </a:cubicBezTo>
                <a:cubicBezTo>
                  <a:pt x="37" y="144"/>
                  <a:pt x="36" y="145"/>
                  <a:pt x="36" y="145"/>
                </a:cubicBezTo>
                <a:cubicBezTo>
                  <a:pt x="36" y="145"/>
                  <a:pt x="36" y="145"/>
                  <a:pt x="36" y="145"/>
                </a:cubicBezTo>
                <a:cubicBezTo>
                  <a:pt x="36" y="146"/>
                  <a:pt x="35" y="148"/>
                  <a:pt x="33" y="149"/>
                </a:cubicBezTo>
                <a:cubicBezTo>
                  <a:pt x="31" y="151"/>
                  <a:pt x="29" y="154"/>
                  <a:pt x="28" y="154"/>
                </a:cubicBezTo>
                <a:cubicBezTo>
                  <a:pt x="27" y="154"/>
                  <a:pt x="26" y="155"/>
                  <a:pt x="25" y="156"/>
                </a:cubicBezTo>
                <a:cubicBezTo>
                  <a:pt x="23" y="157"/>
                  <a:pt x="21" y="158"/>
                  <a:pt x="21" y="158"/>
                </a:cubicBezTo>
                <a:cubicBezTo>
                  <a:pt x="21" y="158"/>
                  <a:pt x="20" y="159"/>
                  <a:pt x="19" y="160"/>
                </a:cubicBezTo>
                <a:cubicBezTo>
                  <a:pt x="18" y="161"/>
                  <a:pt x="17" y="162"/>
                  <a:pt x="16" y="162"/>
                </a:cubicBezTo>
                <a:cubicBezTo>
                  <a:pt x="14" y="163"/>
                  <a:pt x="13" y="164"/>
                  <a:pt x="12" y="165"/>
                </a:cubicBezTo>
                <a:cubicBezTo>
                  <a:pt x="11" y="166"/>
                  <a:pt x="10" y="167"/>
                  <a:pt x="9" y="167"/>
                </a:cubicBezTo>
                <a:cubicBezTo>
                  <a:pt x="9" y="167"/>
                  <a:pt x="8" y="168"/>
                  <a:pt x="8" y="169"/>
                </a:cubicBezTo>
                <a:cubicBezTo>
                  <a:pt x="10" y="169"/>
                  <a:pt x="11" y="169"/>
                  <a:pt x="13" y="169"/>
                </a:cubicBezTo>
                <a:cubicBezTo>
                  <a:pt x="14" y="169"/>
                  <a:pt x="16" y="165"/>
                  <a:pt x="17" y="165"/>
                </a:cubicBezTo>
                <a:cubicBezTo>
                  <a:pt x="18" y="165"/>
                  <a:pt x="18" y="165"/>
                  <a:pt x="18" y="166"/>
                </a:cubicBezTo>
                <a:cubicBezTo>
                  <a:pt x="19" y="167"/>
                  <a:pt x="18" y="167"/>
                  <a:pt x="18" y="168"/>
                </a:cubicBezTo>
                <a:cubicBezTo>
                  <a:pt x="17" y="169"/>
                  <a:pt x="19" y="170"/>
                  <a:pt x="19" y="171"/>
                </a:cubicBezTo>
                <a:cubicBezTo>
                  <a:pt x="19" y="172"/>
                  <a:pt x="16" y="170"/>
                  <a:pt x="16" y="171"/>
                </a:cubicBezTo>
                <a:cubicBezTo>
                  <a:pt x="15" y="171"/>
                  <a:pt x="17" y="172"/>
                  <a:pt x="17" y="173"/>
                </a:cubicBezTo>
                <a:cubicBezTo>
                  <a:pt x="18" y="173"/>
                  <a:pt x="20" y="174"/>
                  <a:pt x="22" y="175"/>
                </a:cubicBezTo>
                <a:cubicBezTo>
                  <a:pt x="24" y="176"/>
                  <a:pt x="31" y="178"/>
                  <a:pt x="34" y="180"/>
                </a:cubicBezTo>
                <a:cubicBezTo>
                  <a:pt x="37" y="182"/>
                  <a:pt x="39" y="181"/>
                  <a:pt x="40" y="182"/>
                </a:cubicBezTo>
                <a:cubicBezTo>
                  <a:pt x="41" y="183"/>
                  <a:pt x="40" y="183"/>
                  <a:pt x="38" y="183"/>
                </a:cubicBezTo>
                <a:cubicBezTo>
                  <a:pt x="37" y="184"/>
                  <a:pt x="35" y="183"/>
                  <a:pt x="33" y="182"/>
                </a:cubicBezTo>
                <a:cubicBezTo>
                  <a:pt x="31" y="182"/>
                  <a:pt x="27" y="181"/>
                  <a:pt x="26" y="181"/>
                </a:cubicBezTo>
                <a:cubicBezTo>
                  <a:pt x="25" y="181"/>
                  <a:pt x="25" y="182"/>
                  <a:pt x="24" y="183"/>
                </a:cubicBezTo>
                <a:cubicBezTo>
                  <a:pt x="23" y="184"/>
                  <a:pt x="22" y="185"/>
                  <a:pt x="20" y="186"/>
                </a:cubicBezTo>
                <a:cubicBezTo>
                  <a:pt x="18" y="186"/>
                  <a:pt x="17" y="184"/>
                  <a:pt x="16" y="184"/>
                </a:cubicBezTo>
                <a:cubicBezTo>
                  <a:pt x="14" y="184"/>
                  <a:pt x="13" y="186"/>
                  <a:pt x="12" y="187"/>
                </a:cubicBezTo>
                <a:cubicBezTo>
                  <a:pt x="11" y="187"/>
                  <a:pt x="11" y="186"/>
                  <a:pt x="10" y="186"/>
                </a:cubicBezTo>
                <a:cubicBezTo>
                  <a:pt x="9" y="186"/>
                  <a:pt x="10" y="187"/>
                  <a:pt x="9" y="189"/>
                </a:cubicBezTo>
                <a:cubicBezTo>
                  <a:pt x="9" y="190"/>
                  <a:pt x="9" y="191"/>
                  <a:pt x="9" y="191"/>
                </a:cubicBezTo>
                <a:cubicBezTo>
                  <a:pt x="10" y="192"/>
                  <a:pt x="10" y="192"/>
                  <a:pt x="10" y="192"/>
                </a:cubicBezTo>
                <a:cubicBezTo>
                  <a:pt x="11" y="193"/>
                  <a:pt x="11" y="194"/>
                  <a:pt x="11" y="195"/>
                </a:cubicBezTo>
                <a:cubicBezTo>
                  <a:pt x="11" y="196"/>
                  <a:pt x="10" y="197"/>
                  <a:pt x="8" y="198"/>
                </a:cubicBezTo>
                <a:cubicBezTo>
                  <a:pt x="8" y="199"/>
                  <a:pt x="7" y="199"/>
                  <a:pt x="7" y="199"/>
                </a:cubicBezTo>
                <a:cubicBezTo>
                  <a:pt x="7" y="199"/>
                  <a:pt x="7" y="199"/>
                  <a:pt x="7" y="199"/>
                </a:cubicBezTo>
                <a:cubicBezTo>
                  <a:pt x="6" y="200"/>
                  <a:pt x="6" y="201"/>
                  <a:pt x="6" y="202"/>
                </a:cubicBezTo>
                <a:cubicBezTo>
                  <a:pt x="6" y="203"/>
                  <a:pt x="6" y="203"/>
                  <a:pt x="6" y="203"/>
                </a:cubicBezTo>
                <a:cubicBezTo>
                  <a:pt x="5" y="204"/>
                  <a:pt x="5" y="204"/>
                  <a:pt x="4" y="205"/>
                </a:cubicBezTo>
                <a:cubicBezTo>
                  <a:pt x="3" y="206"/>
                  <a:pt x="1" y="207"/>
                  <a:pt x="1" y="208"/>
                </a:cubicBezTo>
                <a:cubicBezTo>
                  <a:pt x="1" y="208"/>
                  <a:pt x="1" y="208"/>
                  <a:pt x="1" y="208"/>
                </a:cubicBezTo>
                <a:cubicBezTo>
                  <a:pt x="1" y="210"/>
                  <a:pt x="1" y="217"/>
                  <a:pt x="2" y="218"/>
                </a:cubicBezTo>
                <a:cubicBezTo>
                  <a:pt x="2" y="219"/>
                  <a:pt x="4" y="221"/>
                  <a:pt x="5" y="222"/>
                </a:cubicBezTo>
                <a:cubicBezTo>
                  <a:pt x="5" y="224"/>
                  <a:pt x="6" y="225"/>
                  <a:pt x="6" y="226"/>
                </a:cubicBezTo>
                <a:cubicBezTo>
                  <a:pt x="6" y="228"/>
                  <a:pt x="5" y="228"/>
                  <a:pt x="4" y="228"/>
                </a:cubicBezTo>
                <a:cubicBezTo>
                  <a:pt x="4" y="228"/>
                  <a:pt x="4" y="228"/>
                  <a:pt x="4" y="228"/>
                </a:cubicBezTo>
                <a:cubicBezTo>
                  <a:pt x="4" y="228"/>
                  <a:pt x="3" y="228"/>
                  <a:pt x="3" y="228"/>
                </a:cubicBezTo>
                <a:cubicBezTo>
                  <a:pt x="3" y="229"/>
                  <a:pt x="2" y="229"/>
                  <a:pt x="2" y="230"/>
                </a:cubicBezTo>
                <a:cubicBezTo>
                  <a:pt x="2" y="230"/>
                  <a:pt x="2" y="230"/>
                  <a:pt x="2" y="230"/>
                </a:cubicBezTo>
                <a:cubicBezTo>
                  <a:pt x="1" y="230"/>
                  <a:pt x="1" y="231"/>
                  <a:pt x="1" y="231"/>
                </a:cubicBezTo>
                <a:cubicBezTo>
                  <a:pt x="1" y="232"/>
                  <a:pt x="0" y="232"/>
                  <a:pt x="0" y="233"/>
                </a:cubicBezTo>
                <a:cubicBezTo>
                  <a:pt x="0" y="233"/>
                  <a:pt x="0" y="234"/>
                  <a:pt x="0" y="234"/>
                </a:cubicBezTo>
                <a:cubicBezTo>
                  <a:pt x="0" y="234"/>
                  <a:pt x="1" y="234"/>
                  <a:pt x="2" y="235"/>
                </a:cubicBezTo>
                <a:cubicBezTo>
                  <a:pt x="4" y="236"/>
                  <a:pt x="7" y="237"/>
                  <a:pt x="7" y="238"/>
                </a:cubicBezTo>
                <a:cubicBezTo>
                  <a:pt x="7" y="239"/>
                  <a:pt x="6" y="240"/>
                  <a:pt x="6" y="241"/>
                </a:cubicBezTo>
                <a:cubicBezTo>
                  <a:pt x="6" y="241"/>
                  <a:pt x="5" y="242"/>
                  <a:pt x="5" y="243"/>
                </a:cubicBezTo>
                <a:cubicBezTo>
                  <a:pt x="5" y="243"/>
                  <a:pt x="5" y="244"/>
                  <a:pt x="6" y="244"/>
                </a:cubicBezTo>
                <a:cubicBezTo>
                  <a:pt x="6" y="244"/>
                  <a:pt x="6" y="245"/>
                  <a:pt x="6" y="245"/>
                </a:cubicBezTo>
                <a:cubicBezTo>
                  <a:pt x="6" y="245"/>
                  <a:pt x="5" y="246"/>
                  <a:pt x="5" y="246"/>
                </a:cubicBezTo>
                <a:cubicBezTo>
                  <a:pt x="5" y="247"/>
                  <a:pt x="4" y="247"/>
                  <a:pt x="4" y="247"/>
                </a:cubicBezTo>
                <a:cubicBezTo>
                  <a:pt x="4" y="247"/>
                  <a:pt x="4" y="247"/>
                  <a:pt x="4" y="247"/>
                </a:cubicBezTo>
                <a:cubicBezTo>
                  <a:pt x="4" y="247"/>
                  <a:pt x="5" y="247"/>
                  <a:pt x="5" y="247"/>
                </a:cubicBezTo>
                <a:cubicBezTo>
                  <a:pt x="6" y="247"/>
                  <a:pt x="8" y="247"/>
                  <a:pt x="8" y="248"/>
                </a:cubicBezTo>
                <a:cubicBezTo>
                  <a:pt x="9" y="249"/>
                  <a:pt x="10" y="252"/>
                  <a:pt x="11" y="254"/>
                </a:cubicBezTo>
                <a:cubicBezTo>
                  <a:pt x="11" y="256"/>
                  <a:pt x="12" y="258"/>
                  <a:pt x="12" y="259"/>
                </a:cubicBezTo>
                <a:cubicBezTo>
                  <a:pt x="12" y="259"/>
                  <a:pt x="12" y="260"/>
                  <a:pt x="12" y="260"/>
                </a:cubicBezTo>
                <a:cubicBezTo>
                  <a:pt x="12" y="261"/>
                  <a:pt x="11" y="262"/>
                  <a:pt x="12" y="262"/>
                </a:cubicBezTo>
                <a:cubicBezTo>
                  <a:pt x="12" y="262"/>
                  <a:pt x="12" y="262"/>
                  <a:pt x="12" y="262"/>
                </a:cubicBezTo>
                <a:cubicBezTo>
                  <a:pt x="12" y="262"/>
                  <a:pt x="15" y="264"/>
                  <a:pt x="17" y="265"/>
                </a:cubicBezTo>
                <a:cubicBezTo>
                  <a:pt x="18" y="265"/>
                  <a:pt x="20" y="266"/>
                  <a:pt x="20" y="266"/>
                </a:cubicBezTo>
                <a:cubicBezTo>
                  <a:pt x="20" y="266"/>
                  <a:pt x="20" y="266"/>
                  <a:pt x="20" y="266"/>
                </a:cubicBezTo>
                <a:cubicBezTo>
                  <a:pt x="20" y="266"/>
                  <a:pt x="21" y="266"/>
                  <a:pt x="21" y="265"/>
                </a:cubicBezTo>
                <a:cubicBezTo>
                  <a:pt x="22" y="265"/>
                  <a:pt x="24" y="264"/>
                  <a:pt x="26" y="265"/>
                </a:cubicBezTo>
                <a:cubicBezTo>
                  <a:pt x="27" y="266"/>
                  <a:pt x="28" y="267"/>
                  <a:pt x="29" y="269"/>
                </a:cubicBezTo>
                <a:cubicBezTo>
                  <a:pt x="29" y="269"/>
                  <a:pt x="29" y="269"/>
                  <a:pt x="29" y="269"/>
                </a:cubicBezTo>
                <a:cubicBezTo>
                  <a:pt x="29" y="270"/>
                  <a:pt x="30" y="271"/>
                  <a:pt x="30" y="271"/>
                </a:cubicBezTo>
                <a:cubicBezTo>
                  <a:pt x="31" y="271"/>
                  <a:pt x="32" y="270"/>
                  <a:pt x="33" y="269"/>
                </a:cubicBezTo>
                <a:cubicBezTo>
                  <a:pt x="34" y="269"/>
                  <a:pt x="35" y="268"/>
                  <a:pt x="35" y="268"/>
                </a:cubicBezTo>
                <a:cubicBezTo>
                  <a:pt x="36" y="268"/>
                  <a:pt x="37" y="268"/>
                  <a:pt x="38" y="268"/>
                </a:cubicBezTo>
                <a:cubicBezTo>
                  <a:pt x="40" y="268"/>
                  <a:pt x="43" y="269"/>
                  <a:pt x="43" y="269"/>
                </a:cubicBezTo>
                <a:cubicBezTo>
                  <a:pt x="44" y="269"/>
                  <a:pt x="46" y="270"/>
                  <a:pt x="48" y="271"/>
                </a:cubicBezTo>
                <a:cubicBezTo>
                  <a:pt x="49" y="272"/>
                  <a:pt x="50" y="273"/>
                  <a:pt x="51" y="274"/>
                </a:cubicBezTo>
                <a:cubicBezTo>
                  <a:pt x="51" y="274"/>
                  <a:pt x="51" y="277"/>
                  <a:pt x="51" y="278"/>
                </a:cubicBezTo>
                <a:cubicBezTo>
                  <a:pt x="51" y="278"/>
                  <a:pt x="51" y="278"/>
                  <a:pt x="51" y="278"/>
                </a:cubicBezTo>
                <a:cubicBezTo>
                  <a:pt x="51" y="278"/>
                  <a:pt x="51" y="278"/>
                  <a:pt x="51" y="278"/>
                </a:cubicBezTo>
                <a:cubicBezTo>
                  <a:pt x="51" y="279"/>
                  <a:pt x="51" y="279"/>
                  <a:pt x="50" y="280"/>
                </a:cubicBezTo>
                <a:cubicBezTo>
                  <a:pt x="50" y="280"/>
                  <a:pt x="50" y="280"/>
                  <a:pt x="50" y="281"/>
                </a:cubicBezTo>
                <a:cubicBezTo>
                  <a:pt x="50" y="281"/>
                  <a:pt x="51" y="283"/>
                  <a:pt x="52" y="284"/>
                </a:cubicBezTo>
                <a:cubicBezTo>
                  <a:pt x="52" y="284"/>
                  <a:pt x="52" y="285"/>
                  <a:pt x="53" y="285"/>
                </a:cubicBezTo>
                <a:cubicBezTo>
                  <a:pt x="53" y="286"/>
                  <a:pt x="52" y="287"/>
                  <a:pt x="51" y="288"/>
                </a:cubicBezTo>
                <a:cubicBezTo>
                  <a:pt x="51" y="289"/>
                  <a:pt x="50" y="290"/>
                  <a:pt x="50" y="290"/>
                </a:cubicBezTo>
                <a:cubicBezTo>
                  <a:pt x="50" y="290"/>
                  <a:pt x="52" y="291"/>
                  <a:pt x="53" y="292"/>
                </a:cubicBezTo>
                <a:cubicBezTo>
                  <a:pt x="54" y="292"/>
                  <a:pt x="55" y="293"/>
                  <a:pt x="55" y="293"/>
                </a:cubicBezTo>
                <a:cubicBezTo>
                  <a:pt x="55" y="293"/>
                  <a:pt x="55" y="293"/>
                  <a:pt x="55" y="293"/>
                </a:cubicBezTo>
                <a:cubicBezTo>
                  <a:pt x="55" y="294"/>
                  <a:pt x="55" y="294"/>
                  <a:pt x="55" y="295"/>
                </a:cubicBezTo>
                <a:cubicBezTo>
                  <a:pt x="55" y="296"/>
                  <a:pt x="55" y="297"/>
                  <a:pt x="55" y="297"/>
                </a:cubicBezTo>
                <a:cubicBezTo>
                  <a:pt x="56" y="298"/>
                  <a:pt x="56" y="298"/>
                  <a:pt x="56" y="298"/>
                </a:cubicBezTo>
                <a:cubicBezTo>
                  <a:pt x="56" y="299"/>
                  <a:pt x="56" y="299"/>
                  <a:pt x="58" y="300"/>
                </a:cubicBezTo>
                <a:cubicBezTo>
                  <a:pt x="58" y="300"/>
                  <a:pt x="58" y="300"/>
                  <a:pt x="58" y="300"/>
                </a:cubicBezTo>
                <a:cubicBezTo>
                  <a:pt x="58" y="300"/>
                  <a:pt x="58" y="300"/>
                  <a:pt x="58" y="300"/>
                </a:cubicBezTo>
                <a:cubicBezTo>
                  <a:pt x="60" y="301"/>
                  <a:pt x="62" y="303"/>
                  <a:pt x="63" y="303"/>
                </a:cubicBezTo>
                <a:cubicBezTo>
                  <a:pt x="63" y="304"/>
                  <a:pt x="64" y="304"/>
                  <a:pt x="64" y="305"/>
                </a:cubicBezTo>
                <a:cubicBezTo>
                  <a:pt x="64" y="306"/>
                  <a:pt x="64" y="306"/>
                  <a:pt x="65" y="307"/>
                </a:cubicBezTo>
                <a:cubicBezTo>
                  <a:pt x="65" y="307"/>
                  <a:pt x="64" y="308"/>
                  <a:pt x="64" y="309"/>
                </a:cubicBezTo>
                <a:cubicBezTo>
                  <a:pt x="64" y="309"/>
                  <a:pt x="64" y="310"/>
                  <a:pt x="64" y="310"/>
                </a:cubicBezTo>
                <a:cubicBezTo>
                  <a:pt x="64" y="310"/>
                  <a:pt x="65" y="310"/>
                  <a:pt x="65" y="310"/>
                </a:cubicBezTo>
                <a:cubicBezTo>
                  <a:pt x="68" y="310"/>
                  <a:pt x="74" y="310"/>
                  <a:pt x="74" y="312"/>
                </a:cubicBezTo>
                <a:cubicBezTo>
                  <a:pt x="74" y="312"/>
                  <a:pt x="74" y="312"/>
                  <a:pt x="74" y="313"/>
                </a:cubicBezTo>
                <a:cubicBezTo>
                  <a:pt x="73" y="314"/>
                  <a:pt x="73" y="314"/>
                  <a:pt x="73" y="314"/>
                </a:cubicBezTo>
                <a:cubicBezTo>
                  <a:pt x="74" y="315"/>
                  <a:pt x="75" y="315"/>
                  <a:pt x="76" y="316"/>
                </a:cubicBezTo>
                <a:cubicBezTo>
                  <a:pt x="77" y="317"/>
                  <a:pt x="78" y="317"/>
                  <a:pt x="78" y="318"/>
                </a:cubicBezTo>
                <a:cubicBezTo>
                  <a:pt x="78" y="318"/>
                  <a:pt x="76" y="320"/>
                  <a:pt x="74" y="321"/>
                </a:cubicBezTo>
                <a:cubicBezTo>
                  <a:pt x="71" y="323"/>
                  <a:pt x="68" y="324"/>
                  <a:pt x="68" y="324"/>
                </a:cubicBezTo>
                <a:cubicBezTo>
                  <a:pt x="67" y="325"/>
                  <a:pt x="66" y="324"/>
                  <a:pt x="65" y="324"/>
                </a:cubicBezTo>
                <a:cubicBezTo>
                  <a:pt x="64" y="324"/>
                  <a:pt x="63" y="324"/>
                  <a:pt x="63" y="324"/>
                </a:cubicBezTo>
                <a:cubicBezTo>
                  <a:pt x="62" y="324"/>
                  <a:pt x="62" y="324"/>
                  <a:pt x="61" y="324"/>
                </a:cubicBezTo>
                <a:cubicBezTo>
                  <a:pt x="60" y="324"/>
                  <a:pt x="58" y="323"/>
                  <a:pt x="57" y="324"/>
                </a:cubicBezTo>
                <a:cubicBezTo>
                  <a:pt x="57" y="324"/>
                  <a:pt x="57" y="324"/>
                  <a:pt x="56" y="325"/>
                </a:cubicBezTo>
                <a:cubicBezTo>
                  <a:pt x="56" y="325"/>
                  <a:pt x="56" y="325"/>
                  <a:pt x="56" y="325"/>
                </a:cubicBezTo>
                <a:cubicBezTo>
                  <a:pt x="56" y="325"/>
                  <a:pt x="57" y="326"/>
                  <a:pt x="57" y="327"/>
                </a:cubicBezTo>
                <a:cubicBezTo>
                  <a:pt x="59" y="328"/>
                  <a:pt x="61" y="330"/>
                  <a:pt x="61" y="331"/>
                </a:cubicBezTo>
                <a:cubicBezTo>
                  <a:pt x="61" y="332"/>
                  <a:pt x="61" y="333"/>
                  <a:pt x="61" y="335"/>
                </a:cubicBezTo>
                <a:cubicBezTo>
                  <a:pt x="61" y="336"/>
                  <a:pt x="61" y="338"/>
                  <a:pt x="61" y="339"/>
                </a:cubicBezTo>
                <a:cubicBezTo>
                  <a:pt x="61" y="339"/>
                  <a:pt x="61" y="339"/>
                  <a:pt x="62" y="340"/>
                </a:cubicBezTo>
                <a:cubicBezTo>
                  <a:pt x="63" y="340"/>
                  <a:pt x="63" y="341"/>
                  <a:pt x="63" y="342"/>
                </a:cubicBezTo>
                <a:cubicBezTo>
                  <a:pt x="63" y="342"/>
                  <a:pt x="63" y="342"/>
                  <a:pt x="63" y="343"/>
                </a:cubicBezTo>
                <a:cubicBezTo>
                  <a:pt x="63" y="343"/>
                  <a:pt x="63" y="343"/>
                  <a:pt x="63" y="343"/>
                </a:cubicBezTo>
                <a:cubicBezTo>
                  <a:pt x="63" y="343"/>
                  <a:pt x="63" y="343"/>
                  <a:pt x="63" y="343"/>
                </a:cubicBezTo>
                <a:cubicBezTo>
                  <a:pt x="63" y="343"/>
                  <a:pt x="63" y="343"/>
                  <a:pt x="63" y="343"/>
                </a:cubicBezTo>
                <a:cubicBezTo>
                  <a:pt x="63" y="343"/>
                  <a:pt x="67" y="343"/>
                  <a:pt x="68" y="343"/>
                </a:cubicBezTo>
                <a:cubicBezTo>
                  <a:pt x="69" y="342"/>
                  <a:pt x="71" y="338"/>
                  <a:pt x="73" y="338"/>
                </a:cubicBezTo>
                <a:cubicBezTo>
                  <a:pt x="74" y="338"/>
                  <a:pt x="75" y="338"/>
                  <a:pt x="76" y="338"/>
                </a:cubicBezTo>
                <a:cubicBezTo>
                  <a:pt x="77" y="339"/>
                  <a:pt x="79" y="339"/>
                  <a:pt x="80" y="339"/>
                </a:cubicBezTo>
                <a:cubicBezTo>
                  <a:pt x="80" y="339"/>
                  <a:pt x="81" y="339"/>
                  <a:pt x="81" y="338"/>
                </a:cubicBezTo>
                <a:cubicBezTo>
                  <a:pt x="83" y="338"/>
                  <a:pt x="84" y="337"/>
                  <a:pt x="86" y="337"/>
                </a:cubicBezTo>
                <a:cubicBezTo>
                  <a:pt x="87" y="337"/>
                  <a:pt x="88" y="337"/>
                  <a:pt x="88" y="337"/>
                </a:cubicBezTo>
                <a:cubicBezTo>
                  <a:pt x="90" y="337"/>
                  <a:pt x="91" y="337"/>
                  <a:pt x="92" y="337"/>
                </a:cubicBezTo>
                <a:cubicBezTo>
                  <a:pt x="94" y="338"/>
                  <a:pt x="96" y="341"/>
                  <a:pt x="97" y="342"/>
                </a:cubicBezTo>
                <a:cubicBezTo>
                  <a:pt x="97" y="342"/>
                  <a:pt x="97" y="342"/>
                  <a:pt x="97" y="342"/>
                </a:cubicBezTo>
                <a:cubicBezTo>
                  <a:pt x="97" y="343"/>
                  <a:pt x="97" y="343"/>
                  <a:pt x="97" y="343"/>
                </a:cubicBezTo>
                <a:cubicBezTo>
                  <a:pt x="98" y="344"/>
                  <a:pt x="98" y="345"/>
                  <a:pt x="98" y="346"/>
                </a:cubicBezTo>
                <a:cubicBezTo>
                  <a:pt x="98" y="346"/>
                  <a:pt x="98" y="346"/>
                  <a:pt x="98" y="346"/>
                </a:cubicBezTo>
                <a:cubicBezTo>
                  <a:pt x="98" y="346"/>
                  <a:pt x="98" y="347"/>
                  <a:pt x="99" y="347"/>
                </a:cubicBezTo>
                <a:cubicBezTo>
                  <a:pt x="101" y="348"/>
                  <a:pt x="103" y="348"/>
                  <a:pt x="103" y="349"/>
                </a:cubicBezTo>
                <a:cubicBezTo>
                  <a:pt x="103" y="350"/>
                  <a:pt x="101" y="351"/>
                  <a:pt x="100" y="351"/>
                </a:cubicBezTo>
                <a:cubicBezTo>
                  <a:pt x="99" y="351"/>
                  <a:pt x="97" y="352"/>
                  <a:pt x="97" y="352"/>
                </a:cubicBezTo>
                <a:cubicBezTo>
                  <a:pt x="97" y="352"/>
                  <a:pt x="98" y="353"/>
                  <a:pt x="98" y="353"/>
                </a:cubicBezTo>
                <a:cubicBezTo>
                  <a:pt x="99" y="354"/>
                  <a:pt x="99" y="354"/>
                  <a:pt x="99" y="355"/>
                </a:cubicBezTo>
                <a:cubicBezTo>
                  <a:pt x="99" y="356"/>
                  <a:pt x="99" y="356"/>
                  <a:pt x="98" y="357"/>
                </a:cubicBezTo>
                <a:cubicBezTo>
                  <a:pt x="98" y="357"/>
                  <a:pt x="98" y="357"/>
                  <a:pt x="98" y="358"/>
                </a:cubicBezTo>
                <a:cubicBezTo>
                  <a:pt x="98" y="358"/>
                  <a:pt x="98" y="358"/>
                  <a:pt x="98" y="358"/>
                </a:cubicBezTo>
                <a:cubicBezTo>
                  <a:pt x="98" y="358"/>
                  <a:pt x="98" y="359"/>
                  <a:pt x="98" y="359"/>
                </a:cubicBezTo>
                <a:cubicBezTo>
                  <a:pt x="99" y="359"/>
                  <a:pt x="101" y="360"/>
                  <a:pt x="102" y="360"/>
                </a:cubicBezTo>
                <a:cubicBezTo>
                  <a:pt x="104" y="360"/>
                  <a:pt x="106" y="360"/>
                  <a:pt x="106" y="360"/>
                </a:cubicBezTo>
                <a:cubicBezTo>
                  <a:pt x="107" y="360"/>
                  <a:pt x="108" y="359"/>
                  <a:pt x="108" y="359"/>
                </a:cubicBezTo>
                <a:cubicBezTo>
                  <a:pt x="109" y="359"/>
                  <a:pt x="109" y="359"/>
                  <a:pt x="109" y="359"/>
                </a:cubicBezTo>
                <a:cubicBezTo>
                  <a:pt x="109" y="359"/>
                  <a:pt x="109" y="359"/>
                  <a:pt x="109" y="359"/>
                </a:cubicBezTo>
                <a:cubicBezTo>
                  <a:pt x="109" y="359"/>
                  <a:pt x="114" y="362"/>
                  <a:pt x="115" y="363"/>
                </a:cubicBezTo>
                <a:cubicBezTo>
                  <a:pt x="115" y="364"/>
                  <a:pt x="115" y="364"/>
                  <a:pt x="115" y="365"/>
                </a:cubicBezTo>
                <a:cubicBezTo>
                  <a:pt x="115" y="366"/>
                  <a:pt x="114" y="366"/>
                  <a:pt x="115" y="366"/>
                </a:cubicBezTo>
                <a:cubicBezTo>
                  <a:pt x="115" y="367"/>
                  <a:pt x="115" y="367"/>
                  <a:pt x="115" y="367"/>
                </a:cubicBezTo>
                <a:cubicBezTo>
                  <a:pt x="115" y="368"/>
                  <a:pt x="117" y="370"/>
                  <a:pt x="116" y="371"/>
                </a:cubicBezTo>
                <a:cubicBezTo>
                  <a:pt x="116" y="371"/>
                  <a:pt x="116" y="371"/>
                  <a:pt x="116" y="371"/>
                </a:cubicBezTo>
                <a:cubicBezTo>
                  <a:pt x="116" y="372"/>
                  <a:pt x="116" y="373"/>
                  <a:pt x="116" y="374"/>
                </a:cubicBezTo>
                <a:cubicBezTo>
                  <a:pt x="116" y="374"/>
                  <a:pt x="116" y="374"/>
                  <a:pt x="116" y="374"/>
                </a:cubicBezTo>
                <a:cubicBezTo>
                  <a:pt x="116" y="374"/>
                  <a:pt x="116" y="374"/>
                  <a:pt x="116" y="374"/>
                </a:cubicBezTo>
                <a:cubicBezTo>
                  <a:pt x="117" y="375"/>
                  <a:pt x="119" y="376"/>
                  <a:pt x="119" y="376"/>
                </a:cubicBezTo>
                <a:cubicBezTo>
                  <a:pt x="120" y="376"/>
                  <a:pt x="121" y="375"/>
                  <a:pt x="122" y="375"/>
                </a:cubicBezTo>
                <a:cubicBezTo>
                  <a:pt x="123" y="374"/>
                  <a:pt x="124" y="374"/>
                  <a:pt x="124" y="374"/>
                </a:cubicBezTo>
                <a:cubicBezTo>
                  <a:pt x="125" y="374"/>
                  <a:pt x="126" y="375"/>
                  <a:pt x="128" y="376"/>
                </a:cubicBezTo>
                <a:cubicBezTo>
                  <a:pt x="129" y="376"/>
                  <a:pt x="131" y="377"/>
                  <a:pt x="131" y="377"/>
                </a:cubicBezTo>
                <a:cubicBezTo>
                  <a:pt x="131" y="377"/>
                  <a:pt x="133" y="377"/>
                  <a:pt x="135" y="376"/>
                </a:cubicBezTo>
                <a:cubicBezTo>
                  <a:pt x="139" y="375"/>
                  <a:pt x="144" y="374"/>
                  <a:pt x="145" y="374"/>
                </a:cubicBezTo>
                <a:cubicBezTo>
                  <a:pt x="146" y="374"/>
                  <a:pt x="147" y="377"/>
                  <a:pt x="149" y="379"/>
                </a:cubicBezTo>
                <a:cubicBezTo>
                  <a:pt x="151" y="382"/>
                  <a:pt x="152" y="384"/>
                  <a:pt x="152" y="384"/>
                </a:cubicBezTo>
                <a:cubicBezTo>
                  <a:pt x="152" y="384"/>
                  <a:pt x="153" y="383"/>
                  <a:pt x="154" y="383"/>
                </a:cubicBezTo>
                <a:cubicBezTo>
                  <a:pt x="155" y="382"/>
                  <a:pt x="156" y="381"/>
                  <a:pt x="156" y="381"/>
                </a:cubicBezTo>
                <a:cubicBezTo>
                  <a:pt x="156" y="381"/>
                  <a:pt x="158" y="381"/>
                  <a:pt x="159" y="381"/>
                </a:cubicBezTo>
                <a:cubicBezTo>
                  <a:pt x="160" y="382"/>
                  <a:pt x="162" y="382"/>
                  <a:pt x="162" y="383"/>
                </a:cubicBezTo>
                <a:cubicBezTo>
                  <a:pt x="162" y="383"/>
                  <a:pt x="162" y="383"/>
                  <a:pt x="162" y="383"/>
                </a:cubicBezTo>
                <a:cubicBezTo>
                  <a:pt x="163" y="384"/>
                  <a:pt x="165" y="386"/>
                  <a:pt x="166" y="386"/>
                </a:cubicBezTo>
                <a:cubicBezTo>
                  <a:pt x="166" y="386"/>
                  <a:pt x="166" y="386"/>
                  <a:pt x="167" y="386"/>
                </a:cubicBezTo>
                <a:cubicBezTo>
                  <a:pt x="168" y="385"/>
                  <a:pt x="168" y="385"/>
                  <a:pt x="169" y="385"/>
                </a:cubicBezTo>
                <a:cubicBezTo>
                  <a:pt x="170" y="385"/>
                  <a:pt x="171" y="386"/>
                  <a:pt x="173" y="388"/>
                </a:cubicBezTo>
                <a:cubicBezTo>
                  <a:pt x="175" y="389"/>
                  <a:pt x="177" y="391"/>
                  <a:pt x="177" y="391"/>
                </a:cubicBezTo>
                <a:cubicBezTo>
                  <a:pt x="178" y="391"/>
                  <a:pt x="179" y="391"/>
                  <a:pt x="179" y="390"/>
                </a:cubicBezTo>
                <a:cubicBezTo>
                  <a:pt x="181" y="390"/>
                  <a:pt x="183" y="389"/>
                  <a:pt x="183" y="390"/>
                </a:cubicBezTo>
                <a:cubicBezTo>
                  <a:pt x="184" y="390"/>
                  <a:pt x="184" y="392"/>
                  <a:pt x="184" y="393"/>
                </a:cubicBezTo>
                <a:cubicBezTo>
                  <a:pt x="184" y="395"/>
                  <a:pt x="184" y="398"/>
                  <a:pt x="183" y="398"/>
                </a:cubicBezTo>
                <a:cubicBezTo>
                  <a:pt x="183" y="399"/>
                  <a:pt x="182" y="399"/>
                  <a:pt x="181" y="400"/>
                </a:cubicBezTo>
                <a:cubicBezTo>
                  <a:pt x="179" y="401"/>
                  <a:pt x="178" y="402"/>
                  <a:pt x="178" y="402"/>
                </a:cubicBezTo>
                <a:cubicBezTo>
                  <a:pt x="178" y="403"/>
                  <a:pt x="179" y="403"/>
                  <a:pt x="179" y="403"/>
                </a:cubicBezTo>
                <a:cubicBezTo>
                  <a:pt x="180" y="403"/>
                  <a:pt x="181" y="404"/>
                  <a:pt x="181" y="405"/>
                </a:cubicBezTo>
                <a:cubicBezTo>
                  <a:pt x="181" y="406"/>
                  <a:pt x="180" y="406"/>
                  <a:pt x="178" y="407"/>
                </a:cubicBezTo>
                <a:cubicBezTo>
                  <a:pt x="177" y="407"/>
                  <a:pt x="177" y="407"/>
                  <a:pt x="177" y="408"/>
                </a:cubicBezTo>
                <a:cubicBezTo>
                  <a:pt x="177" y="408"/>
                  <a:pt x="177" y="408"/>
                  <a:pt x="177" y="408"/>
                </a:cubicBezTo>
                <a:cubicBezTo>
                  <a:pt x="176" y="409"/>
                  <a:pt x="176" y="409"/>
                  <a:pt x="176" y="409"/>
                </a:cubicBezTo>
                <a:cubicBezTo>
                  <a:pt x="177" y="410"/>
                  <a:pt x="177" y="410"/>
                  <a:pt x="178" y="410"/>
                </a:cubicBezTo>
                <a:cubicBezTo>
                  <a:pt x="179" y="410"/>
                  <a:pt x="179" y="411"/>
                  <a:pt x="179" y="411"/>
                </a:cubicBezTo>
                <a:cubicBezTo>
                  <a:pt x="180" y="411"/>
                  <a:pt x="180" y="413"/>
                  <a:pt x="181" y="414"/>
                </a:cubicBezTo>
                <a:cubicBezTo>
                  <a:pt x="181" y="414"/>
                  <a:pt x="181" y="415"/>
                  <a:pt x="181" y="416"/>
                </a:cubicBezTo>
                <a:cubicBezTo>
                  <a:pt x="181" y="416"/>
                  <a:pt x="181" y="417"/>
                  <a:pt x="180" y="418"/>
                </a:cubicBezTo>
                <a:cubicBezTo>
                  <a:pt x="180" y="419"/>
                  <a:pt x="179" y="419"/>
                  <a:pt x="179" y="420"/>
                </a:cubicBezTo>
                <a:cubicBezTo>
                  <a:pt x="179" y="420"/>
                  <a:pt x="179" y="421"/>
                  <a:pt x="179" y="421"/>
                </a:cubicBezTo>
                <a:cubicBezTo>
                  <a:pt x="178" y="422"/>
                  <a:pt x="178" y="424"/>
                  <a:pt x="178" y="424"/>
                </a:cubicBezTo>
                <a:cubicBezTo>
                  <a:pt x="178" y="424"/>
                  <a:pt x="178" y="424"/>
                  <a:pt x="178" y="424"/>
                </a:cubicBezTo>
                <a:cubicBezTo>
                  <a:pt x="177" y="425"/>
                  <a:pt x="174" y="425"/>
                  <a:pt x="172" y="424"/>
                </a:cubicBezTo>
                <a:cubicBezTo>
                  <a:pt x="169" y="424"/>
                  <a:pt x="167" y="424"/>
                  <a:pt x="167" y="424"/>
                </a:cubicBezTo>
                <a:cubicBezTo>
                  <a:pt x="167" y="424"/>
                  <a:pt x="167" y="424"/>
                  <a:pt x="166" y="424"/>
                </a:cubicBezTo>
                <a:cubicBezTo>
                  <a:pt x="165" y="425"/>
                  <a:pt x="164" y="426"/>
                  <a:pt x="163" y="427"/>
                </a:cubicBezTo>
                <a:cubicBezTo>
                  <a:pt x="161" y="427"/>
                  <a:pt x="160" y="428"/>
                  <a:pt x="159" y="428"/>
                </a:cubicBezTo>
                <a:cubicBezTo>
                  <a:pt x="158" y="428"/>
                  <a:pt x="158" y="429"/>
                  <a:pt x="158" y="429"/>
                </a:cubicBezTo>
                <a:cubicBezTo>
                  <a:pt x="158" y="429"/>
                  <a:pt x="157" y="430"/>
                  <a:pt x="157" y="430"/>
                </a:cubicBezTo>
                <a:cubicBezTo>
                  <a:pt x="157" y="431"/>
                  <a:pt x="157" y="432"/>
                  <a:pt x="157" y="433"/>
                </a:cubicBezTo>
                <a:cubicBezTo>
                  <a:pt x="157" y="434"/>
                  <a:pt x="157" y="435"/>
                  <a:pt x="157" y="436"/>
                </a:cubicBezTo>
                <a:cubicBezTo>
                  <a:pt x="157" y="435"/>
                  <a:pt x="157" y="435"/>
                  <a:pt x="157" y="435"/>
                </a:cubicBezTo>
                <a:cubicBezTo>
                  <a:pt x="159" y="434"/>
                  <a:pt x="163" y="434"/>
                  <a:pt x="164" y="434"/>
                </a:cubicBezTo>
                <a:cubicBezTo>
                  <a:pt x="165" y="434"/>
                  <a:pt x="162" y="435"/>
                  <a:pt x="162" y="436"/>
                </a:cubicBezTo>
                <a:cubicBezTo>
                  <a:pt x="161" y="437"/>
                  <a:pt x="163" y="436"/>
                  <a:pt x="164" y="436"/>
                </a:cubicBezTo>
                <a:cubicBezTo>
                  <a:pt x="165" y="436"/>
                  <a:pt x="166" y="435"/>
                  <a:pt x="166" y="435"/>
                </a:cubicBezTo>
                <a:cubicBezTo>
                  <a:pt x="166" y="434"/>
                  <a:pt x="168" y="434"/>
                  <a:pt x="169" y="434"/>
                </a:cubicBezTo>
                <a:cubicBezTo>
                  <a:pt x="170" y="434"/>
                  <a:pt x="170" y="435"/>
                  <a:pt x="171" y="436"/>
                </a:cubicBezTo>
                <a:cubicBezTo>
                  <a:pt x="171" y="437"/>
                  <a:pt x="172" y="436"/>
                  <a:pt x="172" y="437"/>
                </a:cubicBezTo>
                <a:cubicBezTo>
                  <a:pt x="173" y="438"/>
                  <a:pt x="170" y="438"/>
                  <a:pt x="168" y="439"/>
                </a:cubicBezTo>
                <a:cubicBezTo>
                  <a:pt x="167" y="440"/>
                  <a:pt x="164" y="441"/>
                  <a:pt x="163" y="441"/>
                </a:cubicBezTo>
                <a:cubicBezTo>
                  <a:pt x="162" y="442"/>
                  <a:pt x="160" y="442"/>
                  <a:pt x="159" y="442"/>
                </a:cubicBezTo>
                <a:cubicBezTo>
                  <a:pt x="158" y="443"/>
                  <a:pt x="160" y="443"/>
                  <a:pt x="160" y="444"/>
                </a:cubicBezTo>
                <a:cubicBezTo>
                  <a:pt x="161" y="445"/>
                  <a:pt x="160" y="445"/>
                  <a:pt x="160" y="445"/>
                </a:cubicBezTo>
                <a:cubicBezTo>
                  <a:pt x="159" y="445"/>
                  <a:pt x="156" y="445"/>
                  <a:pt x="154" y="445"/>
                </a:cubicBezTo>
                <a:cubicBezTo>
                  <a:pt x="152" y="445"/>
                  <a:pt x="150" y="445"/>
                  <a:pt x="149" y="446"/>
                </a:cubicBezTo>
                <a:cubicBezTo>
                  <a:pt x="149" y="446"/>
                  <a:pt x="150" y="448"/>
                  <a:pt x="150" y="449"/>
                </a:cubicBezTo>
                <a:cubicBezTo>
                  <a:pt x="151" y="450"/>
                  <a:pt x="156" y="452"/>
                  <a:pt x="158" y="453"/>
                </a:cubicBezTo>
                <a:cubicBezTo>
                  <a:pt x="159" y="454"/>
                  <a:pt x="160" y="454"/>
                  <a:pt x="160" y="456"/>
                </a:cubicBezTo>
                <a:cubicBezTo>
                  <a:pt x="160" y="457"/>
                  <a:pt x="159" y="456"/>
                  <a:pt x="158" y="456"/>
                </a:cubicBezTo>
                <a:cubicBezTo>
                  <a:pt x="157" y="456"/>
                  <a:pt x="156" y="455"/>
                  <a:pt x="155" y="456"/>
                </a:cubicBezTo>
                <a:cubicBezTo>
                  <a:pt x="154" y="457"/>
                  <a:pt x="154" y="460"/>
                  <a:pt x="153" y="460"/>
                </a:cubicBezTo>
                <a:cubicBezTo>
                  <a:pt x="152" y="461"/>
                  <a:pt x="153" y="457"/>
                  <a:pt x="152" y="457"/>
                </a:cubicBezTo>
                <a:cubicBezTo>
                  <a:pt x="152" y="458"/>
                  <a:pt x="151" y="460"/>
                  <a:pt x="150" y="461"/>
                </a:cubicBezTo>
                <a:cubicBezTo>
                  <a:pt x="149" y="462"/>
                  <a:pt x="148" y="463"/>
                  <a:pt x="147" y="463"/>
                </a:cubicBezTo>
                <a:cubicBezTo>
                  <a:pt x="146" y="464"/>
                  <a:pt x="147" y="465"/>
                  <a:pt x="148" y="466"/>
                </a:cubicBezTo>
                <a:cubicBezTo>
                  <a:pt x="149" y="467"/>
                  <a:pt x="149" y="468"/>
                  <a:pt x="147" y="469"/>
                </a:cubicBezTo>
                <a:cubicBezTo>
                  <a:pt x="146" y="470"/>
                  <a:pt x="144" y="470"/>
                  <a:pt x="143" y="470"/>
                </a:cubicBezTo>
                <a:cubicBezTo>
                  <a:pt x="141" y="470"/>
                  <a:pt x="139" y="468"/>
                  <a:pt x="137" y="468"/>
                </a:cubicBezTo>
                <a:cubicBezTo>
                  <a:pt x="136" y="468"/>
                  <a:pt x="137" y="469"/>
                  <a:pt x="137" y="470"/>
                </a:cubicBezTo>
                <a:cubicBezTo>
                  <a:pt x="137" y="471"/>
                  <a:pt x="134" y="471"/>
                  <a:pt x="133" y="472"/>
                </a:cubicBezTo>
                <a:cubicBezTo>
                  <a:pt x="133" y="472"/>
                  <a:pt x="135" y="473"/>
                  <a:pt x="137" y="474"/>
                </a:cubicBezTo>
                <a:cubicBezTo>
                  <a:pt x="139" y="475"/>
                  <a:pt x="140" y="475"/>
                  <a:pt x="141" y="477"/>
                </a:cubicBezTo>
                <a:cubicBezTo>
                  <a:pt x="142" y="478"/>
                  <a:pt x="143" y="479"/>
                  <a:pt x="145" y="480"/>
                </a:cubicBezTo>
                <a:cubicBezTo>
                  <a:pt x="147" y="481"/>
                  <a:pt x="148" y="480"/>
                  <a:pt x="150" y="481"/>
                </a:cubicBezTo>
                <a:cubicBezTo>
                  <a:pt x="152" y="481"/>
                  <a:pt x="153" y="485"/>
                  <a:pt x="155" y="486"/>
                </a:cubicBezTo>
                <a:cubicBezTo>
                  <a:pt x="156" y="487"/>
                  <a:pt x="160" y="486"/>
                  <a:pt x="161" y="487"/>
                </a:cubicBezTo>
                <a:cubicBezTo>
                  <a:pt x="163" y="487"/>
                  <a:pt x="172" y="495"/>
                  <a:pt x="173" y="496"/>
                </a:cubicBezTo>
                <a:cubicBezTo>
                  <a:pt x="174" y="497"/>
                  <a:pt x="178" y="500"/>
                  <a:pt x="181" y="503"/>
                </a:cubicBezTo>
                <a:cubicBezTo>
                  <a:pt x="181" y="502"/>
                  <a:pt x="182" y="501"/>
                  <a:pt x="182" y="500"/>
                </a:cubicBezTo>
                <a:cubicBezTo>
                  <a:pt x="182" y="500"/>
                  <a:pt x="182" y="500"/>
                  <a:pt x="182" y="500"/>
                </a:cubicBezTo>
                <a:cubicBezTo>
                  <a:pt x="183" y="500"/>
                  <a:pt x="184" y="500"/>
                  <a:pt x="185" y="501"/>
                </a:cubicBezTo>
                <a:cubicBezTo>
                  <a:pt x="186" y="501"/>
                  <a:pt x="187" y="501"/>
                  <a:pt x="187" y="501"/>
                </a:cubicBezTo>
                <a:cubicBezTo>
                  <a:pt x="188" y="501"/>
                  <a:pt x="188" y="501"/>
                  <a:pt x="189" y="500"/>
                </a:cubicBezTo>
                <a:cubicBezTo>
                  <a:pt x="189" y="500"/>
                  <a:pt x="190" y="500"/>
                  <a:pt x="191" y="500"/>
                </a:cubicBezTo>
                <a:cubicBezTo>
                  <a:pt x="192" y="500"/>
                  <a:pt x="194" y="501"/>
                  <a:pt x="197" y="503"/>
                </a:cubicBezTo>
                <a:cubicBezTo>
                  <a:pt x="200" y="504"/>
                  <a:pt x="203" y="506"/>
                  <a:pt x="204" y="506"/>
                </a:cubicBezTo>
                <a:cubicBezTo>
                  <a:pt x="205" y="506"/>
                  <a:pt x="207" y="506"/>
                  <a:pt x="208" y="506"/>
                </a:cubicBezTo>
                <a:cubicBezTo>
                  <a:pt x="210" y="506"/>
                  <a:pt x="211" y="506"/>
                  <a:pt x="212" y="506"/>
                </a:cubicBezTo>
                <a:cubicBezTo>
                  <a:pt x="212" y="506"/>
                  <a:pt x="212" y="506"/>
                  <a:pt x="213" y="506"/>
                </a:cubicBezTo>
                <a:cubicBezTo>
                  <a:pt x="213" y="506"/>
                  <a:pt x="214" y="505"/>
                  <a:pt x="215" y="505"/>
                </a:cubicBezTo>
                <a:cubicBezTo>
                  <a:pt x="216" y="505"/>
                  <a:pt x="218" y="506"/>
                  <a:pt x="219" y="506"/>
                </a:cubicBezTo>
                <a:cubicBezTo>
                  <a:pt x="220" y="506"/>
                  <a:pt x="221" y="506"/>
                  <a:pt x="222" y="507"/>
                </a:cubicBezTo>
                <a:cubicBezTo>
                  <a:pt x="222" y="507"/>
                  <a:pt x="222" y="507"/>
                  <a:pt x="222" y="507"/>
                </a:cubicBezTo>
                <a:cubicBezTo>
                  <a:pt x="223" y="507"/>
                  <a:pt x="223" y="507"/>
                  <a:pt x="224" y="508"/>
                </a:cubicBezTo>
                <a:cubicBezTo>
                  <a:pt x="224" y="509"/>
                  <a:pt x="226" y="510"/>
                  <a:pt x="227" y="511"/>
                </a:cubicBezTo>
                <a:cubicBezTo>
                  <a:pt x="227" y="511"/>
                  <a:pt x="227" y="511"/>
                  <a:pt x="227" y="511"/>
                </a:cubicBezTo>
                <a:cubicBezTo>
                  <a:pt x="228" y="511"/>
                  <a:pt x="228" y="511"/>
                  <a:pt x="228" y="511"/>
                </a:cubicBezTo>
                <a:cubicBezTo>
                  <a:pt x="230" y="512"/>
                  <a:pt x="235" y="513"/>
                  <a:pt x="236" y="514"/>
                </a:cubicBezTo>
                <a:cubicBezTo>
                  <a:pt x="236" y="515"/>
                  <a:pt x="236" y="515"/>
                  <a:pt x="235" y="516"/>
                </a:cubicBezTo>
                <a:cubicBezTo>
                  <a:pt x="235" y="516"/>
                  <a:pt x="235" y="517"/>
                  <a:pt x="235" y="517"/>
                </a:cubicBezTo>
                <a:cubicBezTo>
                  <a:pt x="236" y="517"/>
                  <a:pt x="236" y="517"/>
                  <a:pt x="236" y="517"/>
                </a:cubicBezTo>
                <a:cubicBezTo>
                  <a:pt x="237" y="518"/>
                  <a:pt x="237" y="518"/>
                  <a:pt x="238" y="518"/>
                </a:cubicBezTo>
                <a:cubicBezTo>
                  <a:pt x="239" y="517"/>
                  <a:pt x="241" y="516"/>
                  <a:pt x="242" y="515"/>
                </a:cubicBezTo>
                <a:cubicBezTo>
                  <a:pt x="242" y="515"/>
                  <a:pt x="242" y="515"/>
                  <a:pt x="242" y="515"/>
                </a:cubicBezTo>
                <a:cubicBezTo>
                  <a:pt x="242" y="515"/>
                  <a:pt x="242" y="515"/>
                  <a:pt x="243" y="515"/>
                </a:cubicBezTo>
                <a:cubicBezTo>
                  <a:pt x="243" y="515"/>
                  <a:pt x="244" y="514"/>
                  <a:pt x="244" y="514"/>
                </a:cubicBezTo>
                <a:cubicBezTo>
                  <a:pt x="245" y="514"/>
                  <a:pt x="247" y="514"/>
                  <a:pt x="247" y="514"/>
                </a:cubicBezTo>
                <a:cubicBezTo>
                  <a:pt x="247" y="514"/>
                  <a:pt x="248" y="515"/>
                  <a:pt x="249" y="516"/>
                </a:cubicBezTo>
                <a:cubicBezTo>
                  <a:pt x="250" y="516"/>
                  <a:pt x="250" y="517"/>
                  <a:pt x="250" y="517"/>
                </a:cubicBezTo>
                <a:cubicBezTo>
                  <a:pt x="251" y="517"/>
                  <a:pt x="250" y="516"/>
                  <a:pt x="250" y="516"/>
                </a:cubicBezTo>
                <a:cubicBezTo>
                  <a:pt x="250" y="515"/>
                  <a:pt x="251" y="515"/>
                  <a:pt x="251" y="514"/>
                </a:cubicBezTo>
                <a:cubicBezTo>
                  <a:pt x="251" y="514"/>
                  <a:pt x="252" y="513"/>
                  <a:pt x="253" y="514"/>
                </a:cubicBezTo>
                <a:cubicBezTo>
                  <a:pt x="253" y="514"/>
                  <a:pt x="253" y="514"/>
                  <a:pt x="254" y="515"/>
                </a:cubicBezTo>
                <a:cubicBezTo>
                  <a:pt x="255" y="516"/>
                  <a:pt x="257" y="517"/>
                  <a:pt x="258" y="517"/>
                </a:cubicBezTo>
                <a:cubicBezTo>
                  <a:pt x="258" y="517"/>
                  <a:pt x="259" y="518"/>
                  <a:pt x="260" y="518"/>
                </a:cubicBezTo>
                <a:cubicBezTo>
                  <a:pt x="262" y="518"/>
                  <a:pt x="264" y="518"/>
                  <a:pt x="265" y="519"/>
                </a:cubicBezTo>
                <a:cubicBezTo>
                  <a:pt x="265" y="519"/>
                  <a:pt x="265" y="519"/>
                  <a:pt x="265" y="519"/>
                </a:cubicBezTo>
                <a:cubicBezTo>
                  <a:pt x="265" y="520"/>
                  <a:pt x="264" y="521"/>
                  <a:pt x="264" y="522"/>
                </a:cubicBezTo>
                <a:cubicBezTo>
                  <a:pt x="263" y="523"/>
                  <a:pt x="263" y="523"/>
                  <a:pt x="263" y="523"/>
                </a:cubicBezTo>
                <a:cubicBezTo>
                  <a:pt x="263" y="524"/>
                  <a:pt x="265" y="525"/>
                  <a:pt x="266" y="526"/>
                </a:cubicBezTo>
                <a:cubicBezTo>
                  <a:pt x="267" y="527"/>
                  <a:pt x="269" y="528"/>
                  <a:pt x="269" y="528"/>
                </a:cubicBezTo>
                <a:cubicBezTo>
                  <a:pt x="269" y="528"/>
                  <a:pt x="270" y="528"/>
                  <a:pt x="270" y="528"/>
                </a:cubicBezTo>
                <a:cubicBezTo>
                  <a:pt x="271" y="528"/>
                  <a:pt x="271" y="528"/>
                  <a:pt x="271" y="528"/>
                </a:cubicBezTo>
                <a:cubicBezTo>
                  <a:pt x="272" y="527"/>
                  <a:pt x="273" y="528"/>
                  <a:pt x="274" y="529"/>
                </a:cubicBezTo>
                <a:cubicBezTo>
                  <a:pt x="274" y="529"/>
                  <a:pt x="275" y="529"/>
                  <a:pt x="275" y="529"/>
                </a:cubicBezTo>
                <a:cubicBezTo>
                  <a:pt x="275" y="529"/>
                  <a:pt x="275" y="529"/>
                  <a:pt x="276" y="529"/>
                </a:cubicBezTo>
                <a:cubicBezTo>
                  <a:pt x="277" y="529"/>
                  <a:pt x="278" y="528"/>
                  <a:pt x="279" y="529"/>
                </a:cubicBezTo>
                <a:cubicBezTo>
                  <a:pt x="280" y="529"/>
                  <a:pt x="281" y="531"/>
                  <a:pt x="282" y="533"/>
                </a:cubicBezTo>
                <a:cubicBezTo>
                  <a:pt x="282" y="534"/>
                  <a:pt x="283" y="534"/>
                  <a:pt x="283" y="535"/>
                </a:cubicBezTo>
                <a:cubicBezTo>
                  <a:pt x="283" y="535"/>
                  <a:pt x="284" y="535"/>
                  <a:pt x="285" y="535"/>
                </a:cubicBezTo>
                <a:cubicBezTo>
                  <a:pt x="286" y="536"/>
                  <a:pt x="287" y="536"/>
                  <a:pt x="287" y="537"/>
                </a:cubicBezTo>
                <a:cubicBezTo>
                  <a:pt x="287" y="537"/>
                  <a:pt x="287" y="537"/>
                  <a:pt x="287" y="538"/>
                </a:cubicBezTo>
                <a:cubicBezTo>
                  <a:pt x="287" y="539"/>
                  <a:pt x="288" y="540"/>
                  <a:pt x="288" y="541"/>
                </a:cubicBezTo>
                <a:cubicBezTo>
                  <a:pt x="289" y="541"/>
                  <a:pt x="290" y="541"/>
                  <a:pt x="291" y="541"/>
                </a:cubicBezTo>
                <a:cubicBezTo>
                  <a:pt x="292" y="541"/>
                  <a:pt x="293" y="541"/>
                  <a:pt x="294" y="541"/>
                </a:cubicBezTo>
                <a:cubicBezTo>
                  <a:pt x="294" y="541"/>
                  <a:pt x="294" y="540"/>
                  <a:pt x="295" y="539"/>
                </a:cubicBezTo>
                <a:cubicBezTo>
                  <a:pt x="296" y="538"/>
                  <a:pt x="297" y="536"/>
                  <a:pt x="297" y="536"/>
                </a:cubicBezTo>
                <a:cubicBezTo>
                  <a:pt x="298" y="535"/>
                  <a:pt x="299" y="535"/>
                  <a:pt x="300" y="534"/>
                </a:cubicBezTo>
                <a:cubicBezTo>
                  <a:pt x="300" y="534"/>
                  <a:pt x="300" y="534"/>
                  <a:pt x="300" y="534"/>
                </a:cubicBezTo>
                <a:cubicBezTo>
                  <a:pt x="301" y="534"/>
                  <a:pt x="302" y="533"/>
                  <a:pt x="303" y="532"/>
                </a:cubicBezTo>
                <a:cubicBezTo>
                  <a:pt x="303" y="532"/>
                  <a:pt x="303" y="531"/>
                  <a:pt x="303" y="531"/>
                </a:cubicBezTo>
                <a:cubicBezTo>
                  <a:pt x="302" y="530"/>
                  <a:pt x="301" y="529"/>
                  <a:pt x="299" y="528"/>
                </a:cubicBezTo>
                <a:cubicBezTo>
                  <a:pt x="297" y="525"/>
                  <a:pt x="296" y="521"/>
                  <a:pt x="294" y="519"/>
                </a:cubicBezTo>
                <a:cubicBezTo>
                  <a:pt x="292" y="517"/>
                  <a:pt x="292" y="516"/>
                  <a:pt x="291" y="515"/>
                </a:cubicBezTo>
                <a:cubicBezTo>
                  <a:pt x="291" y="513"/>
                  <a:pt x="289" y="513"/>
                  <a:pt x="288" y="512"/>
                </a:cubicBezTo>
                <a:cubicBezTo>
                  <a:pt x="287" y="511"/>
                  <a:pt x="290" y="504"/>
                  <a:pt x="291" y="502"/>
                </a:cubicBezTo>
                <a:cubicBezTo>
                  <a:pt x="292" y="499"/>
                  <a:pt x="291" y="496"/>
                  <a:pt x="290" y="496"/>
                </a:cubicBezTo>
                <a:cubicBezTo>
                  <a:pt x="289" y="497"/>
                  <a:pt x="289" y="500"/>
                  <a:pt x="288" y="501"/>
                </a:cubicBezTo>
                <a:cubicBezTo>
                  <a:pt x="287" y="503"/>
                  <a:pt x="286" y="501"/>
                  <a:pt x="285" y="500"/>
                </a:cubicBezTo>
                <a:cubicBezTo>
                  <a:pt x="285" y="499"/>
                  <a:pt x="286" y="496"/>
                  <a:pt x="287" y="495"/>
                </a:cubicBezTo>
                <a:cubicBezTo>
                  <a:pt x="287" y="493"/>
                  <a:pt x="285" y="490"/>
                  <a:pt x="284" y="488"/>
                </a:cubicBezTo>
                <a:cubicBezTo>
                  <a:pt x="283" y="487"/>
                  <a:pt x="280" y="486"/>
                  <a:pt x="279" y="486"/>
                </a:cubicBezTo>
                <a:cubicBezTo>
                  <a:pt x="277" y="486"/>
                  <a:pt x="277" y="486"/>
                  <a:pt x="277" y="484"/>
                </a:cubicBezTo>
                <a:cubicBezTo>
                  <a:pt x="276" y="483"/>
                  <a:pt x="277" y="482"/>
                  <a:pt x="278" y="481"/>
                </a:cubicBezTo>
                <a:cubicBezTo>
                  <a:pt x="278" y="480"/>
                  <a:pt x="282" y="476"/>
                  <a:pt x="283" y="475"/>
                </a:cubicBezTo>
                <a:cubicBezTo>
                  <a:pt x="284" y="474"/>
                  <a:pt x="287" y="468"/>
                  <a:pt x="287" y="466"/>
                </a:cubicBezTo>
                <a:cubicBezTo>
                  <a:pt x="287" y="464"/>
                  <a:pt x="284" y="462"/>
                  <a:pt x="286" y="462"/>
                </a:cubicBezTo>
                <a:cubicBezTo>
                  <a:pt x="287" y="462"/>
                  <a:pt x="288" y="464"/>
                  <a:pt x="290" y="464"/>
                </a:cubicBezTo>
                <a:cubicBezTo>
                  <a:pt x="291" y="464"/>
                  <a:pt x="289" y="462"/>
                  <a:pt x="290" y="462"/>
                </a:cubicBezTo>
                <a:cubicBezTo>
                  <a:pt x="290" y="461"/>
                  <a:pt x="292" y="464"/>
                  <a:pt x="293" y="464"/>
                </a:cubicBezTo>
                <a:cubicBezTo>
                  <a:pt x="295" y="465"/>
                  <a:pt x="293" y="462"/>
                  <a:pt x="294" y="462"/>
                </a:cubicBezTo>
                <a:cubicBezTo>
                  <a:pt x="295" y="462"/>
                  <a:pt x="296" y="462"/>
                  <a:pt x="298" y="462"/>
                </a:cubicBezTo>
                <a:cubicBezTo>
                  <a:pt x="300" y="461"/>
                  <a:pt x="299" y="459"/>
                  <a:pt x="302" y="459"/>
                </a:cubicBezTo>
                <a:cubicBezTo>
                  <a:pt x="305" y="459"/>
                  <a:pt x="305" y="461"/>
                  <a:pt x="307" y="460"/>
                </a:cubicBezTo>
                <a:cubicBezTo>
                  <a:pt x="308" y="459"/>
                  <a:pt x="306" y="457"/>
                  <a:pt x="305" y="456"/>
                </a:cubicBezTo>
                <a:cubicBezTo>
                  <a:pt x="304" y="454"/>
                  <a:pt x="306" y="455"/>
                  <a:pt x="309" y="455"/>
                </a:cubicBezTo>
                <a:cubicBezTo>
                  <a:pt x="312" y="455"/>
                  <a:pt x="312" y="454"/>
                  <a:pt x="312" y="453"/>
                </a:cubicBezTo>
                <a:cubicBezTo>
                  <a:pt x="312" y="452"/>
                  <a:pt x="312" y="452"/>
                  <a:pt x="312" y="451"/>
                </a:cubicBezTo>
                <a:cubicBezTo>
                  <a:pt x="311" y="451"/>
                  <a:pt x="309" y="451"/>
                  <a:pt x="308" y="450"/>
                </a:cubicBezTo>
                <a:cubicBezTo>
                  <a:pt x="307" y="450"/>
                  <a:pt x="306" y="450"/>
                  <a:pt x="305" y="449"/>
                </a:cubicBezTo>
                <a:cubicBezTo>
                  <a:pt x="305" y="449"/>
                  <a:pt x="305" y="449"/>
                  <a:pt x="305" y="449"/>
                </a:cubicBezTo>
                <a:cubicBezTo>
                  <a:pt x="305" y="449"/>
                  <a:pt x="305" y="449"/>
                  <a:pt x="304" y="449"/>
                </a:cubicBezTo>
                <a:cubicBezTo>
                  <a:pt x="303" y="448"/>
                  <a:pt x="302" y="448"/>
                  <a:pt x="302" y="446"/>
                </a:cubicBezTo>
                <a:cubicBezTo>
                  <a:pt x="302" y="445"/>
                  <a:pt x="303" y="445"/>
                  <a:pt x="303" y="444"/>
                </a:cubicBezTo>
                <a:cubicBezTo>
                  <a:pt x="304" y="443"/>
                  <a:pt x="305" y="443"/>
                  <a:pt x="305" y="443"/>
                </a:cubicBezTo>
                <a:cubicBezTo>
                  <a:pt x="306" y="442"/>
                  <a:pt x="306" y="443"/>
                  <a:pt x="307" y="443"/>
                </a:cubicBezTo>
                <a:cubicBezTo>
                  <a:pt x="308" y="443"/>
                  <a:pt x="310" y="443"/>
                  <a:pt x="310" y="443"/>
                </a:cubicBezTo>
                <a:cubicBezTo>
                  <a:pt x="310" y="443"/>
                  <a:pt x="310" y="443"/>
                  <a:pt x="310" y="443"/>
                </a:cubicBezTo>
                <a:cubicBezTo>
                  <a:pt x="310" y="443"/>
                  <a:pt x="310" y="442"/>
                  <a:pt x="310" y="442"/>
                </a:cubicBezTo>
                <a:cubicBezTo>
                  <a:pt x="311" y="441"/>
                  <a:pt x="311" y="441"/>
                  <a:pt x="311" y="440"/>
                </a:cubicBezTo>
                <a:cubicBezTo>
                  <a:pt x="310" y="439"/>
                  <a:pt x="308" y="437"/>
                  <a:pt x="306" y="434"/>
                </a:cubicBezTo>
                <a:cubicBezTo>
                  <a:pt x="304" y="431"/>
                  <a:pt x="301" y="428"/>
                  <a:pt x="300" y="427"/>
                </a:cubicBezTo>
                <a:cubicBezTo>
                  <a:pt x="300" y="427"/>
                  <a:pt x="299" y="427"/>
                  <a:pt x="299" y="427"/>
                </a:cubicBezTo>
                <a:cubicBezTo>
                  <a:pt x="299" y="427"/>
                  <a:pt x="299" y="427"/>
                  <a:pt x="299" y="427"/>
                </a:cubicBezTo>
                <a:cubicBezTo>
                  <a:pt x="298" y="426"/>
                  <a:pt x="298" y="426"/>
                  <a:pt x="296" y="426"/>
                </a:cubicBezTo>
                <a:cubicBezTo>
                  <a:pt x="296" y="426"/>
                  <a:pt x="294" y="426"/>
                  <a:pt x="292" y="426"/>
                </a:cubicBezTo>
                <a:cubicBezTo>
                  <a:pt x="290" y="427"/>
                  <a:pt x="288" y="427"/>
                  <a:pt x="287" y="427"/>
                </a:cubicBezTo>
                <a:cubicBezTo>
                  <a:pt x="286" y="427"/>
                  <a:pt x="284" y="427"/>
                  <a:pt x="284" y="426"/>
                </a:cubicBezTo>
                <a:cubicBezTo>
                  <a:pt x="284" y="426"/>
                  <a:pt x="284" y="426"/>
                  <a:pt x="284" y="426"/>
                </a:cubicBezTo>
                <a:cubicBezTo>
                  <a:pt x="283" y="426"/>
                  <a:pt x="282" y="425"/>
                  <a:pt x="282" y="424"/>
                </a:cubicBezTo>
                <a:cubicBezTo>
                  <a:pt x="282" y="424"/>
                  <a:pt x="282" y="423"/>
                  <a:pt x="282" y="421"/>
                </a:cubicBezTo>
                <a:cubicBezTo>
                  <a:pt x="282" y="421"/>
                  <a:pt x="282" y="421"/>
                  <a:pt x="282" y="421"/>
                </a:cubicBezTo>
                <a:cubicBezTo>
                  <a:pt x="283" y="419"/>
                  <a:pt x="283" y="417"/>
                  <a:pt x="283" y="416"/>
                </a:cubicBezTo>
                <a:cubicBezTo>
                  <a:pt x="283" y="416"/>
                  <a:pt x="280" y="415"/>
                  <a:pt x="278" y="415"/>
                </a:cubicBezTo>
                <a:cubicBezTo>
                  <a:pt x="276" y="414"/>
                  <a:pt x="275" y="414"/>
                  <a:pt x="274" y="413"/>
                </a:cubicBezTo>
                <a:cubicBezTo>
                  <a:pt x="274" y="413"/>
                  <a:pt x="274" y="411"/>
                  <a:pt x="274" y="409"/>
                </a:cubicBezTo>
                <a:cubicBezTo>
                  <a:pt x="275" y="408"/>
                  <a:pt x="275" y="407"/>
                  <a:pt x="276" y="406"/>
                </a:cubicBezTo>
                <a:cubicBezTo>
                  <a:pt x="277" y="406"/>
                  <a:pt x="278" y="404"/>
                  <a:pt x="279" y="403"/>
                </a:cubicBezTo>
                <a:cubicBezTo>
                  <a:pt x="280" y="401"/>
                  <a:pt x="282" y="400"/>
                  <a:pt x="282" y="399"/>
                </a:cubicBezTo>
                <a:cubicBezTo>
                  <a:pt x="282" y="399"/>
                  <a:pt x="281" y="398"/>
                  <a:pt x="280" y="397"/>
                </a:cubicBezTo>
                <a:cubicBezTo>
                  <a:pt x="279" y="396"/>
                  <a:pt x="279" y="396"/>
                  <a:pt x="278" y="395"/>
                </a:cubicBezTo>
                <a:cubicBezTo>
                  <a:pt x="278" y="394"/>
                  <a:pt x="278" y="392"/>
                  <a:pt x="279" y="391"/>
                </a:cubicBezTo>
                <a:cubicBezTo>
                  <a:pt x="279" y="389"/>
                  <a:pt x="280" y="387"/>
                  <a:pt x="280" y="386"/>
                </a:cubicBezTo>
                <a:cubicBezTo>
                  <a:pt x="281" y="385"/>
                  <a:pt x="282" y="384"/>
                  <a:pt x="283" y="384"/>
                </a:cubicBezTo>
                <a:cubicBezTo>
                  <a:pt x="283" y="384"/>
                  <a:pt x="283" y="384"/>
                  <a:pt x="283" y="384"/>
                </a:cubicBezTo>
                <a:cubicBezTo>
                  <a:pt x="284" y="383"/>
                  <a:pt x="284" y="383"/>
                  <a:pt x="285" y="382"/>
                </a:cubicBezTo>
                <a:cubicBezTo>
                  <a:pt x="285" y="382"/>
                  <a:pt x="286" y="380"/>
                  <a:pt x="287" y="378"/>
                </a:cubicBezTo>
                <a:cubicBezTo>
                  <a:pt x="287" y="377"/>
                  <a:pt x="287" y="376"/>
                  <a:pt x="288" y="375"/>
                </a:cubicBezTo>
                <a:cubicBezTo>
                  <a:pt x="288" y="375"/>
                  <a:pt x="289" y="375"/>
                  <a:pt x="290" y="375"/>
                </a:cubicBezTo>
                <a:cubicBezTo>
                  <a:pt x="291" y="375"/>
                  <a:pt x="292" y="375"/>
                  <a:pt x="292" y="375"/>
                </a:cubicBezTo>
                <a:cubicBezTo>
                  <a:pt x="292" y="375"/>
                  <a:pt x="292" y="375"/>
                  <a:pt x="292" y="375"/>
                </a:cubicBezTo>
                <a:cubicBezTo>
                  <a:pt x="293" y="375"/>
                  <a:pt x="293" y="376"/>
                  <a:pt x="294" y="378"/>
                </a:cubicBezTo>
                <a:cubicBezTo>
                  <a:pt x="297" y="381"/>
                  <a:pt x="301" y="386"/>
                  <a:pt x="302" y="386"/>
                </a:cubicBezTo>
                <a:cubicBezTo>
                  <a:pt x="302" y="386"/>
                  <a:pt x="302" y="386"/>
                  <a:pt x="302" y="386"/>
                </a:cubicBezTo>
                <a:cubicBezTo>
                  <a:pt x="303" y="386"/>
                  <a:pt x="305" y="385"/>
                  <a:pt x="306" y="384"/>
                </a:cubicBezTo>
                <a:cubicBezTo>
                  <a:pt x="306" y="384"/>
                  <a:pt x="306" y="384"/>
                  <a:pt x="306" y="384"/>
                </a:cubicBezTo>
                <a:cubicBezTo>
                  <a:pt x="308" y="383"/>
                  <a:pt x="309" y="383"/>
                  <a:pt x="309" y="383"/>
                </a:cubicBezTo>
                <a:cubicBezTo>
                  <a:pt x="309" y="383"/>
                  <a:pt x="308" y="382"/>
                  <a:pt x="308" y="382"/>
                </a:cubicBezTo>
                <a:cubicBezTo>
                  <a:pt x="307" y="382"/>
                  <a:pt x="305" y="381"/>
                  <a:pt x="305" y="380"/>
                </a:cubicBezTo>
                <a:cubicBezTo>
                  <a:pt x="305" y="378"/>
                  <a:pt x="304" y="375"/>
                  <a:pt x="303" y="373"/>
                </a:cubicBezTo>
                <a:cubicBezTo>
                  <a:pt x="303" y="371"/>
                  <a:pt x="303" y="369"/>
                  <a:pt x="303" y="369"/>
                </a:cubicBezTo>
                <a:cubicBezTo>
                  <a:pt x="304" y="369"/>
                  <a:pt x="304" y="369"/>
                  <a:pt x="306" y="369"/>
                </a:cubicBezTo>
                <a:cubicBezTo>
                  <a:pt x="307" y="370"/>
                  <a:pt x="308" y="371"/>
                  <a:pt x="309" y="370"/>
                </a:cubicBezTo>
                <a:cubicBezTo>
                  <a:pt x="309" y="370"/>
                  <a:pt x="311" y="369"/>
                  <a:pt x="313" y="368"/>
                </a:cubicBezTo>
                <a:cubicBezTo>
                  <a:pt x="314" y="368"/>
                  <a:pt x="315" y="367"/>
                  <a:pt x="315" y="366"/>
                </a:cubicBezTo>
                <a:cubicBezTo>
                  <a:pt x="316" y="365"/>
                  <a:pt x="316" y="365"/>
                  <a:pt x="315" y="364"/>
                </a:cubicBezTo>
                <a:cubicBezTo>
                  <a:pt x="315" y="364"/>
                  <a:pt x="315" y="364"/>
                  <a:pt x="316" y="363"/>
                </a:cubicBezTo>
                <a:cubicBezTo>
                  <a:pt x="317" y="362"/>
                  <a:pt x="320" y="361"/>
                  <a:pt x="323" y="359"/>
                </a:cubicBezTo>
                <a:cubicBezTo>
                  <a:pt x="325" y="358"/>
                  <a:pt x="328" y="358"/>
                  <a:pt x="328" y="357"/>
                </a:cubicBezTo>
                <a:cubicBezTo>
                  <a:pt x="328" y="357"/>
                  <a:pt x="329" y="356"/>
                  <a:pt x="329" y="355"/>
                </a:cubicBezTo>
                <a:cubicBezTo>
                  <a:pt x="329" y="354"/>
                  <a:pt x="330" y="353"/>
                  <a:pt x="330" y="353"/>
                </a:cubicBezTo>
                <a:cubicBezTo>
                  <a:pt x="330" y="353"/>
                  <a:pt x="330" y="353"/>
                  <a:pt x="330" y="353"/>
                </a:cubicBezTo>
                <a:cubicBezTo>
                  <a:pt x="331" y="352"/>
                  <a:pt x="332" y="352"/>
                  <a:pt x="333" y="353"/>
                </a:cubicBezTo>
                <a:cubicBezTo>
                  <a:pt x="334" y="353"/>
                  <a:pt x="335" y="353"/>
                  <a:pt x="335" y="353"/>
                </a:cubicBezTo>
                <a:cubicBezTo>
                  <a:pt x="336" y="352"/>
                  <a:pt x="336" y="351"/>
                  <a:pt x="336" y="351"/>
                </a:cubicBezTo>
                <a:cubicBezTo>
                  <a:pt x="336" y="350"/>
                  <a:pt x="336" y="350"/>
                  <a:pt x="336" y="349"/>
                </a:cubicBezTo>
                <a:cubicBezTo>
                  <a:pt x="337" y="348"/>
                  <a:pt x="338" y="348"/>
                  <a:pt x="339" y="349"/>
                </a:cubicBezTo>
                <a:cubicBezTo>
                  <a:pt x="340" y="349"/>
                  <a:pt x="343" y="351"/>
                  <a:pt x="344" y="351"/>
                </a:cubicBezTo>
                <a:cubicBezTo>
                  <a:pt x="344" y="351"/>
                  <a:pt x="344" y="351"/>
                  <a:pt x="344" y="351"/>
                </a:cubicBezTo>
                <a:cubicBezTo>
                  <a:pt x="345" y="352"/>
                  <a:pt x="345" y="352"/>
                  <a:pt x="345" y="352"/>
                </a:cubicBezTo>
                <a:cubicBezTo>
                  <a:pt x="345" y="352"/>
                  <a:pt x="345" y="352"/>
                  <a:pt x="345" y="352"/>
                </a:cubicBezTo>
                <a:cubicBezTo>
                  <a:pt x="346" y="352"/>
                  <a:pt x="346" y="353"/>
                  <a:pt x="346" y="354"/>
                </a:cubicBezTo>
                <a:cubicBezTo>
                  <a:pt x="346" y="355"/>
                  <a:pt x="346" y="355"/>
                  <a:pt x="347" y="355"/>
                </a:cubicBezTo>
                <a:cubicBezTo>
                  <a:pt x="347" y="355"/>
                  <a:pt x="348" y="355"/>
                  <a:pt x="349" y="355"/>
                </a:cubicBezTo>
                <a:cubicBezTo>
                  <a:pt x="349" y="355"/>
                  <a:pt x="349" y="355"/>
                  <a:pt x="349" y="355"/>
                </a:cubicBezTo>
                <a:cubicBezTo>
                  <a:pt x="349" y="355"/>
                  <a:pt x="350" y="355"/>
                  <a:pt x="350" y="355"/>
                </a:cubicBezTo>
                <a:cubicBezTo>
                  <a:pt x="350" y="354"/>
                  <a:pt x="350" y="354"/>
                  <a:pt x="350" y="354"/>
                </a:cubicBezTo>
                <a:cubicBezTo>
                  <a:pt x="351" y="352"/>
                  <a:pt x="351" y="352"/>
                  <a:pt x="352" y="351"/>
                </a:cubicBezTo>
                <a:cubicBezTo>
                  <a:pt x="353" y="350"/>
                  <a:pt x="355" y="350"/>
                  <a:pt x="356" y="350"/>
                </a:cubicBezTo>
                <a:cubicBezTo>
                  <a:pt x="357" y="349"/>
                  <a:pt x="358" y="349"/>
                  <a:pt x="358" y="349"/>
                </a:cubicBezTo>
                <a:cubicBezTo>
                  <a:pt x="359" y="349"/>
                  <a:pt x="360" y="351"/>
                  <a:pt x="361" y="352"/>
                </a:cubicBezTo>
                <a:cubicBezTo>
                  <a:pt x="361" y="354"/>
                  <a:pt x="362" y="355"/>
                  <a:pt x="363" y="355"/>
                </a:cubicBezTo>
                <a:cubicBezTo>
                  <a:pt x="363" y="355"/>
                  <a:pt x="365" y="355"/>
                  <a:pt x="367" y="355"/>
                </a:cubicBezTo>
                <a:cubicBezTo>
                  <a:pt x="370" y="354"/>
                  <a:pt x="373" y="354"/>
                  <a:pt x="374" y="354"/>
                </a:cubicBezTo>
                <a:cubicBezTo>
                  <a:pt x="374" y="354"/>
                  <a:pt x="377" y="356"/>
                  <a:pt x="380" y="359"/>
                </a:cubicBezTo>
                <a:cubicBezTo>
                  <a:pt x="383" y="361"/>
                  <a:pt x="387" y="364"/>
                  <a:pt x="387" y="365"/>
                </a:cubicBezTo>
                <a:cubicBezTo>
                  <a:pt x="387" y="366"/>
                  <a:pt x="388" y="367"/>
                  <a:pt x="388" y="368"/>
                </a:cubicBezTo>
                <a:cubicBezTo>
                  <a:pt x="388" y="371"/>
                  <a:pt x="388" y="373"/>
                  <a:pt x="389" y="373"/>
                </a:cubicBezTo>
                <a:cubicBezTo>
                  <a:pt x="389" y="373"/>
                  <a:pt x="390" y="371"/>
                  <a:pt x="391" y="369"/>
                </a:cubicBezTo>
                <a:cubicBezTo>
                  <a:pt x="392" y="368"/>
                  <a:pt x="393" y="366"/>
                  <a:pt x="394" y="366"/>
                </a:cubicBezTo>
                <a:cubicBezTo>
                  <a:pt x="395" y="365"/>
                  <a:pt x="397" y="367"/>
                  <a:pt x="400" y="369"/>
                </a:cubicBezTo>
                <a:cubicBezTo>
                  <a:pt x="402" y="370"/>
                  <a:pt x="405" y="372"/>
                  <a:pt x="405" y="372"/>
                </a:cubicBezTo>
                <a:cubicBezTo>
                  <a:pt x="406" y="372"/>
                  <a:pt x="408" y="371"/>
                  <a:pt x="409" y="371"/>
                </a:cubicBezTo>
                <a:cubicBezTo>
                  <a:pt x="410" y="370"/>
                  <a:pt x="411" y="369"/>
                  <a:pt x="411" y="369"/>
                </a:cubicBezTo>
                <a:cubicBezTo>
                  <a:pt x="411" y="369"/>
                  <a:pt x="411" y="369"/>
                  <a:pt x="411" y="368"/>
                </a:cubicBezTo>
                <a:cubicBezTo>
                  <a:pt x="411" y="367"/>
                  <a:pt x="411" y="367"/>
                  <a:pt x="412" y="366"/>
                </a:cubicBezTo>
                <a:cubicBezTo>
                  <a:pt x="413" y="365"/>
                  <a:pt x="413" y="366"/>
                  <a:pt x="414" y="366"/>
                </a:cubicBezTo>
                <a:cubicBezTo>
                  <a:pt x="414" y="366"/>
                  <a:pt x="414" y="366"/>
                  <a:pt x="415" y="365"/>
                </a:cubicBezTo>
                <a:cubicBezTo>
                  <a:pt x="416" y="364"/>
                  <a:pt x="416" y="364"/>
                  <a:pt x="416" y="364"/>
                </a:cubicBezTo>
                <a:cubicBezTo>
                  <a:pt x="416" y="364"/>
                  <a:pt x="416" y="363"/>
                  <a:pt x="417" y="363"/>
                </a:cubicBezTo>
                <a:cubicBezTo>
                  <a:pt x="417" y="363"/>
                  <a:pt x="417" y="363"/>
                  <a:pt x="417" y="363"/>
                </a:cubicBezTo>
                <a:cubicBezTo>
                  <a:pt x="418" y="362"/>
                  <a:pt x="420" y="362"/>
                  <a:pt x="423" y="361"/>
                </a:cubicBezTo>
                <a:cubicBezTo>
                  <a:pt x="425" y="361"/>
                  <a:pt x="428" y="361"/>
                  <a:pt x="428" y="362"/>
                </a:cubicBezTo>
                <a:cubicBezTo>
                  <a:pt x="429" y="362"/>
                  <a:pt x="429" y="362"/>
                  <a:pt x="429" y="363"/>
                </a:cubicBezTo>
                <a:cubicBezTo>
                  <a:pt x="429" y="363"/>
                  <a:pt x="429" y="363"/>
                  <a:pt x="429" y="363"/>
                </a:cubicBezTo>
                <a:cubicBezTo>
                  <a:pt x="431" y="364"/>
                  <a:pt x="432" y="366"/>
                  <a:pt x="433" y="365"/>
                </a:cubicBezTo>
                <a:cubicBezTo>
                  <a:pt x="434" y="365"/>
                  <a:pt x="434" y="365"/>
                  <a:pt x="435" y="365"/>
                </a:cubicBezTo>
                <a:cubicBezTo>
                  <a:pt x="435" y="365"/>
                  <a:pt x="435" y="365"/>
                  <a:pt x="435" y="365"/>
                </a:cubicBezTo>
                <a:cubicBezTo>
                  <a:pt x="435" y="365"/>
                  <a:pt x="435" y="365"/>
                  <a:pt x="435" y="365"/>
                </a:cubicBezTo>
                <a:cubicBezTo>
                  <a:pt x="435" y="365"/>
                  <a:pt x="435" y="365"/>
                  <a:pt x="435" y="364"/>
                </a:cubicBezTo>
                <a:cubicBezTo>
                  <a:pt x="435" y="363"/>
                  <a:pt x="435" y="363"/>
                  <a:pt x="437" y="362"/>
                </a:cubicBezTo>
                <a:cubicBezTo>
                  <a:pt x="439" y="361"/>
                  <a:pt x="442" y="361"/>
                  <a:pt x="443" y="361"/>
                </a:cubicBezTo>
                <a:cubicBezTo>
                  <a:pt x="443" y="361"/>
                  <a:pt x="443" y="361"/>
                  <a:pt x="443" y="361"/>
                </a:cubicBezTo>
                <a:cubicBezTo>
                  <a:pt x="443" y="361"/>
                  <a:pt x="445" y="362"/>
                  <a:pt x="446" y="362"/>
                </a:cubicBezTo>
                <a:cubicBezTo>
                  <a:pt x="447" y="363"/>
                  <a:pt x="448" y="363"/>
                  <a:pt x="449" y="364"/>
                </a:cubicBezTo>
                <a:cubicBezTo>
                  <a:pt x="449" y="364"/>
                  <a:pt x="449" y="364"/>
                  <a:pt x="449" y="364"/>
                </a:cubicBezTo>
                <a:cubicBezTo>
                  <a:pt x="449" y="364"/>
                  <a:pt x="449" y="365"/>
                  <a:pt x="448" y="365"/>
                </a:cubicBezTo>
                <a:cubicBezTo>
                  <a:pt x="448" y="366"/>
                  <a:pt x="448" y="366"/>
                  <a:pt x="449" y="367"/>
                </a:cubicBezTo>
                <a:cubicBezTo>
                  <a:pt x="451" y="368"/>
                  <a:pt x="454" y="369"/>
                  <a:pt x="456" y="369"/>
                </a:cubicBezTo>
                <a:cubicBezTo>
                  <a:pt x="456" y="369"/>
                  <a:pt x="456" y="369"/>
                  <a:pt x="456" y="369"/>
                </a:cubicBezTo>
                <a:cubicBezTo>
                  <a:pt x="456" y="0"/>
                  <a:pt x="456" y="0"/>
                  <a:pt x="456" y="0"/>
                </a:cubicBezTo>
                <a:cubicBezTo>
                  <a:pt x="308" y="0"/>
                  <a:pt x="308" y="0"/>
                  <a:pt x="308" y="0"/>
                </a:cubicBezTo>
                <a:cubicBezTo>
                  <a:pt x="308" y="0"/>
                  <a:pt x="307" y="1"/>
                  <a:pt x="307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5" name="Freeform 121"/>
          <p:cNvSpPr>
            <a:spLocks/>
          </p:cNvSpPr>
          <p:nvPr/>
        </p:nvSpPr>
        <p:spPr bwMode="auto">
          <a:xfrm>
            <a:off x="7421687" y="3335338"/>
            <a:ext cx="1724025" cy="1811338"/>
          </a:xfrm>
          <a:custGeom>
            <a:avLst/>
            <a:gdLst>
              <a:gd name="T0" fmla="*/ 172 w 181"/>
              <a:gd name="T1" fmla="*/ 14 h 190"/>
              <a:gd name="T2" fmla="*/ 162 w 181"/>
              <a:gd name="T3" fmla="*/ 13 h 190"/>
              <a:gd name="T4" fmla="*/ 160 w 181"/>
              <a:gd name="T5" fmla="*/ 17 h 190"/>
              <a:gd name="T6" fmla="*/ 148 w 181"/>
              <a:gd name="T7" fmla="*/ 13 h 190"/>
              <a:gd name="T8" fmla="*/ 141 w 181"/>
              <a:gd name="T9" fmla="*/ 16 h 190"/>
              <a:gd name="T10" fmla="*/ 137 w 181"/>
              <a:gd name="T11" fmla="*/ 19 h 190"/>
              <a:gd name="T12" fmla="*/ 119 w 181"/>
              <a:gd name="T13" fmla="*/ 17 h 190"/>
              <a:gd name="T14" fmla="*/ 111 w 181"/>
              <a:gd name="T15" fmla="*/ 16 h 190"/>
              <a:gd name="T16" fmla="*/ 88 w 181"/>
              <a:gd name="T17" fmla="*/ 6 h 190"/>
              <a:gd name="T18" fmla="*/ 81 w 181"/>
              <a:gd name="T19" fmla="*/ 1 h 190"/>
              <a:gd name="T20" fmla="*/ 74 w 181"/>
              <a:gd name="T21" fmla="*/ 7 h 190"/>
              <a:gd name="T22" fmla="*/ 69 w 181"/>
              <a:gd name="T23" fmla="*/ 3 h 190"/>
              <a:gd name="T24" fmla="*/ 63 w 181"/>
              <a:gd name="T25" fmla="*/ 0 h 190"/>
              <a:gd name="T26" fmla="*/ 56 w 181"/>
              <a:gd name="T27" fmla="*/ 4 h 190"/>
              <a:gd name="T28" fmla="*/ 49 w 181"/>
              <a:gd name="T29" fmla="*/ 11 h 190"/>
              <a:gd name="T30" fmla="*/ 41 w 181"/>
              <a:gd name="T31" fmla="*/ 17 h 190"/>
              <a:gd name="T32" fmla="*/ 30 w 181"/>
              <a:gd name="T33" fmla="*/ 21 h 190"/>
              <a:gd name="T34" fmla="*/ 33 w 181"/>
              <a:gd name="T35" fmla="*/ 31 h 190"/>
              <a:gd name="T36" fmla="*/ 35 w 181"/>
              <a:gd name="T37" fmla="*/ 32 h 190"/>
              <a:gd name="T38" fmla="*/ 27 w 181"/>
              <a:gd name="T39" fmla="*/ 37 h 190"/>
              <a:gd name="T40" fmla="*/ 15 w 181"/>
              <a:gd name="T41" fmla="*/ 26 h 190"/>
              <a:gd name="T42" fmla="*/ 9 w 181"/>
              <a:gd name="T43" fmla="*/ 35 h 190"/>
              <a:gd name="T44" fmla="*/ 5 w 181"/>
              <a:gd name="T45" fmla="*/ 44 h 190"/>
              <a:gd name="T46" fmla="*/ 2 w 181"/>
              <a:gd name="T47" fmla="*/ 57 h 190"/>
              <a:gd name="T48" fmla="*/ 9 w 181"/>
              <a:gd name="T49" fmla="*/ 66 h 190"/>
              <a:gd name="T50" fmla="*/ 9 w 181"/>
              <a:gd name="T51" fmla="*/ 75 h 190"/>
              <a:gd name="T52" fmla="*/ 21 w 181"/>
              <a:gd name="T53" fmla="*/ 74 h 190"/>
              <a:gd name="T54" fmla="*/ 32 w 181"/>
              <a:gd name="T55" fmla="*/ 83 h 190"/>
              <a:gd name="T56" fmla="*/ 36 w 181"/>
              <a:gd name="T57" fmla="*/ 94 h 190"/>
              <a:gd name="T58" fmla="*/ 29 w 181"/>
              <a:gd name="T59" fmla="*/ 95 h 190"/>
              <a:gd name="T60" fmla="*/ 31 w 181"/>
              <a:gd name="T61" fmla="*/ 98 h 190"/>
              <a:gd name="T62" fmla="*/ 49 w 181"/>
              <a:gd name="T63" fmla="*/ 96 h 190"/>
              <a:gd name="T64" fmla="*/ 82 w 181"/>
              <a:gd name="T65" fmla="*/ 92 h 190"/>
              <a:gd name="T66" fmla="*/ 96 w 181"/>
              <a:gd name="T67" fmla="*/ 107 h 190"/>
              <a:gd name="T68" fmla="*/ 109 w 181"/>
              <a:gd name="T69" fmla="*/ 115 h 190"/>
              <a:gd name="T70" fmla="*/ 98 w 181"/>
              <a:gd name="T71" fmla="*/ 133 h 190"/>
              <a:gd name="T72" fmla="*/ 105 w 181"/>
              <a:gd name="T73" fmla="*/ 121 h 190"/>
              <a:gd name="T74" fmla="*/ 73 w 181"/>
              <a:gd name="T75" fmla="*/ 120 h 190"/>
              <a:gd name="T76" fmla="*/ 68 w 181"/>
              <a:gd name="T77" fmla="*/ 131 h 190"/>
              <a:gd name="T78" fmla="*/ 55 w 181"/>
              <a:gd name="T79" fmla="*/ 131 h 190"/>
              <a:gd name="T80" fmla="*/ 65 w 181"/>
              <a:gd name="T81" fmla="*/ 146 h 190"/>
              <a:gd name="T82" fmla="*/ 77 w 181"/>
              <a:gd name="T83" fmla="*/ 162 h 190"/>
              <a:gd name="T84" fmla="*/ 87 w 181"/>
              <a:gd name="T85" fmla="*/ 170 h 190"/>
              <a:gd name="T86" fmla="*/ 93 w 181"/>
              <a:gd name="T87" fmla="*/ 175 h 190"/>
              <a:gd name="T88" fmla="*/ 118 w 181"/>
              <a:gd name="T89" fmla="*/ 178 h 190"/>
              <a:gd name="T90" fmla="*/ 127 w 181"/>
              <a:gd name="T91" fmla="*/ 189 h 190"/>
              <a:gd name="T92" fmla="*/ 135 w 181"/>
              <a:gd name="T93" fmla="*/ 124 h 190"/>
              <a:gd name="T94" fmla="*/ 181 w 181"/>
              <a:gd name="T95" fmla="*/ 21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81" h="190">
                <a:moveTo>
                  <a:pt x="174" y="19"/>
                </a:moveTo>
                <a:cubicBezTo>
                  <a:pt x="171" y="17"/>
                  <a:pt x="172" y="16"/>
                  <a:pt x="172" y="15"/>
                </a:cubicBezTo>
                <a:cubicBezTo>
                  <a:pt x="172" y="14"/>
                  <a:pt x="172" y="15"/>
                  <a:pt x="172" y="14"/>
                </a:cubicBezTo>
                <a:cubicBezTo>
                  <a:pt x="172" y="14"/>
                  <a:pt x="172" y="14"/>
                  <a:pt x="172" y="14"/>
                </a:cubicBezTo>
                <a:cubicBezTo>
                  <a:pt x="172" y="14"/>
                  <a:pt x="171" y="14"/>
                  <a:pt x="171" y="14"/>
                </a:cubicBezTo>
                <a:cubicBezTo>
                  <a:pt x="169" y="13"/>
                  <a:pt x="168" y="13"/>
                  <a:pt x="168" y="12"/>
                </a:cubicBezTo>
                <a:cubicBezTo>
                  <a:pt x="168" y="12"/>
                  <a:pt x="168" y="12"/>
                  <a:pt x="168" y="12"/>
                </a:cubicBezTo>
                <a:cubicBezTo>
                  <a:pt x="167" y="12"/>
                  <a:pt x="164" y="12"/>
                  <a:pt x="162" y="13"/>
                </a:cubicBezTo>
                <a:cubicBezTo>
                  <a:pt x="161" y="13"/>
                  <a:pt x="161" y="14"/>
                  <a:pt x="162" y="14"/>
                </a:cubicBezTo>
                <a:cubicBezTo>
                  <a:pt x="162" y="14"/>
                  <a:pt x="162" y="15"/>
                  <a:pt x="162" y="15"/>
                </a:cubicBezTo>
                <a:cubicBezTo>
                  <a:pt x="161" y="17"/>
                  <a:pt x="161" y="17"/>
                  <a:pt x="160" y="17"/>
                </a:cubicBezTo>
                <a:cubicBezTo>
                  <a:pt x="160" y="17"/>
                  <a:pt x="160" y="17"/>
                  <a:pt x="160" y="17"/>
                </a:cubicBezTo>
                <a:cubicBezTo>
                  <a:pt x="159" y="17"/>
                  <a:pt x="159" y="17"/>
                  <a:pt x="158" y="17"/>
                </a:cubicBezTo>
                <a:cubicBezTo>
                  <a:pt x="157" y="17"/>
                  <a:pt x="155" y="15"/>
                  <a:pt x="154" y="14"/>
                </a:cubicBezTo>
                <a:cubicBezTo>
                  <a:pt x="153" y="13"/>
                  <a:pt x="153" y="13"/>
                  <a:pt x="153" y="13"/>
                </a:cubicBezTo>
                <a:cubicBezTo>
                  <a:pt x="152" y="13"/>
                  <a:pt x="150" y="13"/>
                  <a:pt x="148" y="13"/>
                </a:cubicBezTo>
                <a:cubicBezTo>
                  <a:pt x="146" y="13"/>
                  <a:pt x="144" y="13"/>
                  <a:pt x="143" y="14"/>
                </a:cubicBezTo>
                <a:cubicBezTo>
                  <a:pt x="143" y="14"/>
                  <a:pt x="143" y="14"/>
                  <a:pt x="143" y="14"/>
                </a:cubicBezTo>
                <a:cubicBezTo>
                  <a:pt x="142" y="14"/>
                  <a:pt x="142" y="14"/>
                  <a:pt x="142" y="14"/>
                </a:cubicBezTo>
                <a:cubicBezTo>
                  <a:pt x="142" y="15"/>
                  <a:pt x="142" y="15"/>
                  <a:pt x="141" y="16"/>
                </a:cubicBezTo>
                <a:cubicBezTo>
                  <a:pt x="140" y="17"/>
                  <a:pt x="139" y="17"/>
                  <a:pt x="138" y="17"/>
                </a:cubicBezTo>
                <a:cubicBezTo>
                  <a:pt x="138" y="17"/>
                  <a:pt x="138" y="17"/>
                  <a:pt x="138" y="17"/>
                </a:cubicBezTo>
                <a:cubicBezTo>
                  <a:pt x="137" y="17"/>
                  <a:pt x="137" y="18"/>
                  <a:pt x="137" y="18"/>
                </a:cubicBezTo>
                <a:cubicBezTo>
                  <a:pt x="137" y="18"/>
                  <a:pt x="137" y="19"/>
                  <a:pt x="137" y="19"/>
                </a:cubicBezTo>
                <a:cubicBezTo>
                  <a:pt x="137" y="20"/>
                  <a:pt x="136" y="21"/>
                  <a:pt x="134" y="22"/>
                </a:cubicBezTo>
                <a:cubicBezTo>
                  <a:pt x="133" y="23"/>
                  <a:pt x="132" y="23"/>
                  <a:pt x="130" y="23"/>
                </a:cubicBezTo>
                <a:cubicBezTo>
                  <a:pt x="129" y="23"/>
                  <a:pt x="127" y="22"/>
                  <a:pt x="124" y="20"/>
                </a:cubicBezTo>
                <a:cubicBezTo>
                  <a:pt x="122" y="18"/>
                  <a:pt x="119" y="17"/>
                  <a:pt x="119" y="17"/>
                </a:cubicBezTo>
                <a:cubicBezTo>
                  <a:pt x="119" y="17"/>
                  <a:pt x="118" y="19"/>
                  <a:pt x="118" y="20"/>
                </a:cubicBezTo>
                <a:cubicBezTo>
                  <a:pt x="116" y="22"/>
                  <a:pt x="115" y="24"/>
                  <a:pt x="114" y="24"/>
                </a:cubicBezTo>
                <a:cubicBezTo>
                  <a:pt x="112" y="24"/>
                  <a:pt x="112" y="21"/>
                  <a:pt x="111" y="19"/>
                </a:cubicBezTo>
                <a:cubicBezTo>
                  <a:pt x="111" y="17"/>
                  <a:pt x="111" y="16"/>
                  <a:pt x="111" y="16"/>
                </a:cubicBezTo>
                <a:cubicBezTo>
                  <a:pt x="111" y="15"/>
                  <a:pt x="107" y="12"/>
                  <a:pt x="104" y="10"/>
                </a:cubicBezTo>
                <a:cubicBezTo>
                  <a:pt x="102" y="8"/>
                  <a:pt x="99" y="6"/>
                  <a:pt x="98" y="6"/>
                </a:cubicBezTo>
                <a:cubicBezTo>
                  <a:pt x="98" y="6"/>
                  <a:pt x="95" y="6"/>
                  <a:pt x="92" y="6"/>
                </a:cubicBezTo>
                <a:cubicBezTo>
                  <a:pt x="90" y="6"/>
                  <a:pt x="88" y="6"/>
                  <a:pt x="88" y="6"/>
                </a:cubicBezTo>
                <a:cubicBezTo>
                  <a:pt x="86" y="6"/>
                  <a:pt x="85" y="5"/>
                  <a:pt x="84" y="3"/>
                </a:cubicBezTo>
                <a:cubicBezTo>
                  <a:pt x="84" y="2"/>
                  <a:pt x="83" y="1"/>
                  <a:pt x="83" y="1"/>
                </a:cubicBezTo>
                <a:cubicBezTo>
                  <a:pt x="83" y="1"/>
                  <a:pt x="83" y="1"/>
                  <a:pt x="83" y="1"/>
                </a:cubicBezTo>
                <a:cubicBezTo>
                  <a:pt x="83" y="0"/>
                  <a:pt x="82" y="1"/>
                  <a:pt x="81" y="1"/>
                </a:cubicBezTo>
                <a:cubicBezTo>
                  <a:pt x="80" y="1"/>
                  <a:pt x="79" y="2"/>
                  <a:pt x="78" y="2"/>
                </a:cubicBezTo>
                <a:cubicBezTo>
                  <a:pt x="77" y="3"/>
                  <a:pt x="77" y="3"/>
                  <a:pt x="77" y="4"/>
                </a:cubicBezTo>
                <a:cubicBezTo>
                  <a:pt x="76" y="4"/>
                  <a:pt x="76" y="5"/>
                  <a:pt x="76" y="5"/>
                </a:cubicBezTo>
                <a:cubicBezTo>
                  <a:pt x="76" y="6"/>
                  <a:pt x="75" y="7"/>
                  <a:pt x="74" y="7"/>
                </a:cubicBezTo>
                <a:cubicBezTo>
                  <a:pt x="73" y="7"/>
                  <a:pt x="72" y="7"/>
                  <a:pt x="71" y="6"/>
                </a:cubicBezTo>
                <a:cubicBezTo>
                  <a:pt x="70" y="6"/>
                  <a:pt x="70" y="5"/>
                  <a:pt x="70" y="4"/>
                </a:cubicBezTo>
                <a:cubicBezTo>
                  <a:pt x="70" y="4"/>
                  <a:pt x="70" y="3"/>
                  <a:pt x="69" y="3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3"/>
                  <a:pt x="69" y="3"/>
                  <a:pt x="69" y="3"/>
                </a:cubicBezTo>
                <a:cubicBezTo>
                  <a:pt x="67" y="2"/>
                  <a:pt x="65" y="1"/>
                  <a:pt x="63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3" y="0"/>
                  <a:pt x="62" y="1"/>
                  <a:pt x="62" y="1"/>
                </a:cubicBezTo>
                <a:cubicBezTo>
                  <a:pt x="62" y="2"/>
                  <a:pt x="62" y="2"/>
                  <a:pt x="61" y="3"/>
                </a:cubicBezTo>
                <a:cubicBezTo>
                  <a:pt x="61" y="5"/>
                  <a:pt x="59" y="4"/>
                  <a:pt x="58" y="4"/>
                </a:cubicBezTo>
                <a:cubicBezTo>
                  <a:pt x="57" y="4"/>
                  <a:pt x="56" y="4"/>
                  <a:pt x="56" y="4"/>
                </a:cubicBezTo>
                <a:cubicBezTo>
                  <a:pt x="56" y="4"/>
                  <a:pt x="56" y="4"/>
                  <a:pt x="56" y="4"/>
                </a:cubicBezTo>
                <a:cubicBezTo>
                  <a:pt x="56" y="4"/>
                  <a:pt x="56" y="5"/>
                  <a:pt x="55" y="6"/>
                </a:cubicBezTo>
                <a:cubicBezTo>
                  <a:pt x="55" y="7"/>
                  <a:pt x="54" y="8"/>
                  <a:pt x="54" y="8"/>
                </a:cubicBezTo>
                <a:cubicBezTo>
                  <a:pt x="53" y="9"/>
                  <a:pt x="51" y="10"/>
                  <a:pt x="49" y="11"/>
                </a:cubicBezTo>
                <a:cubicBezTo>
                  <a:pt x="46" y="12"/>
                  <a:pt x="43" y="13"/>
                  <a:pt x="42" y="14"/>
                </a:cubicBezTo>
                <a:cubicBezTo>
                  <a:pt x="42" y="14"/>
                  <a:pt x="42" y="14"/>
                  <a:pt x="42" y="14"/>
                </a:cubicBezTo>
                <a:cubicBezTo>
                  <a:pt x="42" y="15"/>
                  <a:pt x="42" y="16"/>
                  <a:pt x="41" y="17"/>
                </a:cubicBezTo>
                <a:cubicBezTo>
                  <a:pt x="41" y="17"/>
                  <a:pt x="41" y="17"/>
                  <a:pt x="41" y="17"/>
                </a:cubicBezTo>
                <a:cubicBezTo>
                  <a:pt x="41" y="18"/>
                  <a:pt x="40" y="19"/>
                  <a:pt x="39" y="19"/>
                </a:cubicBezTo>
                <a:cubicBezTo>
                  <a:pt x="37" y="21"/>
                  <a:pt x="35" y="21"/>
                  <a:pt x="34" y="22"/>
                </a:cubicBezTo>
                <a:cubicBezTo>
                  <a:pt x="34" y="22"/>
                  <a:pt x="34" y="22"/>
                  <a:pt x="34" y="22"/>
                </a:cubicBezTo>
                <a:cubicBezTo>
                  <a:pt x="33" y="22"/>
                  <a:pt x="31" y="21"/>
                  <a:pt x="30" y="21"/>
                </a:cubicBezTo>
                <a:cubicBezTo>
                  <a:pt x="29" y="20"/>
                  <a:pt x="29" y="20"/>
                  <a:pt x="29" y="20"/>
                </a:cubicBezTo>
                <a:cubicBezTo>
                  <a:pt x="29" y="20"/>
                  <a:pt x="29" y="21"/>
                  <a:pt x="29" y="22"/>
                </a:cubicBezTo>
                <a:cubicBezTo>
                  <a:pt x="30" y="25"/>
                  <a:pt x="31" y="28"/>
                  <a:pt x="31" y="29"/>
                </a:cubicBezTo>
                <a:cubicBezTo>
                  <a:pt x="31" y="30"/>
                  <a:pt x="33" y="31"/>
                  <a:pt x="33" y="31"/>
                </a:cubicBezTo>
                <a:cubicBezTo>
                  <a:pt x="34" y="31"/>
                  <a:pt x="35" y="32"/>
                  <a:pt x="35" y="3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2"/>
                  <a:pt x="35" y="32"/>
                  <a:pt x="35" y="32"/>
                </a:cubicBezTo>
                <a:cubicBezTo>
                  <a:pt x="35" y="33"/>
                  <a:pt x="34" y="34"/>
                  <a:pt x="32" y="35"/>
                </a:cubicBezTo>
                <a:cubicBezTo>
                  <a:pt x="32" y="35"/>
                  <a:pt x="32" y="35"/>
                  <a:pt x="32" y="35"/>
                </a:cubicBezTo>
                <a:cubicBezTo>
                  <a:pt x="31" y="36"/>
                  <a:pt x="29" y="37"/>
                  <a:pt x="27" y="37"/>
                </a:cubicBezTo>
                <a:cubicBezTo>
                  <a:pt x="27" y="37"/>
                  <a:pt x="27" y="37"/>
                  <a:pt x="27" y="37"/>
                </a:cubicBezTo>
                <a:cubicBezTo>
                  <a:pt x="25" y="38"/>
                  <a:pt x="21" y="32"/>
                  <a:pt x="18" y="29"/>
                </a:cubicBezTo>
                <a:cubicBezTo>
                  <a:pt x="17" y="27"/>
                  <a:pt x="17" y="26"/>
                  <a:pt x="17" y="26"/>
                </a:cubicBezTo>
                <a:cubicBezTo>
                  <a:pt x="17" y="26"/>
                  <a:pt x="17" y="26"/>
                  <a:pt x="17" y="26"/>
                </a:cubicBezTo>
                <a:cubicBezTo>
                  <a:pt x="16" y="26"/>
                  <a:pt x="16" y="26"/>
                  <a:pt x="15" y="26"/>
                </a:cubicBezTo>
                <a:cubicBezTo>
                  <a:pt x="14" y="26"/>
                  <a:pt x="14" y="26"/>
                  <a:pt x="14" y="27"/>
                </a:cubicBezTo>
                <a:cubicBezTo>
                  <a:pt x="14" y="27"/>
                  <a:pt x="13" y="27"/>
                  <a:pt x="13" y="29"/>
                </a:cubicBezTo>
                <a:cubicBezTo>
                  <a:pt x="12" y="30"/>
                  <a:pt x="12" y="32"/>
                  <a:pt x="11" y="33"/>
                </a:cubicBezTo>
                <a:cubicBezTo>
                  <a:pt x="10" y="34"/>
                  <a:pt x="9" y="34"/>
                  <a:pt x="9" y="35"/>
                </a:cubicBezTo>
                <a:cubicBezTo>
                  <a:pt x="9" y="35"/>
                  <a:pt x="9" y="35"/>
                  <a:pt x="9" y="35"/>
                </a:cubicBezTo>
                <a:cubicBezTo>
                  <a:pt x="8" y="35"/>
                  <a:pt x="7" y="36"/>
                  <a:pt x="6" y="37"/>
                </a:cubicBezTo>
                <a:cubicBezTo>
                  <a:pt x="6" y="38"/>
                  <a:pt x="5" y="39"/>
                  <a:pt x="5" y="41"/>
                </a:cubicBezTo>
                <a:cubicBezTo>
                  <a:pt x="5" y="43"/>
                  <a:pt x="4" y="44"/>
                  <a:pt x="5" y="44"/>
                </a:cubicBezTo>
                <a:cubicBezTo>
                  <a:pt x="5" y="45"/>
                  <a:pt x="5" y="45"/>
                  <a:pt x="6" y="46"/>
                </a:cubicBezTo>
                <a:cubicBezTo>
                  <a:pt x="7" y="47"/>
                  <a:pt x="9" y="49"/>
                  <a:pt x="8" y="50"/>
                </a:cubicBezTo>
                <a:cubicBezTo>
                  <a:pt x="8" y="50"/>
                  <a:pt x="7" y="52"/>
                  <a:pt x="5" y="54"/>
                </a:cubicBezTo>
                <a:cubicBezTo>
                  <a:pt x="4" y="55"/>
                  <a:pt x="3" y="57"/>
                  <a:pt x="2" y="57"/>
                </a:cubicBezTo>
                <a:cubicBezTo>
                  <a:pt x="1" y="58"/>
                  <a:pt x="1" y="59"/>
                  <a:pt x="1" y="60"/>
                </a:cubicBezTo>
                <a:cubicBezTo>
                  <a:pt x="0" y="61"/>
                  <a:pt x="0" y="62"/>
                  <a:pt x="1" y="63"/>
                </a:cubicBezTo>
                <a:cubicBezTo>
                  <a:pt x="1" y="63"/>
                  <a:pt x="2" y="63"/>
                  <a:pt x="3" y="63"/>
                </a:cubicBezTo>
                <a:cubicBezTo>
                  <a:pt x="6" y="64"/>
                  <a:pt x="9" y="65"/>
                  <a:pt x="9" y="66"/>
                </a:cubicBezTo>
                <a:cubicBezTo>
                  <a:pt x="10" y="67"/>
                  <a:pt x="9" y="69"/>
                  <a:pt x="9" y="71"/>
                </a:cubicBezTo>
                <a:cubicBezTo>
                  <a:pt x="9" y="71"/>
                  <a:pt x="9" y="71"/>
                  <a:pt x="9" y="71"/>
                </a:cubicBezTo>
                <a:cubicBezTo>
                  <a:pt x="8" y="73"/>
                  <a:pt x="8" y="74"/>
                  <a:pt x="8" y="74"/>
                </a:cubicBezTo>
                <a:cubicBezTo>
                  <a:pt x="8" y="74"/>
                  <a:pt x="9" y="75"/>
                  <a:pt x="9" y="75"/>
                </a:cubicBezTo>
                <a:cubicBezTo>
                  <a:pt x="9" y="75"/>
                  <a:pt x="9" y="75"/>
                  <a:pt x="9" y="75"/>
                </a:cubicBezTo>
                <a:cubicBezTo>
                  <a:pt x="10" y="75"/>
                  <a:pt x="11" y="76"/>
                  <a:pt x="12" y="76"/>
                </a:cubicBezTo>
                <a:cubicBezTo>
                  <a:pt x="13" y="76"/>
                  <a:pt x="15" y="75"/>
                  <a:pt x="17" y="75"/>
                </a:cubicBezTo>
                <a:cubicBezTo>
                  <a:pt x="19" y="75"/>
                  <a:pt x="21" y="74"/>
                  <a:pt x="21" y="74"/>
                </a:cubicBezTo>
                <a:cubicBezTo>
                  <a:pt x="23" y="74"/>
                  <a:pt x="23" y="75"/>
                  <a:pt x="25" y="75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6"/>
                  <a:pt x="25" y="76"/>
                  <a:pt x="26" y="76"/>
                </a:cubicBezTo>
                <a:cubicBezTo>
                  <a:pt x="27" y="77"/>
                  <a:pt x="30" y="80"/>
                  <a:pt x="32" y="83"/>
                </a:cubicBezTo>
                <a:cubicBezTo>
                  <a:pt x="34" y="86"/>
                  <a:pt x="37" y="89"/>
                  <a:pt x="37" y="90"/>
                </a:cubicBezTo>
                <a:cubicBezTo>
                  <a:pt x="37" y="91"/>
                  <a:pt x="37" y="92"/>
                  <a:pt x="37" y="92"/>
                </a:cubicBezTo>
                <a:cubicBezTo>
                  <a:pt x="37" y="93"/>
                  <a:pt x="36" y="94"/>
                  <a:pt x="36" y="94"/>
                </a:cubicBezTo>
                <a:cubicBezTo>
                  <a:pt x="36" y="94"/>
                  <a:pt x="36" y="94"/>
                  <a:pt x="36" y="94"/>
                </a:cubicBezTo>
                <a:cubicBezTo>
                  <a:pt x="35" y="95"/>
                  <a:pt x="33" y="94"/>
                  <a:pt x="32" y="94"/>
                </a:cubicBezTo>
                <a:cubicBezTo>
                  <a:pt x="31" y="94"/>
                  <a:pt x="31" y="94"/>
                  <a:pt x="31" y="94"/>
                </a:cubicBezTo>
                <a:cubicBezTo>
                  <a:pt x="31" y="94"/>
                  <a:pt x="31" y="94"/>
                  <a:pt x="31" y="94"/>
                </a:cubicBezTo>
                <a:cubicBezTo>
                  <a:pt x="31" y="94"/>
                  <a:pt x="30" y="95"/>
                  <a:pt x="29" y="95"/>
                </a:cubicBezTo>
                <a:cubicBezTo>
                  <a:pt x="29" y="96"/>
                  <a:pt x="29" y="96"/>
                  <a:pt x="29" y="96"/>
                </a:cubicBezTo>
                <a:cubicBezTo>
                  <a:pt x="29" y="97"/>
                  <a:pt x="30" y="97"/>
                  <a:pt x="30" y="98"/>
                </a:cubicBezTo>
                <a:cubicBezTo>
                  <a:pt x="31" y="98"/>
                  <a:pt x="31" y="98"/>
                  <a:pt x="31" y="98"/>
                </a:cubicBezTo>
                <a:cubicBezTo>
                  <a:pt x="31" y="98"/>
                  <a:pt x="31" y="98"/>
                  <a:pt x="31" y="98"/>
                </a:cubicBezTo>
                <a:cubicBezTo>
                  <a:pt x="31" y="99"/>
                  <a:pt x="32" y="99"/>
                  <a:pt x="33" y="99"/>
                </a:cubicBezTo>
                <a:cubicBezTo>
                  <a:pt x="35" y="99"/>
                  <a:pt x="36" y="100"/>
                  <a:pt x="38" y="100"/>
                </a:cubicBezTo>
                <a:cubicBezTo>
                  <a:pt x="38" y="99"/>
                  <a:pt x="39" y="97"/>
                  <a:pt x="40" y="96"/>
                </a:cubicBezTo>
                <a:cubicBezTo>
                  <a:pt x="41" y="95"/>
                  <a:pt x="44" y="96"/>
                  <a:pt x="49" y="96"/>
                </a:cubicBezTo>
                <a:cubicBezTo>
                  <a:pt x="54" y="96"/>
                  <a:pt x="54" y="93"/>
                  <a:pt x="55" y="91"/>
                </a:cubicBezTo>
                <a:cubicBezTo>
                  <a:pt x="57" y="88"/>
                  <a:pt x="61" y="89"/>
                  <a:pt x="66" y="87"/>
                </a:cubicBezTo>
                <a:cubicBezTo>
                  <a:pt x="70" y="85"/>
                  <a:pt x="72" y="87"/>
                  <a:pt x="73" y="88"/>
                </a:cubicBezTo>
                <a:cubicBezTo>
                  <a:pt x="75" y="88"/>
                  <a:pt x="80" y="92"/>
                  <a:pt x="82" y="92"/>
                </a:cubicBezTo>
                <a:cubicBezTo>
                  <a:pt x="84" y="92"/>
                  <a:pt x="85" y="89"/>
                  <a:pt x="86" y="89"/>
                </a:cubicBezTo>
                <a:cubicBezTo>
                  <a:pt x="87" y="89"/>
                  <a:pt x="91" y="90"/>
                  <a:pt x="91" y="91"/>
                </a:cubicBezTo>
                <a:cubicBezTo>
                  <a:pt x="92" y="91"/>
                  <a:pt x="95" y="96"/>
                  <a:pt x="95" y="98"/>
                </a:cubicBezTo>
                <a:cubicBezTo>
                  <a:pt x="96" y="100"/>
                  <a:pt x="96" y="106"/>
                  <a:pt x="96" y="107"/>
                </a:cubicBezTo>
                <a:cubicBezTo>
                  <a:pt x="96" y="109"/>
                  <a:pt x="94" y="111"/>
                  <a:pt x="94" y="113"/>
                </a:cubicBezTo>
                <a:cubicBezTo>
                  <a:pt x="93" y="114"/>
                  <a:pt x="95" y="116"/>
                  <a:pt x="95" y="117"/>
                </a:cubicBezTo>
                <a:cubicBezTo>
                  <a:pt x="96" y="117"/>
                  <a:pt x="100" y="118"/>
                  <a:pt x="102" y="118"/>
                </a:cubicBezTo>
                <a:cubicBezTo>
                  <a:pt x="103" y="118"/>
                  <a:pt x="106" y="116"/>
                  <a:pt x="109" y="115"/>
                </a:cubicBezTo>
                <a:cubicBezTo>
                  <a:pt x="112" y="114"/>
                  <a:pt x="110" y="117"/>
                  <a:pt x="111" y="119"/>
                </a:cubicBezTo>
                <a:cubicBezTo>
                  <a:pt x="111" y="120"/>
                  <a:pt x="113" y="124"/>
                  <a:pt x="112" y="125"/>
                </a:cubicBezTo>
                <a:cubicBezTo>
                  <a:pt x="112" y="125"/>
                  <a:pt x="105" y="125"/>
                  <a:pt x="103" y="127"/>
                </a:cubicBezTo>
                <a:cubicBezTo>
                  <a:pt x="101" y="128"/>
                  <a:pt x="100" y="131"/>
                  <a:pt x="98" y="133"/>
                </a:cubicBezTo>
                <a:cubicBezTo>
                  <a:pt x="97" y="135"/>
                  <a:pt x="97" y="135"/>
                  <a:pt x="95" y="135"/>
                </a:cubicBezTo>
                <a:cubicBezTo>
                  <a:pt x="94" y="135"/>
                  <a:pt x="99" y="127"/>
                  <a:pt x="99" y="125"/>
                </a:cubicBezTo>
                <a:cubicBezTo>
                  <a:pt x="100" y="124"/>
                  <a:pt x="105" y="124"/>
                  <a:pt x="106" y="123"/>
                </a:cubicBezTo>
                <a:cubicBezTo>
                  <a:pt x="107" y="122"/>
                  <a:pt x="106" y="122"/>
                  <a:pt x="105" y="121"/>
                </a:cubicBezTo>
                <a:cubicBezTo>
                  <a:pt x="105" y="120"/>
                  <a:pt x="101" y="121"/>
                  <a:pt x="99" y="121"/>
                </a:cubicBezTo>
                <a:cubicBezTo>
                  <a:pt x="96" y="121"/>
                  <a:pt x="89" y="121"/>
                  <a:pt x="84" y="120"/>
                </a:cubicBezTo>
                <a:cubicBezTo>
                  <a:pt x="78" y="118"/>
                  <a:pt x="79" y="118"/>
                  <a:pt x="76" y="118"/>
                </a:cubicBezTo>
                <a:cubicBezTo>
                  <a:pt x="74" y="118"/>
                  <a:pt x="74" y="119"/>
                  <a:pt x="73" y="120"/>
                </a:cubicBezTo>
                <a:cubicBezTo>
                  <a:pt x="72" y="121"/>
                  <a:pt x="72" y="119"/>
                  <a:pt x="71" y="119"/>
                </a:cubicBezTo>
                <a:cubicBezTo>
                  <a:pt x="69" y="118"/>
                  <a:pt x="68" y="122"/>
                  <a:pt x="68" y="124"/>
                </a:cubicBezTo>
                <a:cubicBezTo>
                  <a:pt x="67" y="126"/>
                  <a:pt x="64" y="125"/>
                  <a:pt x="63" y="126"/>
                </a:cubicBezTo>
                <a:cubicBezTo>
                  <a:pt x="62" y="126"/>
                  <a:pt x="67" y="130"/>
                  <a:pt x="68" y="131"/>
                </a:cubicBezTo>
                <a:cubicBezTo>
                  <a:pt x="69" y="133"/>
                  <a:pt x="74" y="132"/>
                  <a:pt x="74" y="133"/>
                </a:cubicBezTo>
                <a:cubicBezTo>
                  <a:pt x="73" y="134"/>
                  <a:pt x="68" y="134"/>
                  <a:pt x="66" y="134"/>
                </a:cubicBezTo>
                <a:cubicBezTo>
                  <a:pt x="63" y="134"/>
                  <a:pt x="64" y="132"/>
                  <a:pt x="62" y="132"/>
                </a:cubicBezTo>
                <a:cubicBezTo>
                  <a:pt x="61" y="131"/>
                  <a:pt x="57" y="131"/>
                  <a:pt x="55" y="131"/>
                </a:cubicBezTo>
                <a:cubicBezTo>
                  <a:pt x="53" y="131"/>
                  <a:pt x="53" y="132"/>
                  <a:pt x="52" y="133"/>
                </a:cubicBezTo>
                <a:cubicBezTo>
                  <a:pt x="52" y="134"/>
                  <a:pt x="53" y="135"/>
                  <a:pt x="54" y="137"/>
                </a:cubicBezTo>
                <a:cubicBezTo>
                  <a:pt x="54" y="138"/>
                  <a:pt x="60" y="139"/>
                  <a:pt x="62" y="139"/>
                </a:cubicBezTo>
                <a:cubicBezTo>
                  <a:pt x="63" y="140"/>
                  <a:pt x="64" y="144"/>
                  <a:pt x="65" y="146"/>
                </a:cubicBezTo>
                <a:cubicBezTo>
                  <a:pt x="66" y="148"/>
                  <a:pt x="67" y="151"/>
                  <a:pt x="68" y="153"/>
                </a:cubicBezTo>
                <a:cubicBezTo>
                  <a:pt x="69" y="155"/>
                  <a:pt x="67" y="155"/>
                  <a:pt x="67" y="157"/>
                </a:cubicBezTo>
                <a:cubicBezTo>
                  <a:pt x="67" y="159"/>
                  <a:pt x="71" y="157"/>
                  <a:pt x="73" y="158"/>
                </a:cubicBezTo>
                <a:cubicBezTo>
                  <a:pt x="75" y="158"/>
                  <a:pt x="76" y="162"/>
                  <a:pt x="77" y="162"/>
                </a:cubicBezTo>
                <a:cubicBezTo>
                  <a:pt x="78" y="163"/>
                  <a:pt x="79" y="161"/>
                  <a:pt x="81" y="161"/>
                </a:cubicBezTo>
                <a:cubicBezTo>
                  <a:pt x="83" y="161"/>
                  <a:pt x="90" y="164"/>
                  <a:pt x="90" y="165"/>
                </a:cubicBezTo>
                <a:cubicBezTo>
                  <a:pt x="90" y="166"/>
                  <a:pt x="88" y="165"/>
                  <a:pt x="87" y="167"/>
                </a:cubicBezTo>
                <a:cubicBezTo>
                  <a:pt x="87" y="168"/>
                  <a:pt x="88" y="169"/>
                  <a:pt x="87" y="170"/>
                </a:cubicBezTo>
                <a:cubicBezTo>
                  <a:pt x="86" y="172"/>
                  <a:pt x="85" y="173"/>
                  <a:pt x="84" y="177"/>
                </a:cubicBezTo>
                <a:cubicBezTo>
                  <a:pt x="83" y="179"/>
                  <a:pt x="83" y="180"/>
                  <a:pt x="84" y="182"/>
                </a:cubicBezTo>
                <a:cubicBezTo>
                  <a:pt x="84" y="181"/>
                  <a:pt x="85" y="181"/>
                  <a:pt x="85" y="181"/>
                </a:cubicBezTo>
                <a:cubicBezTo>
                  <a:pt x="88" y="178"/>
                  <a:pt x="91" y="176"/>
                  <a:pt x="93" y="175"/>
                </a:cubicBezTo>
                <a:cubicBezTo>
                  <a:pt x="94" y="174"/>
                  <a:pt x="98" y="173"/>
                  <a:pt x="101" y="173"/>
                </a:cubicBezTo>
                <a:cubicBezTo>
                  <a:pt x="105" y="172"/>
                  <a:pt x="109" y="171"/>
                  <a:pt x="110" y="171"/>
                </a:cubicBezTo>
                <a:cubicBezTo>
                  <a:pt x="112" y="171"/>
                  <a:pt x="114" y="174"/>
                  <a:pt x="116" y="176"/>
                </a:cubicBezTo>
                <a:cubicBezTo>
                  <a:pt x="117" y="177"/>
                  <a:pt x="117" y="177"/>
                  <a:pt x="118" y="178"/>
                </a:cubicBezTo>
                <a:cubicBezTo>
                  <a:pt x="119" y="178"/>
                  <a:pt x="119" y="179"/>
                  <a:pt x="120" y="179"/>
                </a:cubicBezTo>
                <a:cubicBezTo>
                  <a:pt x="121" y="180"/>
                  <a:pt x="122" y="181"/>
                  <a:pt x="123" y="182"/>
                </a:cubicBezTo>
                <a:cubicBezTo>
                  <a:pt x="123" y="182"/>
                  <a:pt x="124" y="183"/>
                  <a:pt x="124" y="184"/>
                </a:cubicBezTo>
                <a:cubicBezTo>
                  <a:pt x="124" y="186"/>
                  <a:pt x="125" y="189"/>
                  <a:pt x="127" y="189"/>
                </a:cubicBezTo>
                <a:cubicBezTo>
                  <a:pt x="129" y="189"/>
                  <a:pt x="132" y="190"/>
                  <a:pt x="135" y="190"/>
                </a:cubicBezTo>
                <a:cubicBezTo>
                  <a:pt x="135" y="188"/>
                  <a:pt x="135" y="183"/>
                  <a:pt x="135" y="177"/>
                </a:cubicBezTo>
                <a:cubicBezTo>
                  <a:pt x="135" y="157"/>
                  <a:pt x="135" y="125"/>
                  <a:pt x="135" y="124"/>
                </a:cubicBezTo>
                <a:cubicBezTo>
                  <a:pt x="135" y="124"/>
                  <a:pt x="135" y="124"/>
                  <a:pt x="135" y="124"/>
                </a:cubicBezTo>
                <a:cubicBezTo>
                  <a:pt x="136" y="124"/>
                  <a:pt x="143" y="122"/>
                  <a:pt x="151" y="120"/>
                </a:cubicBezTo>
                <a:cubicBezTo>
                  <a:pt x="161" y="117"/>
                  <a:pt x="172" y="114"/>
                  <a:pt x="172" y="114"/>
                </a:cubicBezTo>
                <a:cubicBezTo>
                  <a:pt x="173" y="114"/>
                  <a:pt x="176" y="116"/>
                  <a:pt x="181" y="119"/>
                </a:cubicBezTo>
                <a:cubicBezTo>
                  <a:pt x="181" y="21"/>
                  <a:pt x="181" y="21"/>
                  <a:pt x="181" y="21"/>
                </a:cubicBezTo>
                <a:cubicBezTo>
                  <a:pt x="181" y="21"/>
                  <a:pt x="181" y="21"/>
                  <a:pt x="180" y="20"/>
                </a:cubicBezTo>
                <a:cubicBezTo>
                  <a:pt x="178" y="20"/>
                  <a:pt x="176" y="20"/>
                  <a:pt x="174" y="1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6" name="Freeform 122"/>
          <p:cNvSpPr>
            <a:spLocks/>
          </p:cNvSpPr>
          <p:nvPr/>
        </p:nvSpPr>
        <p:spPr bwMode="auto">
          <a:xfrm>
            <a:off x="8717087" y="4430713"/>
            <a:ext cx="428625" cy="715963"/>
          </a:xfrm>
          <a:custGeom>
            <a:avLst/>
            <a:gdLst>
              <a:gd name="T0" fmla="*/ 15 w 45"/>
              <a:gd name="T1" fmla="*/ 6 h 75"/>
              <a:gd name="T2" fmla="*/ 0 w 45"/>
              <a:gd name="T3" fmla="*/ 10 h 75"/>
              <a:gd name="T4" fmla="*/ 0 w 45"/>
              <a:gd name="T5" fmla="*/ 10 h 75"/>
              <a:gd name="T6" fmla="*/ 0 w 45"/>
              <a:gd name="T7" fmla="*/ 62 h 75"/>
              <a:gd name="T8" fmla="*/ 0 w 45"/>
              <a:gd name="T9" fmla="*/ 75 h 75"/>
              <a:gd name="T10" fmla="*/ 8 w 45"/>
              <a:gd name="T11" fmla="*/ 75 h 75"/>
              <a:gd name="T12" fmla="*/ 16 w 45"/>
              <a:gd name="T13" fmla="*/ 73 h 75"/>
              <a:gd name="T14" fmla="*/ 15 w 45"/>
              <a:gd name="T15" fmla="*/ 71 h 75"/>
              <a:gd name="T16" fmla="*/ 14 w 45"/>
              <a:gd name="T17" fmla="*/ 68 h 75"/>
              <a:gd name="T18" fmla="*/ 15 w 45"/>
              <a:gd name="T19" fmla="*/ 64 h 75"/>
              <a:gd name="T20" fmla="*/ 17 w 45"/>
              <a:gd name="T21" fmla="*/ 61 h 75"/>
              <a:gd name="T22" fmla="*/ 17 w 45"/>
              <a:gd name="T23" fmla="*/ 61 h 75"/>
              <a:gd name="T24" fmla="*/ 20 w 45"/>
              <a:gd name="T25" fmla="*/ 61 h 75"/>
              <a:gd name="T26" fmla="*/ 26 w 45"/>
              <a:gd name="T27" fmla="*/ 60 h 75"/>
              <a:gd name="T28" fmla="*/ 27 w 45"/>
              <a:gd name="T29" fmla="*/ 57 h 75"/>
              <a:gd name="T30" fmla="*/ 27 w 45"/>
              <a:gd name="T31" fmla="*/ 57 h 75"/>
              <a:gd name="T32" fmla="*/ 28 w 45"/>
              <a:gd name="T33" fmla="*/ 55 h 75"/>
              <a:gd name="T34" fmla="*/ 30 w 45"/>
              <a:gd name="T35" fmla="*/ 54 h 75"/>
              <a:gd name="T36" fmla="*/ 30 w 45"/>
              <a:gd name="T37" fmla="*/ 54 h 75"/>
              <a:gd name="T38" fmla="*/ 32 w 45"/>
              <a:gd name="T39" fmla="*/ 55 h 75"/>
              <a:gd name="T40" fmla="*/ 34 w 45"/>
              <a:gd name="T41" fmla="*/ 57 h 75"/>
              <a:gd name="T42" fmla="*/ 34 w 45"/>
              <a:gd name="T43" fmla="*/ 54 h 75"/>
              <a:gd name="T44" fmla="*/ 35 w 45"/>
              <a:gd name="T45" fmla="*/ 51 h 75"/>
              <a:gd name="T46" fmla="*/ 37 w 45"/>
              <a:gd name="T47" fmla="*/ 49 h 75"/>
              <a:gd name="T48" fmla="*/ 39 w 45"/>
              <a:gd name="T49" fmla="*/ 48 h 75"/>
              <a:gd name="T50" fmla="*/ 41 w 45"/>
              <a:gd name="T51" fmla="*/ 50 h 75"/>
              <a:gd name="T52" fmla="*/ 43 w 45"/>
              <a:gd name="T53" fmla="*/ 52 h 75"/>
              <a:gd name="T54" fmla="*/ 45 w 45"/>
              <a:gd name="T55" fmla="*/ 52 h 75"/>
              <a:gd name="T56" fmla="*/ 45 w 45"/>
              <a:gd name="T57" fmla="*/ 6 h 75"/>
              <a:gd name="T58" fmla="*/ 36 w 45"/>
              <a:gd name="T59" fmla="*/ 0 h 75"/>
              <a:gd name="T60" fmla="*/ 15 w 45"/>
              <a:gd name="T61" fmla="*/ 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5" h="75">
                <a:moveTo>
                  <a:pt x="15" y="6"/>
                </a:moveTo>
                <a:cubicBezTo>
                  <a:pt x="7" y="8"/>
                  <a:pt x="0" y="10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1"/>
                  <a:pt x="0" y="42"/>
                  <a:pt x="0" y="62"/>
                </a:cubicBezTo>
                <a:cubicBezTo>
                  <a:pt x="0" y="68"/>
                  <a:pt x="0" y="73"/>
                  <a:pt x="0" y="75"/>
                </a:cubicBezTo>
                <a:cubicBezTo>
                  <a:pt x="3" y="75"/>
                  <a:pt x="5" y="75"/>
                  <a:pt x="8" y="75"/>
                </a:cubicBezTo>
                <a:cubicBezTo>
                  <a:pt x="12" y="74"/>
                  <a:pt x="15" y="74"/>
                  <a:pt x="16" y="73"/>
                </a:cubicBezTo>
                <a:cubicBezTo>
                  <a:pt x="16" y="72"/>
                  <a:pt x="16" y="72"/>
                  <a:pt x="15" y="71"/>
                </a:cubicBezTo>
                <a:cubicBezTo>
                  <a:pt x="14" y="70"/>
                  <a:pt x="13" y="70"/>
                  <a:pt x="14" y="68"/>
                </a:cubicBezTo>
                <a:cubicBezTo>
                  <a:pt x="14" y="67"/>
                  <a:pt x="15" y="65"/>
                  <a:pt x="15" y="64"/>
                </a:cubicBezTo>
                <a:cubicBezTo>
                  <a:pt x="16" y="63"/>
                  <a:pt x="17" y="62"/>
                  <a:pt x="17" y="61"/>
                </a:cubicBezTo>
                <a:cubicBezTo>
                  <a:pt x="17" y="61"/>
                  <a:pt x="17" y="61"/>
                  <a:pt x="17" y="61"/>
                </a:cubicBezTo>
                <a:cubicBezTo>
                  <a:pt x="18" y="61"/>
                  <a:pt x="19" y="61"/>
                  <a:pt x="20" y="61"/>
                </a:cubicBezTo>
                <a:cubicBezTo>
                  <a:pt x="23" y="61"/>
                  <a:pt x="25" y="61"/>
                  <a:pt x="26" y="60"/>
                </a:cubicBezTo>
                <a:cubicBezTo>
                  <a:pt x="26" y="59"/>
                  <a:pt x="27" y="58"/>
                  <a:pt x="27" y="57"/>
                </a:cubicBezTo>
                <a:cubicBezTo>
                  <a:pt x="27" y="57"/>
                  <a:pt x="27" y="57"/>
                  <a:pt x="27" y="57"/>
                </a:cubicBezTo>
                <a:cubicBezTo>
                  <a:pt x="27" y="56"/>
                  <a:pt x="27" y="55"/>
                  <a:pt x="28" y="55"/>
                </a:cubicBezTo>
                <a:cubicBezTo>
                  <a:pt x="28" y="54"/>
                  <a:pt x="29" y="53"/>
                  <a:pt x="30" y="54"/>
                </a:cubicBezTo>
                <a:cubicBezTo>
                  <a:pt x="30" y="54"/>
                  <a:pt x="30" y="54"/>
                  <a:pt x="30" y="54"/>
                </a:cubicBezTo>
                <a:cubicBezTo>
                  <a:pt x="30" y="54"/>
                  <a:pt x="31" y="55"/>
                  <a:pt x="32" y="55"/>
                </a:cubicBezTo>
                <a:cubicBezTo>
                  <a:pt x="32" y="56"/>
                  <a:pt x="33" y="57"/>
                  <a:pt x="34" y="57"/>
                </a:cubicBezTo>
                <a:cubicBezTo>
                  <a:pt x="35" y="57"/>
                  <a:pt x="35" y="55"/>
                  <a:pt x="34" y="54"/>
                </a:cubicBezTo>
                <a:cubicBezTo>
                  <a:pt x="34" y="53"/>
                  <a:pt x="34" y="52"/>
                  <a:pt x="35" y="51"/>
                </a:cubicBezTo>
                <a:cubicBezTo>
                  <a:pt x="35" y="51"/>
                  <a:pt x="36" y="50"/>
                  <a:pt x="37" y="49"/>
                </a:cubicBezTo>
                <a:cubicBezTo>
                  <a:pt x="37" y="48"/>
                  <a:pt x="38" y="48"/>
                  <a:pt x="39" y="48"/>
                </a:cubicBezTo>
                <a:cubicBezTo>
                  <a:pt x="40" y="48"/>
                  <a:pt x="40" y="49"/>
                  <a:pt x="41" y="50"/>
                </a:cubicBezTo>
                <a:cubicBezTo>
                  <a:pt x="42" y="51"/>
                  <a:pt x="42" y="52"/>
                  <a:pt x="43" y="52"/>
                </a:cubicBezTo>
                <a:cubicBezTo>
                  <a:pt x="43" y="52"/>
                  <a:pt x="44" y="52"/>
                  <a:pt x="45" y="52"/>
                </a:cubicBezTo>
                <a:cubicBezTo>
                  <a:pt x="45" y="6"/>
                  <a:pt x="45" y="6"/>
                  <a:pt x="45" y="6"/>
                </a:cubicBezTo>
                <a:cubicBezTo>
                  <a:pt x="40" y="3"/>
                  <a:pt x="37" y="0"/>
                  <a:pt x="36" y="0"/>
                </a:cubicBezTo>
                <a:cubicBezTo>
                  <a:pt x="36" y="0"/>
                  <a:pt x="25" y="3"/>
                  <a:pt x="15" y="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7" name="Freeform 123"/>
          <p:cNvSpPr>
            <a:spLocks/>
          </p:cNvSpPr>
          <p:nvPr/>
        </p:nvSpPr>
        <p:spPr bwMode="auto">
          <a:xfrm>
            <a:off x="8231312" y="4899026"/>
            <a:ext cx="914400" cy="885825"/>
          </a:xfrm>
          <a:custGeom>
            <a:avLst/>
            <a:gdLst>
              <a:gd name="T0" fmla="*/ 91 w 96"/>
              <a:gd name="T1" fmla="*/ 1 h 93"/>
              <a:gd name="T2" fmla="*/ 89 w 96"/>
              <a:gd name="T3" fmla="*/ 1 h 93"/>
              <a:gd name="T4" fmla="*/ 87 w 96"/>
              <a:gd name="T5" fmla="*/ 4 h 93"/>
              <a:gd name="T6" fmla="*/ 82 w 96"/>
              <a:gd name="T7" fmla="*/ 7 h 93"/>
              <a:gd name="T8" fmla="*/ 80 w 96"/>
              <a:gd name="T9" fmla="*/ 6 h 93"/>
              <a:gd name="T10" fmla="*/ 79 w 96"/>
              <a:gd name="T11" fmla="*/ 8 h 93"/>
              <a:gd name="T12" fmla="*/ 72 w 96"/>
              <a:gd name="T13" fmla="*/ 13 h 93"/>
              <a:gd name="T14" fmla="*/ 69 w 96"/>
              <a:gd name="T15" fmla="*/ 13 h 93"/>
              <a:gd name="T16" fmla="*/ 66 w 96"/>
              <a:gd name="T17" fmla="*/ 19 h 93"/>
              <a:gd name="T18" fmla="*/ 68 w 96"/>
              <a:gd name="T19" fmla="*/ 25 h 93"/>
              <a:gd name="T20" fmla="*/ 42 w 96"/>
              <a:gd name="T21" fmla="*/ 26 h 93"/>
              <a:gd name="T22" fmla="*/ 37 w 96"/>
              <a:gd name="T23" fmla="*/ 18 h 93"/>
              <a:gd name="T24" fmla="*/ 32 w 96"/>
              <a:gd name="T25" fmla="*/ 15 h 93"/>
              <a:gd name="T26" fmla="*/ 25 w 96"/>
              <a:gd name="T27" fmla="*/ 8 h 93"/>
              <a:gd name="T28" fmla="*/ 8 w 96"/>
              <a:gd name="T29" fmla="*/ 12 h 93"/>
              <a:gd name="T30" fmla="*/ 0 w 96"/>
              <a:gd name="T31" fmla="*/ 19 h 93"/>
              <a:gd name="T32" fmla="*/ 6 w 96"/>
              <a:gd name="T33" fmla="*/ 28 h 93"/>
              <a:gd name="T34" fmla="*/ 7 w 96"/>
              <a:gd name="T35" fmla="*/ 19 h 93"/>
              <a:gd name="T36" fmla="*/ 11 w 96"/>
              <a:gd name="T37" fmla="*/ 11 h 93"/>
              <a:gd name="T38" fmla="*/ 23 w 96"/>
              <a:gd name="T39" fmla="*/ 22 h 93"/>
              <a:gd name="T40" fmla="*/ 34 w 96"/>
              <a:gd name="T41" fmla="*/ 32 h 93"/>
              <a:gd name="T42" fmla="*/ 26 w 96"/>
              <a:gd name="T43" fmla="*/ 34 h 93"/>
              <a:gd name="T44" fmla="*/ 19 w 96"/>
              <a:gd name="T45" fmla="*/ 38 h 93"/>
              <a:gd name="T46" fmla="*/ 14 w 96"/>
              <a:gd name="T47" fmla="*/ 36 h 93"/>
              <a:gd name="T48" fmla="*/ 6 w 96"/>
              <a:gd name="T49" fmla="*/ 32 h 93"/>
              <a:gd name="T50" fmla="*/ 5 w 96"/>
              <a:gd name="T51" fmla="*/ 48 h 93"/>
              <a:gd name="T52" fmla="*/ 14 w 96"/>
              <a:gd name="T53" fmla="*/ 54 h 93"/>
              <a:gd name="T54" fmla="*/ 14 w 96"/>
              <a:gd name="T55" fmla="*/ 56 h 93"/>
              <a:gd name="T56" fmla="*/ 10 w 96"/>
              <a:gd name="T57" fmla="*/ 60 h 93"/>
              <a:gd name="T58" fmla="*/ 22 w 96"/>
              <a:gd name="T59" fmla="*/ 66 h 93"/>
              <a:gd name="T60" fmla="*/ 19 w 96"/>
              <a:gd name="T61" fmla="*/ 86 h 93"/>
              <a:gd name="T62" fmla="*/ 23 w 96"/>
              <a:gd name="T63" fmla="*/ 93 h 93"/>
              <a:gd name="T64" fmla="*/ 35 w 96"/>
              <a:gd name="T65" fmla="*/ 85 h 93"/>
              <a:gd name="T66" fmla="*/ 42 w 96"/>
              <a:gd name="T67" fmla="*/ 80 h 93"/>
              <a:gd name="T68" fmla="*/ 49 w 96"/>
              <a:gd name="T69" fmla="*/ 80 h 93"/>
              <a:gd name="T70" fmla="*/ 55 w 96"/>
              <a:gd name="T71" fmla="*/ 79 h 93"/>
              <a:gd name="T72" fmla="*/ 61 w 96"/>
              <a:gd name="T73" fmla="*/ 77 h 93"/>
              <a:gd name="T74" fmla="*/ 68 w 96"/>
              <a:gd name="T75" fmla="*/ 78 h 93"/>
              <a:gd name="T76" fmla="*/ 70 w 96"/>
              <a:gd name="T77" fmla="*/ 81 h 93"/>
              <a:gd name="T78" fmla="*/ 75 w 96"/>
              <a:gd name="T79" fmla="*/ 83 h 93"/>
              <a:gd name="T80" fmla="*/ 80 w 96"/>
              <a:gd name="T81" fmla="*/ 85 h 93"/>
              <a:gd name="T82" fmla="*/ 92 w 96"/>
              <a:gd name="T83" fmla="*/ 88 h 93"/>
              <a:gd name="T84" fmla="*/ 96 w 96"/>
              <a:gd name="T85" fmla="*/ 88 h 93"/>
              <a:gd name="T86" fmla="*/ 93 w 96"/>
              <a:gd name="T87" fmla="*/ 4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3">
                <a:moveTo>
                  <a:pt x="93" y="4"/>
                </a:moveTo>
                <a:cubicBezTo>
                  <a:pt x="93" y="4"/>
                  <a:pt x="92" y="2"/>
                  <a:pt x="91" y="1"/>
                </a:cubicBezTo>
                <a:cubicBezTo>
                  <a:pt x="91" y="1"/>
                  <a:pt x="90" y="0"/>
                  <a:pt x="90" y="0"/>
                </a:cubicBezTo>
                <a:cubicBezTo>
                  <a:pt x="90" y="0"/>
                  <a:pt x="89" y="0"/>
                  <a:pt x="89" y="1"/>
                </a:cubicBezTo>
                <a:cubicBezTo>
                  <a:pt x="88" y="2"/>
                  <a:pt x="87" y="2"/>
                  <a:pt x="87" y="3"/>
                </a:cubicBezTo>
                <a:cubicBezTo>
                  <a:pt x="87" y="3"/>
                  <a:pt x="87" y="4"/>
                  <a:pt x="87" y="4"/>
                </a:cubicBezTo>
                <a:cubicBezTo>
                  <a:pt x="87" y="7"/>
                  <a:pt x="87" y="9"/>
                  <a:pt x="85" y="9"/>
                </a:cubicBezTo>
                <a:cubicBezTo>
                  <a:pt x="84" y="9"/>
                  <a:pt x="83" y="8"/>
                  <a:pt x="82" y="7"/>
                </a:cubicBezTo>
                <a:cubicBezTo>
                  <a:pt x="81" y="7"/>
                  <a:pt x="81" y="6"/>
                  <a:pt x="80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0" y="7"/>
                  <a:pt x="79" y="7"/>
                  <a:pt x="79" y="8"/>
                </a:cubicBezTo>
                <a:cubicBezTo>
                  <a:pt x="79" y="9"/>
                  <a:pt x="79" y="10"/>
                  <a:pt x="78" y="11"/>
                </a:cubicBezTo>
                <a:cubicBezTo>
                  <a:pt x="77" y="13"/>
                  <a:pt x="74" y="13"/>
                  <a:pt x="72" y="13"/>
                </a:cubicBezTo>
                <a:cubicBezTo>
                  <a:pt x="70" y="13"/>
                  <a:pt x="69" y="13"/>
                  <a:pt x="69" y="13"/>
                </a:cubicBezTo>
                <a:cubicBezTo>
                  <a:pt x="69" y="13"/>
                  <a:pt x="69" y="13"/>
                  <a:pt x="69" y="13"/>
                </a:cubicBezTo>
                <a:cubicBezTo>
                  <a:pt x="69" y="14"/>
                  <a:pt x="68" y="14"/>
                  <a:pt x="68" y="15"/>
                </a:cubicBezTo>
                <a:cubicBezTo>
                  <a:pt x="67" y="17"/>
                  <a:pt x="66" y="18"/>
                  <a:pt x="66" y="19"/>
                </a:cubicBezTo>
                <a:cubicBezTo>
                  <a:pt x="66" y="20"/>
                  <a:pt x="66" y="21"/>
                  <a:pt x="67" y="21"/>
                </a:cubicBezTo>
                <a:cubicBezTo>
                  <a:pt x="68" y="22"/>
                  <a:pt x="69" y="23"/>
                  <a:pt x="68" y="25"/>
                </a:cubicBezTo>
                <a:cubicBezTo>
                  <a:pt x="67" y="26"/>
                  <a:pt x="64" y="27"/>
                  <a:pt x="59" y="27"/>
                </a:cubicBezTo>
                <a:cubicBezTo>
                  <a:pt x="52" y="27"/>
                  <a:pt x="45" y="27"/>
                  <a:pt x="42" y="26"/>
                </a:cubicBezTo>
                <a:cubicBezTo>
                  <a:pt x="38" y="26"/>
                  <a:pt x="38" y="23"/>
                  <a:pt x="37" y="20"/>
                </a:cubicBezTo>
                <a:cubicBezTo>
                  <a:pt x="37" y="19"/>
                  <a:pt x="37" y="19"/>
                  <a:pt x="37" y="18"/>
                </a:cubicBezTo>
                <a:cubicBezTo>
                  <a:pt x="36" y="17"/>
                  <a:pt x="36" y="17"/>
                  <a:pt x="35" y="16"/>
                </a:cubicBezTo>
                <a:cubicBezTo>
                  <a:pt x="34" y="16"/>
                  <a:pt x="33" y="15"/>
                  <a:pt x="32" y="15"/>
                </a:cubicBezTo>
                <a:cubicBezTo>
                  <a:pt x="31" y="14"/>
                  <a:pt x="31" y="13"/>
                  <a:pt x="30" y="12"/>
                </a:cubicBezTo>
                <a:cubicBezTo>
                  <a:pt x="28" y="11"/>
                  <a:pt x="26" y="8"/>
                  <a:pt x="25" y="8"/>
                </a:cubicBezTo>
                <a:cubicBezTo>
                  <a:pt x="24" y="8"/>
                  <a:pt x="21" y="9"/>
                  <a:pt x="17" y="10"/>
                </a:cubicBezTo>
                <a:cubicBezTo>
                  <a:pt x="13" y="11"/>
                  <a:pt x="9" y="11"/>
                  <a:pt x="8" y="12"/>
                </a:cubicBezTo>
                <a:cubicBezTo>
                  <a:pt x="7" y="12"/>
                  <a:pt x="4" y="15"/>
                  <a:pt x="1" y="18"/>
                </a:cubicBezTo>
                <a:cubicBezTo>
                  <a:pt x="1" y="18"/>
                  <a:pt x="0" y="19"/>
                  <a:pt x="0" y="19"/>
                </a:cubicBezTo>
                <a:cubicBezTo>
                  <a:pt x="0" y="20"/>
                  <a:pt x="1" y="21"/>
                  <a:pt x="1" y="23"/>
                </a:cubicBezTo>
                <a:cubicBezTo>
                  <a:pt x="4" y="27"/>
                  <a:pt x="5" y="28"/>
                  <a:pt x="6" y="28"/>
                </a:cubicBezTo>
                <a:cubicBezTo>
                  <a:pt x="6" y="27"/>
                  <a:pt x="5" y="25"/>
                  <a:pt x="6" y="23"/>
                </a:cubicBezTo>
                <a:cubicBezTo>
                  <a:pt x="7" y="21"/>
                  <a:pt x="7" y="21"/>
                  <a:pt x="7" y="19"/>
                </a:cubicBezTo>
                <a:cubicBezTo>
                  <a:pt x="7" y="18"/>
                  <a:pt x="5" y="19"/>
                  <a:pt x="4" y="18"/>
                </a:cubicBezTo>
                <a:cubicBezTo>
                  <a:pt x="4" y="17"/>
                  <a:pt x="9" y="12"/>
                  <a:pt x="11" y="11"/>
                </a:cubicBezTo>
                <a:cubicBezTo>
                  <a:pt x="13" y="11"/>
                  <a:pt x="19" y="12"/>
                  <a:pt x="20" y="12"/>
                </a:cubicBezTo>
                <a:cubicBezTo>
                  <a:pt x="21" y="13"/>
                  <a:pt x="21" y="19"/>
                  <a:pt x="23" y="22"/>
                </a:cubicBezTo>
                <a:cubicBezTo>
                  <a:pt x="24" y="26"/>
                  <a:pt x="30" y="27"/>
                  <a:pt x="32" y="28"/>
                </a:cubicBezTo>
                <a:cubicBezTo>
                  <a:pt x="34" y="29"/>
                  <a:pt x="33" y="31"/>
                  <a:pt x="34" y="32"/>
                </a:cubicBezTo>
                <a:cubicBezTo>
                  <a:pt x="34" y="34"/>
                  <a:pt x="31" y="33"/>
                  <a:pt x="28" y="33"/>
                </a:cubicBezTo>
                <a:cubicBezTo>
                  <a:pt x="25" y="32"/>
                  <a:pt x="26" y="33"/>
                  <a:pt x="26" y="34"/>
                </a:cubicBezTo>
                <a:cubicBezTo>
                  <a:pt x="26" y="35"/>
                  <a:pt x="27" y="35"/>
                  <a:pt x="27" y="37"/>
                </a:cubicBezTo>
                <a:cubicBezTo>
                  <a:pt x="28" y="38"/>
                  <a:pt x="21" y="38"/>
                  <a:pt x="19" y="38"/>
                </a:cubicBezTo>
                <a:cubicBezTo>
                  <a:pt x="17" y="38"/>
                  <a:pt x="18" y="35"/>
                  <a:pt x="17" y="33"/>
                </a:cubicBezTo>
                <a:cubicBezTo>
                  <a:pt x="16" y="31"/>
                  <a:pt x="15" y="35"/>
                  <a:pt x="14" y="36"/>
                </a:cubicBezTo>
                <a:cubicBezTo>
                  <a:pt x="13" y="36"/>
                  <a:pt x="12" y="35"/>
                  <a:pt x="10" y="35"/>
                </a:cubicBezTo>
                <a:cubicBezTo>
                  <a:pt x="8" y="35"/>
                  <a:pt x="7" y="32"/>
                  <a:pt x="6" y="32"/>
                </a:cubicBezTo>
                <a:cubicBezTo>
                  <a:pt x="5" y="32"/>
                  <a:pt x="5" y="34"/>
                  <a:pt x="5" y="36"/>
                </a:cubicBezTo>
                <a:cubicBezTo>
                  <a:pt x="4" y="38"/>
                  <a:pt x="4" y="47"/>
                  <a:pt x="5" y="48"/>
                </a:cubicBezTo>
                <a:cubicBezTo>
                  <a:pt x="6" y="49"/>
                  <a:pt x="12" y="48"/>
                  <a:pt x="14" y="48"/>
                </a:cubicBezTo>
                <a:cubicBezTo>
                  <a:pt x="15" y="49"/>
                  <a:pt x="13" y="52"/>
                  <a:pt x="14" y="54"/>
                </a:cubicBezTo>
                <a:cubicBezTo>
                  <a:pt x="15" y="55"/>
                  <a:pt x="18" y="55"/>
                  <a:pt x="17" y="57"/>
                </a:cubicBezTo>
                <a:cubicBezTo>
                  <a:pt x="15" y="58"/>
                  <a:pt x="15" y="56"/>
                  <a:pt x="14" y="56"/>
                </a:cubicBezTo>
                <a:cubicBezTo>
                  <a:pt x="13" y="55"/>
                  <a:pt x="12" y="55"/>
                  <a:pt x="11" y="55"/>
                </a:cubicBezTo>
                <a:cubicBezTo>
                  <a:pt x="10" y="55"/>
                  <a:pt x="9" y="58"/>
                  <a:pt x="10" y="60"/>
                </a:cubicBezTo>
                <a:cubicBezTo>
                  <a:pt x="11" y="62"/>
                  <a:pt x="11" y="59"/>
                  <a:pt x="13" y="59"/>
                </a:cubicBezTo>
                <a:cubicBezTo>
                  <a:pt x="15" y="59"/>
                  <a:pt x="20" y="63"/>
                  <a:pt x="22" y="66"/>
                </a:cubicBezTo>
                <a:cubicBezTo>
                  <a:pt x="24" y="69"/>
                  <a:pt x="20" y="71"/>
                  <a:pt x="19" y="73"/>
                </a:cubicBezTo>
                <a:cubicBezTo>
                  <a:pt x="19" y="75"/>
                  <a:pt x="19" y="81"/>
                  <a:pt x="19" y="86"/>
                </a:cubicBezTo>
                <a:cubicBezTo>
                  <a:pt x="20" y="89"/>
                  <a:pt x="20" y="91"/>
                  <a:pt x="21" y="93"/>
                </a:cubicBezTo>
                <a:cubicBezTo>
                  <a:pt x="22" y="93"/>
                  <a:pt x="22" y="93"/>
                  <a:pt x="23" y="93"/>
                </a:cubicBezTo>
                <a:cubicBezTo>
                  <a:pt x="25" y="92"/>
                  <a:pt x="27" y="92"/>
                  <a:pt x="29" y="91"/>
                </a:cubicBezTo>
                <a:cubicBezTo>
                  <a:pt x="31" y="90"/>
                  <a:pt x="33" y="87"/>
                  <a:pt x="35" y="85"/>
                </a:cubicBezTo>
                <a:cubicBezTo>
                  <a:pt x="36" y="84"/>
                  <a:pt x="37" y="83"/>
                  <a:pt x="38" y="82"/>
                </a:cubicBezTo>
                <a:cubicBezTo>
                  <a:pt x="39" y="82"/>
                  <a:pt x="40" y="81"/>
                  <a:pt x="42" y="80"/>
                </a:cubicBezTo>
                <a:cubicBezTo>
                  <a:pt x="43" y="80"/>
                  <a:pt x="44" y="79"/>
                  <a:pt x="45" y="79"/>
                </a:cubicBezTo>
                <a:cubicBezTo>
                  <a:pt x="46" y="79"/>
                  <a:pt x="47" y="80"/>
                  <a:pt x="49" y="80"/>
                </a:cubicBezTo>
                <a:cubicBezTo>
                  <a:pt x="51" y="81"/>
                  <a:pt x="53" y="81"/>
                  <a:pt x="54" y="81"/>
                </a:cubicBezTo>
                <a:cubicBezTo>
                  <a:pt x="55" y="80"/>
                  <a:pt x="55" y="79"/>
                  <a:pt x="55" y="79"/>
                </a:cubicBezTo>
                <a:cubicBezTo>
                  <a:pt x="56" y="78"/>
                  <a:pt x="56" y="78"/>
                  <a:pt x="57" y="78"/>
                </a:cubicBezTo>
                <a:cubicBezTo>
                  <a:pt x="58" y="77"/>
                  <a:pt x="59" y="77"/>
                  <a:pt x="61" y="77"/>
                </a:cubicBezTo>
                <a:cubicBezTo>
                  <a:pt x="63" y="77"/>
                  <a:pt x="65" y="77"/>
                  <a:pt x="66" y="77"/>
                </a:cubicBezTo>
                <a:cubicBezTo>
                  <a:pt x="67" y="77"/>
                  <a:pt x="68" y="77"/>
                  <a:pt x="68" y="78"/>
                </a:cubicBezTo>
                <a:cubicBezTo>
                  <a:pt x="69" y="79"/>
                  <a:pt x="70" y="79"/>
                  <a:pt x="70" y="80"/>
                </a:cubicBezTo>
                <a:cubicBezTo>
                  <a:pt x="70" y="80"/>
                  <a:pt x="70" y="80"/>
                  <a:pt x="70" y="81"/>
                </a:cubicBezTo>
                <a:cubicBezTo>
                  <a:pt x="70" y="81"/>
                  <a:pt x="70" y="82"/>
                  <a:pt x="72" y="82"/>
                </a:cubicBezTo>
                <a:cubicBezTo>
                  <a:pt x="73" y="82"/>
                  <a:pt x="74" y="82"/>
                  <a:pt x="75" y="83"/>
                </a:cubicBezTo>
                <a:cubicBezTo>
                  <a:pt x="76" y="83"/>
                  <a:pt x="77" y="83"/>
                  <a:pt x="78" y="83"/>
                </a:cubicBezTo>
                <a:cubicBezTo>
                  <a:pt x="79" y="84"/>
                  <a:pt x="79" y="84"/>
                  <a:pt x="80" y="85"/>
                </a:cubicBezTo>
                <a:cubicBezTo>
                  <a:pt x="81" y="86"/>
                  <a:pt x="82" y="88"/>
                  <a:pt x="83" y="88"/>
                </a:cubicBezTo>
                <a:cubicBezTo>
                  <a:pt x="85" y="87"/>
                  <a:pt x="89" y="87"/>
                  <a:pt x="92" y="88"/>
                </a:cubicBezTo>
                <a:cubicBezTo>
                  <a:pt x="93" y="88"/>
                  <a:pt x="94" y="88"/>
                  <a:pt x="94" y="88"/>
                </a:cubicBezTo>
                <a:cubicBezTo>
                  <a:pt x="95" y="88"/>
                  <a:pt x="96" y="88"/>
                  <a:pt x="96" y="88"/>
                </a:cubicBezTo>
                <a:cubicBezTo>
                  <a:pt x="96" y="4"/>
                  <a:pt x="96" y="4"/>
                  <a:pt x="96" y="4"/>
                </a:cubicBezTo>
                <a:cubicBezTo>
                  <a:pt x="95" y="4"/>
                  <a:pt x="94" y="4"/>
                  <a:pt x="93" y="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8" name="Freeform 124"/>
          <p:cNvSpPr>
            <a:spLocks/>
          </p:cNvSpPr>
          <p:nvPr/>
        </p:nvSpPr>
        <p:spPr bwMode="auto">
          <a:xfrm>
            <a:off x="7078787" y="5413376"/>
            <a:ext cx="2066925" cy="1171575"/>
          </a:xfrm>
          <a:custGeom>
            <a:avLst/>
            <a:gdLst>
              <a:gd name="T0" fmla="*/ 200 w 217"/>
              <a:gd name="T1" fmla="*/ 32 h 123"/>
              <a:gd name="T2" fmla="*/ 196 w 217"/>
              <a:gd name="T3" fmla="*/ 30 h 123"/>
              <a:gd name="T4" fmla="*/ 190 w 217"/>
              <a:gd name="T5" fmla="*/ 27 h 123"/>
              <a:gd name="T6" fmla="*/ 182 w 217"/>
              <a:gd name="T7" fmla="*/ 24 h 123"/>
              <a:gd name="T8" fmla="*/ 176 w 217"/>
              <a:gd name="T9" fmla="*/ 28 h 123"/>
              <a:gd name="T10" fmla="*/ 163 w 217"/>
              <a:gd name="T11" fmla="*/ 28 h 123"/>
              <a:gd name="T12" fmla="*/ 151 w 217"/>
              <a:gd name="T13" fmla="*/ 38 h 123"/>
              <a:gd name="T14" fmla="*/ 128 w 217"/>
              <a:gd name="T15" fmla="*/ 36 h 123"/>
              <a:gd name="T16" fmla="*/ 103 w 217"/>
              <a:gd name="T17" fmla="*/ 33 h 123"/>
              <a:gd name="T18" fmla="*/ 94 w 217"/>
              <a:gd name="T19" fmla="*/ 17 h 123"/>
              <a:gd name="T20" fmla="*/ 68 w 217"/>
              <a:gd name="T21" fmla="*/ 22 h 123"/>
              <a:gd name="T22" fmla="*/ 63 w 217"/>
              <a:gd name="T23" fmla="*/ 20 h 123"/>
              <a:gd name="T24" fmla="*/ 58 w 217"/>
              <a:gd name="T25" fmla="*/ 15 h 123"/>
              <a:gd name="T26" fmla="*/ 61 w 217"/>
              <a:gd name="T27" fmla="*/ 10 h 123"/>
              <a:gd name="T28" fmla="*/ 59 w 217"/>
              <a:gd name="T29" fmla="*/ 6 h 123"/>
              <a:gd name="T30" fmla="*/ 58 w 217"/>
              <a:gd name="T31" fmla="*/ 1 h 123"/>
              <a:gd name="T32" fmla="*/ 48 w 217"/>
              <a:gd name="T33" fmla="*/ 5 h 123"/>
              <a:gd name="T34" fmla="*/ 40 w 217"/>
              <a:gd name="T35" fmla="*/ 11 h 123"/>
              <a:gd name="T36" fmla="*/ 30 w 217"/>
              <a:gd name="T37" fmla="*/ 15 h 123"/>
              <a:gd name="T38" fmla="*/ 18 w 217"/>
              <a:gd name="T39" fmla="*/ 10 h 123"/>
              <a:gd name="T40" fmla="*/ 9 w 217"/>
              <a:gd name="T41" fmla="*/ 0 h 123"/>
              <a:gd name="T42" fmla="*/ 5 w 217"/>
              <a:gd name="T43" fmla="*/ 5 h 123"/>
              <a:gd name="T44" fmla="*/ 0 w 217"/>
              <a:gd name="T45" fmla="*/ 6 h 123"/>
              <a:gd name="T46" fmla="*/ 3 w 217"/>
              <a:gd name="T47" fmla="*/ 12 h 123"/>
              <a:gd name="T48" fmla="*/ 5 w 217"/>
              <a:gd name="T49" fmla="*/ 21 h 123"/>
              <a:gd name="T50" fmla="*/ 6 w 217"/>
              <a:gd name="T51" fmla="*/ 25 h 123"/>
              <a:gd name="T52" fmla="*/ 4 w 217"/>
              <a:gd name="T53" fmla="*/ 30 h 123"/>
              <a:gd name="T54" fmla="*/ 8 w 217"/>
              <a:gd name="T55" fmla="*/ 32 h 123"/>
              <a:gd name="T56" fmla="*/ 10 w 217"/>
              <a:gd name="T57" fmla="*/ 38 h 123"/>
              <a:gd name="T58" fmla="*/ 11 w 217"/>
              <a:gd name="T59" fmla="*/ 42 h 123"/>
              <a:gd name="T60" fmla="*/ 13 w 217"/>
              <a:gd name="T61" fmla="*/ 45 h 123"/>
              <a:gd name="T62" fmla="*/ 14 w 217"/>
              <a:gd name="T63" fmla="*/ 49 h 123"/>
              <a:gd name="T64" fmla="*/ 15 w 217"/>
              <a:gd name="T65" fmla="*/ 53 h 123"/>
              <a:gd name="T66" fmla="*/ 18 w 217"/>
              <a:gd name="T67" fmla="*/ 55 h 123"/>
              <a:gd name="T68" fmla="*/ 20 w 217"/>
              <a:gd name="T69" fmla="*/ 61 h 123"/>
              <a:gd name="T70" fmla="*/ 25 w 217"/>
              <a:gd name="T71" fmla="*/ 64 h 123"/>
              <a:gd name="T72" fmla="*/ 31 w 217"/>
              <a:gd name="T73" fmla="*/ 63 h 123"/>
              <a:gd name="T74" fmla="*/ 33 w 217"/>
              <a:gd name="T75" fmla="*/ 66 h 123"/>
              <a:gd name="T76" fmla="*/ 29 w 217"/>
              <a:gd name="T77" fmla="*/ 69 h 123"/>
              <a:gd name="T78" fmla="*/ 31 w 217"/>
              <a:gd name="T79" fmla="*/ 73 h 123"/>
              <a:gd name="T80" fmla="*/ 29 w 217"/>
              <a:gd name="T81" fmla="*/ 78 h 123"/>
              <a:gd name="T82" fmla="*/ 25 w 217"/>
              <a:gd name="T83" fmla="*/ 80 h 123"/>
              <a:gd name="T84" fmla="*/ 22 w 217"/>
              <a:gd name="T85" fmla="*/ 85 h 123"/>
              <a:gd name="T86" fmla="*/ 21 w 217"/>
              <a:gd name="T87" fmla="*/ 86 h 123"/>
              <a:gd name="T88" fmla="*/ 22 w 217"/>
              <a:gd name="T89" fmla="*/ 89 h 123"/>
              <a:gd name="T90" fmla="*/ 23 w 217"/>
              <a:gd name="T91" fmla="*/ 98 h 123"/>
              <a:gd name="T92" fmla="*/ 28 w 217"/>
              <a:gd name="T93" fmla="*/ 100 h 123"/>
              <a:gd name="T94" fmla="*/ 28 w 217"/>
              <a:gd name="T95" fmla="*/ 104 h 123"/>
              <a:gd name="T96" fmla="*/ 29 w 217"/>
              <a:gd name="T97" fmla="*/ 106 h 123"/>
              <a:gd name="T98" fmla="*/ 36 w 217"/>
              <a:gd name="T99" fmla="*/ 112 h 123"/>
              <a:gd name="T100" fmla="*/ 46 w 217"/>
              <a:gd name="T101" fmla="*/ 119 h 123"/>
              <a:gd name="T102" fmla="*/ 50 w 217"/>
              <a:gd name="T103" fmla="*/ 123 h 123"/>
              <a:gd name="T104" fmla="*/ 215 w 217"/>
              <a:gd name="T105" fmla="*/ 3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7" h="123">
                <a:moveTo>
                  <a:pt x="213" y="35"/>
                </a:moveTo>
                <a:cubicBezTo>
                  <a:pt x="210" y="35"/>
                  <a:pt x="206" y="35"/>
                  <a:pt x="204" y="35"/>
                </a:cubicBezTo>
                <a:cubicBezTo>
                  <a:pt x="202" y="35"/>
                  <a:pt x="201" y="34"/>
                  <a:pt x="200" y="32"/>
                </a:cubicBezTo>
                <a:cubicBezTo>
                  <a:pt x="199" y="32"/>
                  <a:pt x="199" y="31"/>
                  <a:pt x="198" y="31"/>
                </a:cubicBezTo>
                <a:cubicBezTo>
                  <a:pt x="198" y="31"/>
                  <a:pt x="198" y="31"/>
                  <a:pt x="198" y="31"/>
                </a:cubicBezTo>
                <a:cubicBezTo>
                  <a:pt x="198" y="31"/>
                  <a:pt x="197" y="30"/>
                  <a:pt x="196" y="30"/>
                </a:cubicBezTo>
                <a:cubicBezTo>
                  <a:pt x="195" y="30"/>
                  <a:pt x="194" y="30"/>
                  <a:pt x="193" y="30"/>
                </a:cubicBezTo>
                <a:cubicBezTo>
                  <a:pt x="190" y="30"/>
                  <a:pt x="190" y="28"/>
                  <a:pt x="190" y="27"/>
                </a:cubicBezTo>
                <a:cubicBezTo>
                  <a:pt x="190" y="27"/>
                  <a:pt x="190" y="27"/>
                  <a:pt x="190" y="27"/>
                </a:cubicBezTo>
                <a:cubicBezTo>
                  <a:pt x="190" y="26"/>
                  <a:pt x="189" y="26"/>
                  <a:pt x="188" y="25"/>
                </a:cubicBezTo>
                <a:cubicBezTo>
                  <a:pt x="188" y="25"/>
                  <a:pt x="187" y="25"/>
                  <a:pt x="187" y="25"/>
                </a:cubicBezTo>
                <a:cubicBezTo>
                  <a:pt x="186" y="24"/>
                  <a:pt x="184" y="24"/>
                  <a:pt x="182" y="24"/>
                </a:cubicBezTo>
                <a:cubicBezTo>
                  <a:pt x="180" y="25"/>
                  <a:pt x="179" y="25"/>
                  <a:pt x="178" y="25"/>
                </a:cubicBezTo>
                <a:cubicBezTo>
                  <a:pt x="178" y="25"/>
                  <a:pt x="178" y="26"/>
                  <a:pt x="177" y="26"/>
                </a:cubicBezTo>
                <a:cubicBezTo>
                  <a:pt x="177" y="26"/>
                  <a:pt x="177" y="27"/>
                  <a:pt x="176" y="28"/>
                </a:cubicBezTo>
                <a:cubicBezTo>
                  <a:pt x="174" y="29"/>
                  <a:pt x="172" y="28"/>
                  <a:pt x="169" y="27"/>
                </a:cubicBezTo>
                <a:cubicBezTo>
                  <a:pt x="168" y="27"/>
                  <a:pt x="167" y="27"/>
                  <a:pt x="166" y="27"/>
                </a:cubicBezTo>
                <a:cubicBezTo>
                  <a:pt x="165" y="27"/>
                  <a:pt x="164" y="27"/>
                  <a:pt x="163" y="28"/>
                </a:cubicBezTo>
                <a:cubicBezTo>
                  <a:pt x="162" y="28"/>
                  <a:pt x="160" y="29"/>
                  <a:pt x="160" y="30"/>
                </a:cubicBezTo>
                <a:cubicBezTo>
                  <a:pt x="159" y="30"/>
                  <a:pt x="158" y="31"/>
                  <a:pt x="157" y="32"/>
                </a:cubicBezTo>
                <a:cubicBezTo>
                  <a:pt x="155" y="34"/>
                  <a:pt x="153" y="37"/>
                  <a:pt x="151" y="38"/>
                </a:cubicBezTo>
                <a:cubicBezTo>
                  <a:pt x="149" y="39"/>
                  <a:pt x="147" y="40"/>
                  <a:pt x="145" y="40"/>
                </a:cubicBezTo>
                <a:cubicBezTo>
                  <a:pt x="142" y="41"/>
                  <a:pt x="140" y="41"/>
                  <a:pt x="138" y="40"/>
                </a:cubicBezTo>
                <a:cubicBezTo>
                  <a:pt x="135" y="40"/>
                  <a:pt x="132" y="38"/>
                  <a:pt x="128" y="36"/>
                </a:cubicBezTo>
                <a:cubicBezTo>
                  <a:pt x="125" y="34"/>
                  <a:pt x="121" y="32"/>
                  <a:pt x="119" y="31"/>
                </a:cubicBezTo>
                <a:cubicBezTo>
                  <a:pt x="114" y="29"/>
                  <a:pt x="107" y="29"/>
                  <a:pt x="104" y="28"/>
                </a:cubicBezTo>
                <a:cubicBezTo>
                  <a:pt x="104" y="31"/>
                  <a:pt x="103" y="33"/>
                  <a:pt x="103" y="33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33"/>
                  <a:pt x="104" y="23"/>
                  <a:pt x="105" y="16"/>
                </a:cubicBezTo>
                <a:cubicBezTo>
                  <a:pt x="103" y="16"/>
                  <a:pt x="99" y="16"/>
                  <a:pt x="94" y="17"/>
                </a:cubicBezTo>
                <a:cubicBezTo>
                  <a:pt x="91" y="18"/>
                  <a:pt x="87" y="19"/>
                  <a:pt x="84" y="19"/>
                </a:cubicBezTo>
                <a:cubicBezTo>
                  <a:pt x="79" y="20"/>
                  <a:pt x="75" y="20"/>
                  <a:pt x="73" y="21"/>
                </a:cubicBezTo>
                <a:cubicBezTo>
                  <a:pt x="70" y="22"/>
                  <a:pt x="69" y="22"/>
                  <a:pt x="68" y="22"/>
                </a:cubicBezTo>
                <a:cubicBezTo>
                  <a:pt x="67" y="22"/>
                  <a:pt x="66" y="22"/>
                  <a:pt x="65" y="21"/>
                </a:cubicBezTo>
                <a:cubicBezTo>
                  <a:pt x="65" y="21"/>
                  <a:pt x="65" y="21"/>
                  <a:pt x="65" y="21"/>
                </a:cubicBezTo>
                <a:cubicBezTo>
                  <a:pt x="64" y="21"/>
                  <a:pt x="63" y="20"/>
                  <a:pt x="63" y="20"/>
                </a:cubicBezTo>
                <a:cubicBezTo>
                  <a:pt x="61" y="19"/>
                  <a:pt x="60" y="18"/>
                  <a:pt x="59" y="17"/>
                </a:cubicBezTo>
                <a:cubicBezTo>
                  <a:pt x="59" y="16"/>
                  <a:pt x="59" y="16"/>
                  <a:pt x="58" y="15"/>
                </a:cubicBezTo>
                <a:cubicBezTo>
                  <a:pt x="58" y="15"/>
                  <a:pt x="58" y="15"/>
                  <a:pt x="58" y="15"/>
                </a:cubicBezTo>
                <a:cubicBezTo>
                  <a:pt x="58" y="15"/>
                  <a:pt x="57" y="14"/>
                  <a:pt x="57" y="13"/>
                </a:cubicBezTo>
                <a:cubicBezTo>
                  <a:pt x="57" y="13"/>
                  <a:pt x="58" y="12"/>
                  <a:pt x="59" y="11"/>
                </a:cubicBezTo>
                <a:cubicBezTo>
                  <a:pt x="60" y="11"/>
                  <a:pt x="61" y="11"/>
                  <a:pt x="61" y="10"/>
                </a:cubicBezTo>
                <a:cubicBezTo>
                  <a:pt x="61" y="10"/>
                  <a:pt x="60" y="10"/>
                  <a:pt x="60" y="10"/>
                </a:cubicBezTo>
                <a:cubicBezTo>
                  <a:pt x="59" y="9"/>
                  <a:pt x="59" y="9"/>
                  <a:pt x="59" y="8"/>
                </a:cubicBezTo>
                <a:cubicBezTo>
                  <a:pt x="58" y="8"/>
                  <a:pt x="59" y="7"/>
                  <a:pt x="59" y="6"/>
                </a:cubicBezTo>
                <a:cubicBezTo>
                  <a:pt x="59" y="6"/>
                  <a:pt x="59" y="6"/>
                  <a:pt x="59" y="6"/>
                </a:cubicBezTo>
                <a:cubicBezTo>
                  <a:pt x="60" y="6"/>
                  <a:pt x="61" y="5"/>
                  <a:pt x="60" y="5"/>
                </a:cubicBezTo>
                <a:cubicBezTo>
                  <a:pt x="60" y="4"/>
                  <a:pt x="59" y="2"/>
                  <a:pt x="58" y="1"/>
                </a:cubicBezTo>
                <a:cubicBezTo>
                  <a:pt x="57" y="1"/>
                  <a:pt x="56" y="0"/>
                  <a:pt x="56" y="0"/>
                </a:cubicBezTo>
                <a:cubicBezTo>
                  <a:pt x="55" y="0"/>
                  <a:pt x="53" y="2"/>
                  <a:pt x="50" y="3"/>
                </a:cubicBezTo>
                <a:cubicBezTo>
                  <a:pt x="50" y="4"/>
                  <a:pt x="49" y="4"/>
                  <a:pt x="48" y="5"/>
                </a:cubicBezTo>
                <a:cubicBezTo>
                  <a:pt x="47" y="5"/>
                  <a:pt x="46" y="6"/>
                  <a:pt x="45" y="7"/>
                </a:cubicBezTo>
                <a:cubicBezTo>
                  <a:pt x="44" y="7"/>
                  <a:pt x="43" y="8"/>
                  <a:pt x="42" y="9"/>
                </a:cubicBezTo>
                <a:cubicBezTo>
                  <a:pt x="42" y="9"/>
                  <a:pt x="41" y="10"/>
                  <a:pt x="40" y="11"/>
                </a:cubicBezTo>
                <a:cubicBezTo>
                  <a:pt x="38" y="12"/>
                  <a:pt x="37" y="14"/>
                  <a:pt x="36" y="14"/>
                </a:cubicBezTo>
                <a:cubicBezTo>
                  <a:pt x="35" y="15"/>
                  <a:pt x="32" y="15"/>
                  <a:pt x="31" y="15"/>
                </a:cubicBezTo>
                <a:cubicBezTo>
                  <a:pt x="30" y="15"/>
                  <a:pt x="30" y="15"/>
                  <a:pt x="30" y="15"/>
                </a:cubicBezTo>
                <a:cubicBezTo>
                  <a:pt x="29" y="15"/>
                  <a:pt x="27" y="14"/>
                  <a:pt x="25" y="14"/>
                </a:cubicBezTo>
                <a:cubicBezTo>
                  <a:pt x="23" y="13"/>
                  <a:pt x="21" y="12"/>
                  <a:pt x="20" y="12"/>
                </a:cubicBezTo>
                <a:cubicBezTo>
                  <a:pt x="20" y="12"/>
                  <a:pt x="19" y="11"/>
                  <a:pt x="18" y="10"/>
                </a:cubicBezTo>
                <a:cubicBezTo>
                  <a:pt x="17" y="9"/>
                  <a:pt x="16" y="8"/>
                  <a:pt x="15" y="7"/>
                </a:cubicBezTo>
                <a:cubicBezTo>
                  <a:pt x="14" y="6"/>
                  <a:pt x="13" y="5"/>
                  <a:pt x="12" y="3"/>
                </a:cubicBezTo>
                <a:cubicBezTo>
                  <a:pt x="11" y="2"/>
                  <a:pt x="10" y="1"/>
                  <a:pt x="9" y="0"/>
                </a:cubicBezTo>
                <a:cubicBezTo>
                  <a:pt x="9" y="0"/>
                  <a:pt x="7" y="0"/>
                  <a:pt x="6" y="0"/>
                </a:cubicBezTo>
                <a:cubicBezTo>
                  <a:pt x="6" y="0"/>
                  <a:pt x="6" y="1"/>
                  <a:pt x="6" y="2"/>
                </a:cubicBezTo>
                <a:cubicBezTo>
                  <a:pt x="6" y="3"/>
                  <a:pt x="6" y="4"/>
                  <a:pt x="5" y="5"/>
                </a:cubicBezTo>
                <a:cubicBezTo>
                  <a:pt x="5" y="6"/>
                  <a:pt x="3" y="6"/>
                  <a:pt x="2" y="6"/>
                </a:cubicBezTo>
                <a:cubicBezTo>
                  <a:pt x="1" y="6"/>
                  <a:pt x="1" y="6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1" y="7"/>
                  <a:pt x="1" y="7"/>
                  <a:pt x="1" y="8"/>
                </a:cubicBezTo>
                <a:cubicBezTo>
                  <a:pt x="1" y="10"/>
                  <a:pt x="2" y="11"/>
                  <a:pt x="2" y="12"/>
                </a:cubicBezTo>
                <a:cubicBezTo>
                  <a:pt x="2" y="12"/>
                  <a:pt x="3" y="12"/>
                  <a:pt x="3" y="12"/>
                </a:cubicBezTo>
                <a:cubicBezTo>
                  <a:pt x="3" y="13"/>
                  <a:pt x="4" y="13"/>
                  <a:pt x="5" y="14"/>
                </a:cubicBezTo>
                <a:cubicBezTo>
                  <a:pt x="5" y="15"/>
                  <a:pt x="5" y="17"/>
                  <a:pt x="5" y="19"/>
                </a:cubicBezTo>
                <a:cubicBezTo>
                  <a:pt x="5" y="20"/>
                  <a:pt x="5" y="21"/>
                  <a:pt x="5" y="21"/>
                </a:cubicBezTo>
                <a:cubicBezTo>
                  <a:pt x="5" y="21"/>
                  <a:pt x="5" y="21"/>
                  <a:pt x="5" y="21"/>
                </a:cubicBezTo>
                <a:cubicBezTo>
                  <a:pt x="6" y="21"/>
                  <a:pt x="6" y="21"/>
                  <a:pt x="7" y="22"/>
                </a:cubicBezTo>
                <a:cubicBezTo>
                  <a:pt x="7" y="22"/>
                  <a:pt x="7" y="23"/>
                  <a:pt x="6" y="25"/>
                </a:cubicBezTo>
                <a:cubicBezTo>
                  <a:pt x="6" y="25"/>
                  <a:pt x="6" y="25"/>
                  <a:pt x="6" y="25"/>
                </a:cubicBezTo>
                <a:cubicBezTo>
                  <a:pt x="6" y="26"/>
                  <a:pt x="5" y="26"/>
                  <a:pt x="5" y="27"/>
                </a:cubicBezTo>
                <a:cubicBezTo>
                  <a:pt x="4" y="28"/>
                  <a:pt x="4" y="30"/>
                  <a:pt x="4" y="30"/>
                </a:cubicBezTo>
                <a:cubicBezTo>
                  <a:pt x="4" y="30"/>
                  <a:pt x="4" y="30"/>
                  <a:pt x="4" y="30"/>
                </a:cubicBezTo>
                <a:cubicBezTo>
                  <a:pt x="3" y="30"/>
                  <a:pt x="5" y="31"/>
                  <a:pt x="6" y="31"/>
                </a:cubicBezTo>
                <a:cubicBezTo>
                  <a:pt x="7" y="32"/>
                  <a:pt x="8" y="32"/>
                  <a:pt x="8" y="32"/>
                </a:cubicBezTo>
                <a:cubicBezTo>
                  <a:pt x="9" y="33"/>
                  <a:pt x="9" y="34"/>
                  <a:pt x="9" y="35"/>
                </a:cubicBezTo>
                <a:cubicBezTo>
                  <a:pt x="9" y="36"/>
                  <a:pt x="9" y="37"/>
                  <a:pt x="9" y="37"/>
                </a:cubicBezTo>
                <a:cubicBezTo>
                  <a:pt x="9" y="37"/>
                  <a:pt x="9" y="37"/>
                  <a:pt x="10" y="38"/>
                </a:cubicBezTo>
                <a:cubicBezTo>
                  <a:pt x="10" y="38"/>
                  <a:pt x="11" y="39"/>
                  <a:pt x="11" y="39"/>
                </a:cubicBezTo>
                <a:cubicBezTo>
                  <a:pt x="11" y="40"/>
                  <a:pt x="11" y="40"/>
                  <a:pt x="11" y="41"/>
                </a:cubicBezTo>
                <a:cubicBezTo>
                  <a:pt x="11" y="41"/>
                  <a:pt x="11" y="42"/>
                  <a:pt x="11" y="42"/>
                </a:cubicBezTo>
                <a:cubicBezTo>
                  <a:pt x="11" y="42"/>
                  <a:pt x="11" y="43"/>
                  <a:pt x="12" y="43"/>
                </a:cubicBezTo>
                <a:cubicBezTo>
                  <a:pt x="12" y="43"/>
                  <a:pt x="12" y="43"/>
                  <a:pt x="12" y="43"/>
                </a:cubicBezTo>
                <a:cubicBezTo>
                  <a:pt x="12" y="44"/>
                  <a:pt x="13" y="44"/>
                  <a:pt x="13" y="45"/>
                </a:cubicBezTo>
                <a:cubicBezTo>
                  <a:pt x="13" y="45"/>
                  <a:pt x="13" y="46"/>
                  <a:pt x="13" y="47"/>
                </a:cubicBezTo>
                <a:cubicBezTo>
                  <a:pt x="12" y="48"/>
                  <a:pt x="12" y="48"/>
                  <a:pt x="12" y="49"/>
                </a:cubicBezTo>
                <a:cubicBezTo>
                  <a:pt x="12" y="49"/>
                  <a:pt x="13" y="49"/>
                  <a:pt x="14" y="49"/>
                </a:cubicBezTo>
                <a:cubicBezTo>
                  <a:pt x="14" y="49"/>
                  <a:pt x="15" y="50"/>
                  <a:pt x="15" y="50"/>
                </a:cubicBezTo>
                <a:cubicBezTo>
                  <a:pt x="15" y="50"/>
                  <a:pt x="15" y="51"/>
                  <a:pt x="15" y="52"/>
                </a:cubicBezTo>
                <a:cubicBezTo>
                  <a:pt x="15" y="52"/>
                  <a:pt x="15" y="53"/>
                  <a:pt x="15" y="53"/>
                </a:cubicBezTo>
                <a:cubicBezTo>
                  <a:pt x="15" y="53"/>
                  <a:pt x="15" y="53"/>
                  <a:pt x="16" y="53"/>
                </a:cubicBezTo>
                <a:cubicBezTo>
                  <a:pt x="16" y="53"/>
                  <a:pt x="16" y="53"/>
                  <a:pt x="16" y="53"/>
                </a:cubicBezTo>
                <a:cubicBezTo>
                  <a:pt x="17" y="54"/>
                  <a:pt x="18" y="54"/>
                  <a:pt x="18" y="55"/>
                </a:cubicBezTo>
                <a:cubicBezTo>
                  <a:pt x="18" y="55"/>
                  <a:pt x="18" y="56"/>
                  <a:pt x="19" y="58"/>
                </a:cubicBezTo>
                <a:cubicBezTo>
                  <a:pt x="19" y="60"/>
                  <a:pt x="19" y="62"/>
                  <a:pt x="19" y="62"/>
                </a:cubicBezTo>
                <a:cubicBezTo>
                  <a:pt x="19" y="62"/>
                  <a:pt x="20" y="62"/>
                  <a:pt x="20" y="61"/>
                </a:cubicBezTo>
                <a:cubicBezTo>
                  <a:pt x="20" y="61"/>
                  <a:pt x="21" y="61"/>
                  <a:pt x="21" y="61"/>
                </a:cubicBezTo>
                <a:cubicBezTo>
                  <a:pt x="22" y="61"/>
                  <a:pt x="23" y="62"/>
                  <a:pt x="24" y="63"/>
                </a:cubicBezTo>
                <a:cubicBezTo>
                  <a:pt x="24" y="64"/>
                  <a:pt x="25" y="64"/>
                  <a:pt x="25" y="64"/>
                </a:cubicBezTo>
                <a:cubicBezTo>
                  <a:pt x="25" y="64"/>
                  <a:pt x="26" y="64"/>
                  <a:pt x="27" y="64"/>
                </a:cubicBezTo>
                <a:cubicBezTo>
                  <a:pt x="28" y="64"/>
                  <a:pt x="29" y="63"/>
                  <a:pt x="30" y="63"/>
                </a:cubicBezTo>
                <a:cubicBezTo>
                  <a:pt x="30" y="63"/>
                  <a:pt x="31" y="63"/>
                  <a:pt x="31" y="63"/>
                </a:cubicBezTo>
                <a:cubicBezTo>
                  <a:pt x="32" y="63"/>
                  <a:pt x="32" y="64"/>
                  <a:pt x="33" y="64"/>
                </a:cubicBezTo>
                <a:cubicBezTo>
                  <a:pt x="34" y="65"/>
                  <a:pt x="34" y="65"/>
                  <a:pt x="33" y="66"/>
                </a:cubicBezTo>
                <a:cubicBezTo>
                  <a:pt x="33" y="66"/>
                  <a:pt x="33" y="66"/>
                  <a:pt x="33" y="66"/>
                </a:cubicBezTo>
                <a:cubicBezTo>
                  <a:pt x="33" y="66"/>
                  <a:pt x="31" y="67"/>
                  <a:pt x="30" y="67"/>
                </a:cubicBezTo>
                <a:cubicBezTo>
                  <a:pt x="30" y="67"/>
                  <a:pt x="29" y="67"/>
                  <a:pt x="29" y="67"/>
                </a:cubicBezTo>
                <a:cubicBezTo>
                  <a:pt x="29" y="68"/>
                  <a:pt x="29" y="68"/>
                  <a:pt x="29" y="69"/>
                </a:cubicBezTo>
                <a:cubicBezTo>
                  <a:pt x="29" y="70"/>
                  <a:pt x="29" y="70"/>
                  <a:pt x="29" y="71"/>
                </a:cubicBezTo>
                <a:cubicBezTo>
                  <a:pt x="29" y="71"/>
                  <a:pt x="29" y="71"/>
                  <a:pt x="30" y="71"/>
                </a:cubicBezTo>
                <a:cubicBezTo>
                  <a:pt x="30" y="72"/>
                  <a:pt x="31" y="73"/>
                  <a:pt x="31" y="73"/>
                </a:cubicBezTo>
                <a:cubicBezTo>
                  <a:pt x="31" y="74"/>
                  <a:pt x="32" y="75"/>
                  <a:pt x="32" y="75"/>
                </a:cubicBezTo>
                <a:cubicBezTo>
                  <a:pt x="32" y="76"/>
                  <a:pt x="32" y="76"/>
                  <a:pt x="31" y="77"/>
                </a:cubicBezTo>
                <a:cubicBezTo>
                  <a:pt x="31" y="78"/>
                  <a:pt x="30" y="78"/>
                  <a:pt x="29" y="78"/>
                </a:cubicBezTo>
                <a:cubicBezTo>
                  <a:pt x="28" y="78"/>
                  <a:pt x="28" y="78"/>
                  <a:pt x="28" y="78"/>
                </a:cubicBezTo>
                <a:cubicBezTo>
                  <a:pt x="28" y="78"/>
                  <a:pt x="27" y="78"/>
                  <a:pt x="27" y="78"/>
                </a:cubicBezTo>
                <a:cubicBezTo>
                  <a:pt x="26" y="79"/>
                  <a:pt x="26" y="80"/>
                  <a:pt x="25" y="80"/>
                </a:cubicBezTo>
                <a:cubicBezTo>
                  <a:pt x="25" y="80"/>
                  <a:pt x="25" y="81"/>
                  <a:pt x="25" y="82"/>
                </a:cubicBezTo>
                <a:cubicBezTo>
                  <a:pt x="25" y="83"/>
                  <a:pt x="25" y="85"/>
                  <a:pt x="25" y="86"/>
                </a:cubicBezTo>
                <a:cubicBezTo>
                  <a:pt x="24" y="86"/>
                  <a:pt x="23" y="86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2" y="85"/>
                </a:cubicBezTo>
                <a:cubicBezTo>
                  <a:pt x="22" y="85"/>
                  <a:pt x="22" y="85"/>
                  <a:pt x="21" y="86"/>
                </a:cubicBezTo>
                <a:cubicBezTo>
                  <a:pt x="21" y="86"/>
                  <a:pt x="21" y="86"/>
                  <a:pt x="21" y="86"/>
                </a:cubicBezTo>
                <a:cubicBezTo>
                  <a:pt x="21" y="87"/>
                  <a:pt x="21" y="88"/>
                  <a:pt x="22" y="88"/>
                </a:cubicBezTo>
                <a:cubicBezTo>
                  <a:pt x="22" y="88"/>
                  <a:pt x="22" y="89"/>
                  <a:pt x="22" y="89"/>
                </a:cubicBezTo>
                <a:cubicBezTo>
                  <a:pt x="22" y="89"/>
                  <a:pt x="22" y="90"/>
                  <a:pt x="22" y="91"/>
                </a:cubicBezTo>
                <a:cubicBezTo>
                  <a:pt x="21" y="92"/>
                  <a:pt x="20" y="94"/>
                  <a:pt x="21" y="95"/>
                </a:cubicBezTo>
                <a:cubicBezTo>
                  <a:pt x="21" y="96"/>
                  <a:pt x="22" y="97"/>
                  <a:pt x="23" y="98"/>
                </a:cubicBezTo>
                <a:cubicBezTo>
                  <a:pt x="24" y="99"/>
                  <a:pt x="24" y="99"/>
                  <a:pt x="25" y="100"/>
                </a:cubicBezTo>
                <a:cubicBezTo>
                  <a:pt x="25" y="100"/>
                  <a:pt x="26" y="100"/>
                  <a:pt x="26" y="100"/>
                </a:cubicBezTo>
                <a:cubicBezTo>
                  <a:pt x="27" y="100"/>
                  <a:pt x="27" y="100"/>
                  <a:pt x="28" y="100"/>
                </a:cubicBezTo>
                <a:cubicBezTo>
                  <a:pt x="29" y="101"/>
                  <a:pt x="29" y="102"/>
                  <a:pt x="28" y="104"/>
                </a:cubicBezTo>
                <a:cubicBezTo>
                  <a:pt x="28" y="104"/>
                  <a:pt x="28" y="104"/>
                  <a:pt x="28" y="104"/>
                </a:cubicBezTo>
                <a:cubicBezTo>
                  <a:pt x="28" y="104"/>
                  <a:pt x="28" y="104"/>
                  <a:pt x="28" y="104"/>
                </a:cubicBezTo>
                <a:cubicBezTo>
                  <a:pt x="28" y="104"/>
                  <a:pt x="28" y="104"/>
                  <a:pt x="28" y="104"/>
                </a:cubicBezTo>
                <a:cubicBezTo>
                  <a:pt x="28" y="104"/>
                  <a:pt x="28" y="105"/>
                  <a:pt x="29" y="106"/>
                </a:cubicBezTo>
                <a:cubicBezTo>
                  <a:pt x="29" y="106"/>
                  <a:pt x="29" y="106"/>
                  <a:pt x="29" y="106"/>
                </a:cubicBezTo>
                <a:cubicBezTo>
                  <a:pt x="29" y="108"/>
                  <a:pt x="30" y="110"/>
                  <a:pt x="30" y="111"/>
                </a:cubicBezTo>
                <a:cubicBezTo>
                  <a:pt x="30" y="111"/>
                  <a:pt x="31" y="111"/>
                  <a:pt x="32" y="111"/>
                </a:cubicBezTo>
                <a:cubicBezTo>
                  <a:pt x="34" y="111"/>
                  <a:pt x="35" y="111"/>
                  <a:pt x="36" y="112"/>
                </a:cubicBezTo>
                <a:cubicBezTo>
                  <a:pt x="37" y="112"/>
                  <a:pt x="38" y="113"/>
                  <a:pt x="40" y="115"/>
                </a:cubicBezTo>
                <a:cubicBezTo>
                  <a:pt x="42" y="116"/>
                  <a:pt x="44" y="118"/>
                  <a:pt x="45" y="119"/>
                </a:cubicBezTo>
                <a:cubicBezTo>
                  <a:pt x="45" y="119"/>
                  <a:pt x="45" y="119"/>
                  <a:pt x="46" y="119"/>
                </a:cubicBezTo>
                <a:cubicBezTo>
                  <a:pt x="47" y="119"/>
                  <a:pt x="47" y="119"/>
                  <a:pt x="48" y="119"/>
                </a:cubicBezTo>
                <a:cubicBezTo>
                  <a:pt x="48" y="119"/>
                  <a:pt x="48" y="119"/>
                  <a:pt x="48" y="119"/>
                </a:cubicBezTo>
                <a:cubicBezTo>
                  <a:pt x="48" y="119"/>
                  <a:pt x="49" y="120"/>
                  <a:pt x="50" y="123"/>
                </a:cubicBezTo>
                <a:cubicBezTo>
                  <a:pt x="217" y="123"/>
                  <a:pt x="217" y="123"/>
                  <a:pt x="217" y="123"/>
                </a:cubicBezTo>
                <a:cubicBezTo>
                  <a:pt x="217" y="36"/>
                  <a:pt x="217" y="36"/>
                  <a:pt x="217" y="36"/>
                </a:cubicBezTo>
                <a:cubicBezTo>
                  <a:pt x="217" y="35"/>
                  <a:pt x="216" y="35"/>
                  <a:pt x="215" y="35"/>
                </a:cubicBezTo>
                <a:cubicBezTo>
                  <a:pt x="215" y="35"/>
                  <a:pt x="214" y="35"/>
                  <a:pt x="213" y="3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49" name="Freeform 125"/>
          <p:cNvSpPr>
            <a:spLocks/>
          </p:cNvSpPr>
          <p:nvPr/>
        </p:nvSpPr>
        <p:spPr bwMode="auto">
          <a:xfrm>
            <a:off x="4087937" y="1697038"/>
            <a:ext cx="95250" cy="47625"/>
          </a:xfrm>
          <a:custGeom>
            <a:avLst/>
            <a:gdLst>
              <a:gd name="T0" fmla="*/ 2 w 10"/>
              <a:gd name="T1" fmla="*/ 5 h 5"/>
              <a:gd name="T2" fmla="*/ 8 w 10"/>
              <a:gd name="T3" fmla="*/ 4 h 5"/>
              <a:gd name="T4" fmla="*/ 9 w 10"/>
              <a:gd name="T5" fmla="*/ 1 h 5"/>
              <a:gd name="T6" fmla="*/ 6 w 10"/>
              <a:gd name="T7" fmla="*/ 1 h 5"/>
              <a:gd name="T8" fmla="*/ 2 w 10"/>
              <a:gd name="T9" fmla="*/ 3 h 5"/>
              <a:gd name="T10" fmla="*/ 2 w 10"/>
              <a:gd name="T1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" h="5">
                <a:moveTo>
                  <a:pt x="2" y="5"/>
                </a:moveTo>
                <a:cubicBezTo>
                  <a:pt x="5" y="5"/>
                  <a:pt x="7" y="5"/>
                  <a:pt x="8" y="4"/>
                </a:cubicBezTo>
                <a:cubicBezTo>
                  <a:pt x="9" y="4"/>
                  <a:pt x="10" y="3"/>
                  <a:pt x="9" y="1"/>
                </a:cubicBezTo>
                <a:cubicBezTo>
                  <a:pt x="8" y="0"/>
                  <a:pt x="8" y="0"/>
                  <a:pt x="6" y="1"/>
                </a:cubicBezTo>
                <a:cubicBezTo>
                  <a:pt x="4" y="1"/>
                  <a:pt x="2" y="1"/>
                  <a:pt x="2" y="3"/>
                </a:cubicBezTo>
                <a:cubicBezTo>
                  <a:pt x="2" y="5"/>
                  <a:pt x="0" y="5"/>
                  <a:pt x="2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50" name="Freeform 126"/>
          <p:cNvSpPr>
            <a:spLocks/>
          </p:cNvSpPr>
          <p:nvPr/>
        </p:nvSpPr>
        <p:spPr bwMode="auto">
          <a:xfrm>
            <a:off x="3935537" y="0"/>
            <a:ext cx="1428750" cy="1763713"/>
          </a:xfrm>
          <a:custGeom>
            <a:avLst/>
            <a:gdLst>
              <a:gd name="T0" fmla="*/ 35 w 150"/>
              <a:gd name="T1" fmla="*/ 8 h 185"/>
              <a:gd name="T2" fmla="*/ 35 w 150"/>
              <a:gd name="T3" fmla="*/ 9 h 185"/>
              <a:gd name="T4" fmla="*/ 40 w 150"/>
              <a:gd name="T5" fmla="*/ 13 h 185"/>
              <a:gd name="T6" fmla="*/ 39 w 150"/>
              <a:gd name="T7" fmla="*/ 22 h 185"/>
              <a:gd name="T8" fmla="*/ 39 w 150"/>
              <a:gd name="T9" fmla="*/ 37 h 185"/>
              <a:gd name="T10" fmla="*/ 43 w 150"/>
              <a:gd name="T11" fmla="*/ 43 h 185"/>
              <a:gd name="T12" fmla="*/ 45 w 150"/>
              <a:gd name="T13" fmla="*/ 49 h 185"/>
              <a:gd name="T14" fmla="*/ 61 w 150"/>
              <a:gd name="T15" fmla="*/ 56 h 185"/>
              <a:gd name="T16" fmla="*/ 63 w 150"/>
              <a:gd name="T17" fmla="*/ 69 h 185"/>
              <a:gd name="T18" fmla="*/ 61 w 150"/>
              <a:gd name="T19" fmla="*/ 73 h 185"/>
              <a:gd name="T20" fmla="*/ 49 w 150"/>
              <a:gd name="T21" fmla="*/ 79 h 185"/>
              <a:gd name="T22" fmla="*/ 34 w 150"/>
              <a:gd name="T23" fmla="*/ 91 h 185"/>
              <a:gd name="T24" fmla="*/ 27 w 150"/>
              <a:gd name="T25" fmla="*/ 100 h 185"/>
              <a:gd name="T26" fmla="*/ 20 w 150"/>
              <a:gd name="T27" fmla="*/ 108 h 185"/>
              <a:gd name="T28" fmla="*/ 12 w 150"/>
              <a:gd name="T29" fmla="*/ 109 h 185"/>
              <a:gd name="T30" fmla="*/ 9 w 150"/>
              <a:gd name="T31" fmla="*/ 114 h 185"/>
              <a:gd name="T32" fmla="*/ 2 w 150"/>
              <a:gd name="T33" fmla="*/ 128 h 185"/>
              <a:gd name="T34" fmla="*/ 4 w 150"/>
              <a:gd name="T35" fmla="*/ 138 h 185"/>
              <a:gd name="T36" fmla="*/ 6 w 150"/>
              <a:gd name="T37" fmla="*/ 147 h 185"/>
              <a:gd name="T38" fmla="*/ 4 w 150"/>
              <a:gd name="T39" fmla="*/ 158 h 185"/>
              <a:gd name="T40" fmla="*/ 7 w 150"/>
              <a:gd name="T41" fmla="*/ 170 h 185"/>
              <a:gd name="T42" fmla="*/ 12 w 150"/>
              <a:gd name="T43" fmla="*/ 169 h 185"/>
              <a:gd name="T44" fmla="*/ 23 w 150"/>
              <a:gd name="T45" fmla="*/ 176 h 185"/>
              <a:gd name="T46" fmla="*/ 27 w 150"/>
              <a:gd name="T47" fmla="*/ 179 h 185"/>
              <a:gd name="T48" fmla="*/ 28 w 150"/>
              <a:gd name="T49" fmla="*/ 185 h 185"/>
              <a:gd name="T50" fmla="*/ 45 w 150"/>
              <a:gd name="T51" fmla="*/ 180 h 185"/>
              <a:gd name="T52" fmla="*/ 55 w 150"/>
              <a:gd name="T53" fmla="*/ 176 h 185"/>
              <a:gd name="T54" fmla="*/ 69 w 150"/>
              <a:gd name="T55" fmla="*/ 175 h 185"/>
              <a:gd name="T56" fmla="*/ 71 w 150"/>
              <a:gd name="T57" fmla="*/ 171 h 185"/>
              <a:gd name="T58" fmla="*/ 85 w 150"/>
              <a:gd name="T59" fmla="*/ 170 h 185"/>
              <a:gd name="T60" fmla="*/ 99 w 150"/>
              <a:gd name="T61" fmla="*/ 166 h 185"/>
              <a:gd name="T62" fmla="*/ 109 w 150"/>
              <a:gd name="T63" fmla="*/ 159 h 185"/>
              <a:gd name="T64" fmla="*/ 118 w 150"/>
              <a:gd name="T65" fmla="*/ 153 h 185"/>
              <a:gd name="T66" fmla="*/ 126 w 150"/>
              <a:gd name="T67" fmla="*/ 145 h 185"/>
              <a:gd name="T68" fmla="*/ 131 w 150"/>
              <a:gd name="T69" fmla="*/ 139 h 185"/>
              <a:gd name="T70" fmla="*/ 147 w 150"/>
              <a:gd name="T71" fmla="*/ 124 h 185"/>
              <a:gd name="T72" fmla="*/ 145 w 150"/>
              <a:gd name="T73" fmla="*/ 110 h 185"/>
              <a:gd name="T74" fmla="*/ 131 w 150"/>
              <a:gd name="T75" fmla="*/ 101 h 185"/>
              <a:gd name="T76" fmla="*/ 132 w 150"/>
              <a:gd name="T77" fmla="*/ 95 h 185"/>
              <a:gd name="T78" fmla="*/ 136 w 150"/>
              <a:gd name="T79" fmla="*/ 89 h 185"/>
              <a:gd name="T80" fmla="*/ 130 w 150"/>
              <a:gd name="T81" fmla="*/ 84 h 185"/>
              <a:gd name="T82" fmla="*/ 129 w 150"/>
              <a:gd name="T83" fmla="*/ 77 h 185"/>
              <a:gd name="T84" fmla="*/ 128 w 150"/>
              <a:gd name="T85" fmla="*/ 74 h 185"/>
              <a:gd name="T86" fmla="*/ 123 w 150"/>
              <a:gd name="T87" fmla="*/ 72 h 185"/>
              <a:gd name="T88" fmla="*/ 125 w 150"/>
              <a:gd name="T89" fmla="*/ 66 h 185"/>
              <a:gd name="T90" fmla="*/ 122 w 150"/>
              <a:gd name="T91" fmla="*/ 63 h 185"/>
              <a:gd name="T92" fmla="*/ 124 w 150"/>
              <a:gd name="T93" fmla="*/ 59 h 185"/>
              <a:gd name="T94" fmla="*/ 127 w 150"/>
              <a:gd name="T95" fmla="*/ 53 h 185"/>
              <a:gd name="T96" fmla="*/ 126 w 150"/>
              <a:gd name="T97" fmla="*/ 45 h 185"/>
              <a:gd name="T98" fmla="*/ 116 w 150"/>
              <a:gd name="T99" fmla="*/ 26 h 185"/>
              <a:gd name="T100" fmla="*/ 115 w 150"/>
              <a:gd name="T101" fmla="*/ 25 h 185"/>
              <a:gd name="T102" fmla="*/ 124 w 150"/>
              <a:gd name="T103" fmla="*/ 10 h 185"/>
              <a:gd name="T104" fmla="*/ 123 w 150"/>
              <a:gd name="T105" fmla="*/ 1 h 185"/>
              <a:gd name="T106" fmla="*/ 36 w 150"/>
              <a:gd name="T107" fmla="*/ 0 h 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" h="185">
                <a:moveTo>
                  <a:pt x="36" y="3"/>
                </a:moveTo>
                <a:cubicBezTo>
                  <a:pt x="36" y="4"/>
                  <a:pt x="36" y="5"/>
                  <a:pt x="36" y="6"/>
                </a:cubicBezTo>
                <a:cubicBezTo>
                  <a:pt x="36" y="6"/>
                  <a:pt x="36" y="7"/>
                  <a:pt x="35" y="8"/>
                </a:cubicBezTo>
                <a:cubicBezTo>
                  <a:pt x="35" y="8"/>
                  <a:pt x="34" y="9"/>
                  <a:pt x="34" y="9"/>
                </a:cubicBezTo>
                <a:cubicBezTo>
                  <a:pt x="34" y="9"/>
                  <a:pt x="34" y="9"/>
                  <a:pt x="35" y="9"/>
                </a:cubicBezTo>
                <a:cubicBezTo>
                  <a:pt x="35" y="9"/>
                  <a:pt x="35" y="9"/>
                  <a:pt x="35" y="9"/>
                </a:cubicBezTo>
                <a:cubicBezTo>
                  <a:pt x="35" y="9"/>
                  <a:pt x="36" y="9"/>
                  <a:pt x="36" y="9"/>
                </a:cubicBezTo>
                <a:cubicBezTo>
                  <a:pt x="37" y="9"/>
                  <a:pt x="38" y="10"/>
                  <a:pt x="38" y="10"/>
                </a:cubicBezTo>
                <a:cubicBezTo>
                  <a:pt x="39" y="11"/>
                  <a:pt x="40" y="12"/>
                  <a:pt x="40" y="13"/>
                </a:cubicBezTo>
                <a:cubicBezTo>
                  <a:pt x="40" y="13"/>
                  <a:pt x="39" y="14"/>
                  <a:pt x="39" y="14"/>
                </a:cubicBezTo>
                <a:cubicBezTo>
                  <a:pt x="38" y="15"/>
                  <a:pt x="37" y="16"/>
                  <a:pt x="36" y="18"/>
                </a:cubicBezTo>
                <a:cubicBezTo>
                  <a:pt x="36" y="19"/>
                  <a:pt x="38" y="20"/>
                  <a:pt x="39" y="22"/>
                </a:cubicBezTo>
                <a:cubicBezTo>
                  <a:pt x="41" y="23"/>
                  <a:pt x="42" y="25"/>
                  <a:pt x="42" y="26"/>
                </a:cubicBezTo>
                <a:cubicBezTo>
                  <a:pt x="42" y="27"/>
                  <a:pt x="42" y="29"/>
                  <a:pt x="41" y="31"/>
                </a:cubicBezTo>
                <a:cubicBezTo>
                  <a:pt x="40" y="34"/>
                  <a:pt x="39" y="36"/>
                  <a:pt x="39" y="37"/>
                </a:cubicBezTo>
                <a:cubicBezTo>
                  <a:pt x="38" y="39"/>
                  <a:pt x="38" y="39"/>
                  <a:pt x="39" y="39"/>
                </a:cubicBezTo>
                <a:cubicBezTo>
                  <a:pt x="39" y="39"/>
                  <a:pt x="40" y="39"/>
                  <a:pt x="41" y="40"/>
                </a:cubicBezTo>
                <a:cubicBezTo>
                  <a:pt x="42" y="41"/>
                  <a:pt x="43" y="42"/>
                  <a:pt x="43" y="43"/>
                </a:cubicBezTo>
                <a:cubicBezTo>
                  <a:pt x="43" y="43"/>
                  <a:pt x="43" y="43"/>
                  <a:pt x="43" y="43"/>
                </a:cubicBezTo>
                <a:cubicBezTo>
                  <a:pt x="44" y="44"/>
                  <a:pt x="44" y="44"/>
                  <a:pt x="44" y="45"/>
                </a:cubicBezTo>
                <a:cubicBezTo>
                  <a:pt x="45" y="46"/>
                  <a:pt x="45" y="48"/>
                  <a:pt x="45" y="49"/>
                </a:cubicBezTo>
                <a:cubicBezTo>
                  <a:pt x="46" y="49"/>
                  <a:pt x="47" y="50"/>
                  <a:pt x="47" y="50"/>
                </a:cubicBezTo>
                <a:cubicBezTo>
                  <a:pt x="50" y="50"/>
                  <a:pt x="51" y="53"/>
                  <a:pt x="54" y="54"/>
                </a:cubicBezTo>
                <a:cubicBezTo>
                  <a:pt x="57" y="55"/>
                  <a:pt x="58" y="55"/>
                  <a:pt x="61" y="56"/>
                </a:cubicBezTo>
                <a:cubicBezTo>
                  <a:pt x="63" y="58"/>
                  <a:pt x="61" y="61"/>
                  <a:pt x="61" y="62"/>
                </a:cubicBezTo>
                <a:cubicBezTo>
                  <a:pt x="61" y="63"/>
                  <a:pt x="60" y="64"/>
                  <a:pt x="60" y="65"/>
                </a:cubicBezTo>
                <a:cubicBezTo>
                  <a:pt x="60" y="66"/>
                  <a:pt x="63" y="68"/>
                  <a:pt x="63" y="69"/>
                </a:cubicBezTo>
                <a:cubicBezTo>
                  <a:pt x="63" y="70"/>
                  <a:pt x="61" y="69"/>
                  <a:pt x="60" y="69"/>
                </a:cubicBezTo>
                <a:cubicBezTo>
                  <a:pt x="60" y="69"/>
                  <a:pt x="62" y="71"/>
                  <a:pt x="62" y="71"/>
                </a:cubicBezTo>
                <a:cubicBezTo>
                  <a:pt x="62" y="72"/>
                  <a:pt x="62" y="73"/>
                  <a:pt x="61" y="73"/>
                </a:cubicBezTo>
                <a:cubicBezTo>
                  <a:pt x="59" y="73"/>
                  <a:pt x="58" y="71"/>
                  <a:pt x="57" y="71"/>
                </a:cubicBezTo>
                <a:cubicBezTo>
                  <a:pt x="56" y="71"/>
                  <a:pt x="54" y="73"/>
                  <a:pt x="51" y="73"/>
                </a:cubicBezTo>
                <a:cubicBezTo>
                  <a:pt x="49" y="74"/>
                  <a:pt x="49" y="77"/>
                  <a:pt x="49" y="79"/>
                </a:cubicBezTo>
                <a:cubicBezTo>
                  <a:pt x="48" y="81"/>
                  <a:pt x="43" y="84"/>
                  <a:pt x="41" y="85"/>
                </a:cubicBezTo>
                <a:cubicBezTo>
                  <a:pt x="40" y="86"/>
                  <a:pt x="39" y="90"/>
                  <a:pt x="38" y="91"/>
                </a:cubicBezTo>
                <a:cubicBezTo>
                  <a:pt x="37" y="92"/>
                  <a:pt x="35" y="90"/>
                  <a:pt x="34" y="91"/>
                </a:cubicBezTo>
                <a:cubicBezTo>
                  <a:pt x="32" y="91"/>
                  <a:pt x="34" y="93"/>
                  <a:pt x="34" y="94"/>
                </a:cubicBezTo>
                <a:cubicBezTo>
                  <a:pt x="34" y="94"/>
                  <a:pt x="32" y="94"/>
                  <a:pt x="31" y="94"/>
                </a:cubicBezTo>
                <a:cubicBezTo>
                  <a:pt x="29" y="95"/>
                  <a:pt x="28" y="98"/>
                  <a:pt x="27" y="100"/>
                </a:cubicBezTo>
                <a:cubicBezTo>
                  <a:pt x="26" y="101"/>
                  <a:pt x="25" y="100"/>
                  <a:pt x="22" y="100"/>
                </a:cubicBezTo>
                <a:cubicBezTo>
                  <a:pt x="20" y="101"/>
                  <a:pt x="18" y="102"/>
                  <a:pt x="17" y="104"/>
                </a:cubicBezTo>
                <a:cubicBezTo>
                  <a:pt x="17" y="105"/>
                  <a:pt x="19" y="106"/>
                  <a:pt x="20" y="108"/>
                </a:cubicBezTo>
                <a:cubicBezTo>
                  <a:pt x="20" y="109"/>
                  <a:pt x="19" y="108"/>
                  <a:pt x="17" y="109"/>
                </a:cubicBezTo>
                <a:cubicBezTo>
                  <a:pt x="14" y="110"/>
                  <a:pt x="15" y="111"/>
                  <a:pt x="14" y="111"/>
                </a:cubicBezTo>
                <a:cubicBezTo>
                  <a:pt x="12" y="111"/>
                  <a:pt x="13" y="109"/>
                  <a:pt x="12" y="109"/>
                </a:cubicBezTo>
                <a:cubicBezTo>
                  <a:pt x="11" y="108"/>
                  <a:pt x="10" y="109"/>
                  <a:pt x="9" y="109"/>
                </a:cubicBezTo>
                <a:cubicBezTo>
                  <a:pt x="8" y="109"/>
                  <a:pt x="8" y="110"/>
                  <a:pt x="7" y="111"/>
                </a:cubicBezTo>
                <a:cubicBezTo>
                  <a:pt x="7" y="113"/>
                  <a:pt x="9" y="113"/>
                  <a:pt x="9" y="114"/>
                </a:cubicBezTo>
                <a:cubicBezTo>
                  <a:pt x="9" y="115"/>
                  <a:pt x="5" y="116"/>
                  <a:pt x="4" y="117"/>
                </a:cubicBezTo>
                <a:cubicBezTo>
                  <a:pt x="2" y="118"/>
                  <a:pt x="2" y="120"/>
                  <a:pt x="1" y="122"/>
                </a:cubicBezTo>
                <a:cubicBezTo>
                  <a:pt x="0" y="123"/>
                  <a:pt x="1" y="125"/>
                  <a:pt x="2" y="128"/>
                </a:cubicBezTo>
                <a:cubicBezTo>
                  <a:pt x="3" y="131"/>
                  <a:pt x="3" y="129"/>
                  <a:pt x="4" y="130"/>
                </a:cubicBezTo>
                <a:cubicBezTo>
                  <a:pt x="5" y="130"/>
                  <a:pt x="6" y="131"/>
                  <a:pt x="5" y="134"/>
                </a:cubicBezTo>
                <a:cubicBezTo>
                  <a:pt x="5" y="137"/>
                  <a:pt x="4" y="137"/>
                  <a:pt x="4" y="138"/>
                </a:cubicBezTo>
                <a:cubicBezTo>
                  <a:pt x="3" y="139"/>
                  <a:pt x="6" y="141"/>
                  <a:pt x="7" y="143"/>
                </a:cubicBezTo>
                <a:cubicBezTo>
                  <a:pt x="8" y="144"/>
                  <a:pt x="9" y="147"/>
                  <a:pt x="9" y="148"/>
                </a:cubicBezTo>
                <a:cubicBezTo>
                  <a:pt x="9" y="149"/>
                  <a:pt x="7" y="147"/>
                  <a:pt x="6" y="147"/>
                </a:cubicBezTo>
                <a:cubicBezTo>
                  <a:pt x="5" y="147"/>
                  <a:pt x="6" y="148"/>
                  <a:pt x="6" y="149"/>
                </a:cubicBezTo>
                <a:cubicBezTo>
                  <a:pt x="6" y="150"/>
                  <a:pt x="7" y="153"/>
                  <a:pt x="8" y="155"/>
                </a:cubicBezTo>
                <a:cubicBezTo>
                  <a:pt x="8" y="156"/>
                  <a:pt x="5" y="157"/>
                  <a:pt x="4" y="158"/>
                </a:cubicBezTo>
                <a:cubicBezTo>
                  <a:pt x="4" y="159"/>
                  <a:pt x="6" y="161"/>
                  <a:pt x="6" y="161"/>
                </a:cubicBezTo>
                <a:cubicBezTo>
                  <a:pt x="6" y="162"/>
                  <a:pt x="6" y="165"/>
                  <a:pt x="6" y="167"/>
                </a:cubicBezTo>
                <a:cubicBezTo>
                  <a:pt x="5" y="169"/>
                  <a:pt x="6" y="170"/>
                  <a:pt x="7" y="170"/>
                </a:cubicBezTo>
                <a:cubicBezTo>
                  <a:pt x="7" y="171"/>
                  <a:pt x="9" y="170"/>
                  <a:pt x="9" y="169"/>
                </a:cubicBezTo>
                <a:cubicBezTo>
                  <a:pt x="9" y="169"/>
                  <a:pt x="8" y="168"/>
                  <a:pt x="9" y="168"/>
                </a:cubicBezTo>
                <a:cubicBezTo>
                  <a:pt x="9" y="167"/>
                  <a:pt x="11" y="169"/>
                  <a:pt x="12" y="169"/>
                </a:cubicBezTo>
                <a:cubicBezTo>
                  <a:pt x="12" y="170"/>
                  <a:pt x="16" y="172"/>
                  <a:pt x="18" y="173"/>
                </a:cubicBezTo>
                <a:cubicBezTo>
                  <a:pt x="20" y="174"/>
                  <a:pt x="21" y="172"/>
                  <a:pt x="22" y="173"/>
                </a:cubicBezTo>
                <a:cubicBezTo>
                  <a:pt x="24" y="173"/>
                  <a:pt x="22" y="176"/>
                  <a:pt x="23" y="176"/>
                </a:cubicBezTo>
                <a:cubicBezTo>
                  <a:pt x="24" y="176"/>
                  <a:pt x="27" y="174"/>
                  <a:pt x="29" y="173"/>
                </a:cubicBezTo>
                <a:cubicBezTo>
                  <a:pt x="30" y="172"/>
                  <a:pt x="29" y="174"/>
                  <a:pt x="29" y="174"/>
                </a:cubicBezTo>
                <a:cubicBezTo>
                  <a:pt x="29" y="175"/>
                  <a:pt x="27" y="177"/>
                  <a:pt x="27" y="179"/>
                </a:cubicBezTo>
                <a:cubicBezTo>
                  <a:pt x="27" y="180"/>
                  <a:pt x="28" y="179"/>
                  <a:pt x="30" y="181"/>
                </a:cubicBezTo>
                <a:cubicBezTo>
                  <a:pt x="33" y="182"/>
                  <a:pt x="30" y="182"/>
                  <a:pt x="29" y="183"/>
                </a:cubicBezTo>
                <a:cubicBezTo>
                  <a:pt x="28" y="184"/>
                  <a:pt x="27" y="185"/>
                  <a:pt x="28" y="185"/>
                </a:cubicBezTo>
                <a:cubicBezTo>
                  <a:pt x="30" y="184"/>
                  <a:pt x="32" y="182"/>
                  <a:pt x="33" y="182"/>
                </a:cubicBezTo>
                <a:cubicBezTo>
                  <a:pt x="35" y="181"/>
                  <a:pt x="36" y="182"/>
                  <a:pt x="39" y="182"/>
                </a:cubicBezTo>
                <a:cubicBezTo>
                  <a:pt x="41" y="182"/>
                  <a:pt x="44" y="180"/>
                  <a:pt x="45" y="180"/>
                </a:cubicBezTo>
                <a:cubicBezTo>
                  <a:pt x="47" y="179"/>
                  <a:pt x="48" y="181"/>
                  <a:pt x="49" y="181"/>
                </a:cubicBezTo>
                <a:cubicBezTo>
                  <a:pt x="50" y="182"/>
                  <a:pt x="50" y="178"/>
                  <a:pt x="50" y="177"/>
                </a:cubicBezTo>
                <a:cubicBezTo>
                  <a:pt x="51" y="177"/>
                  <a:pt x="52" y="176"/>
                  <a:pt x="55" y="176"/>
                </a:cubicBezTo>
                <a:cubicBezTo>
                  <a:pt x="58" y="177"/>
                  <a:pt x="60" y="176"/>
                  <a:pt x="62" y="176"/>
                </a:cubicBezTo>
                <a:cubicBezTo>
                  <a:pt x="64" y="176"/>
                  <a:pt x="64" y="175"/>
                  <a:pt x="65" y="174"/>
                </a:cubicBezTo>
                <a:cubicBezTo>
                  <a:pt x="66" y="174"/>
                  <a:pt x="68" y="176"/>
                  <a:pt x="69" y="175"/>
                </a:cubicBezTo>
                <a:cubicBezTo>
                  <a:pt x="70" y="175"/>
                  <a:pt x="69" y="174"/>
                  <a:pt x="69" y="174"/>
                </a:cubicBezTo>
                <a:cubicBezTo>
                  <a:pt x="69" y="173"/>
                  <a:pt x="70" y="174"/>
                  <a:pt x="71" y="174"/>
                </a:cubicBezTo>
                <a:cubicBezTo>
                  <a:pt x="72" y="174"/>
                  <a:pt x="71" y="172"/>
                  <a:pt x="71" y="171"/>
                </a:cubicBezTo>
                <a:cubicBezTo>
                  <a:pt x="72" y="170"/>
                  <a:pt x="73" y="172"/>
                  <a:pt x="75" y="172"/>
                </a:cubicBezTo>
                <a:cubicBezTo>
                  <a:pt x="76" y="173"/>
                  <a:pt x="77" y="171"/>
                  <a:pt x="78" y="171"/>
                </a:cubicBezTo>
                <a:cubicBezTo>
                  <a:pt x="79" y="170"/>
                  <a:pt x="80" y="170"/>
                  <a:pt x="85" y="170"/>
                </a:cubicBezTo>
                <a:cubicBezTo>
                  <a:pt x="89" y="170"/>
                  <a:pt x="90" y="170"/>
                  <a:pt x="92" y="170"/>
                </a:cubicBezTo>
                <a:cubicBezTo>
                  <a:pt x="94" y="171"/>
                  <a:pt x="95" y="170"/>
                  <a:pt x="97" y="170"/>
                </a:cubicBezTo>
                <a:cubicBezTo>
                  <a:pt x="98" y="168"/>
                  <a:pt x="99" y="167"/>
                  <a:pt x="99" y="166"/>
                </a:cubicBezTo>
                <a:cubicBezTo>
                  <a:pt x="100" y="166"/>
                  <a:pt x="101" y="165"/>
                  <a:pt x="102" y="164"/>
                </a:cubicBezTo>
                <a:cubicBezTo>
                  <a:pt x="103" y="163"/>
                  <a:pt x="104" y="162"/>
                  <a:pt x="106" y="161"/>
                </a:cubicBezTo>
                <a:cubicBezTo>
                  <a:pt x="107" y="160"/>
                  <a:pt x="108" y="160"/>
                  <a:pt x="109" y="159"/>
                </a:cubicBezTo>
                <a:cubicBezTo>
                  <a:pt x="110" y="158"/>
                  <a:pt x="111" y="157"/>
                  <a:pt x="111" y="157"/>
                </a:cubicBezTo>
                <a:cubicBezTo>
                  <a:pt x="111" y="157"/>
                  <a:pt x="113" y="156"/>
                  <a:pt x="115" y="155"/>
                </a:cubicBezTo>
                <a:cubicBezTo>
                  <a:pt x="116" y="154"/>
                  <a:pt x="118" y="153"/>
                  <a:pt x="118" y="153"/>
                </a:cubicBezTo>
                <a:cubicBezTo>
                  <a:pt x="119" y="153"/>
                  <a:pt x="121" y="150"/>
                  <a:pt x="123" y="148"/>
                </a:cubicBezTo>
                <a:cubicBezTo>
                  <a:pt x="125" y="147"/>
                  <a:pt x="126" y="145"/>
                  <a:pt x="126" y="145"/>
                </a:cubicBezTo>
                <a:cubicBezTo>
                  <a:pt x="126" y="145"/>
                  <a:pt x="126" y="145"/>
                  <a:pt x="126" y="145"/>
                </a:cubicBezTo>
                <a:cubicBezTo>
                  <a:pt x="126" y="144"/>
                  <a:pt x="127" y="143"/>
                  <a:pt x="128" y="142"/>
                </a:cubicBezTo>
                <a:cubicBezTo>
                  <a:pt x="128" y="142"/>
                  <a:pt x="128" y="142"/>
                  <a:pt x="128" y="142"/>
                </a:cubicBezTo>
                <a:cubicBezTo>
                  <a:pt x="129" y="141"/>
                  <a:pt x="131" y="139"/>
                  <a:pt x="131" y="139"/>
                </a:cubicBezTo>
                <a:cubicBezTo>
                  <a:pt x="131" y="138"/>
                  <a:pt x="134" y="136"/>
                  <a:pt x="136" y="134"/>
                </a:cubicBezTo>
                <a:cubicBezTo>
                  <a:pt x="141" y="130"/>
                  <a:pt x="146" y="125"/>
                  <a:pt x="146" y="125"/>
                </a:cubicBezTo>
                <a:cubicBezTo>
                  <a:pt x="146" y="125"/>
                  <a:pt x="147" y="125"/>
                  <a:pt x="147" y="124"/>
                </a:cubicBezTo>
                <a:cubicBezTo>
                  <a:pt x="148" y="122"/>
                  <a:pt x="150" y="118"/>
                  <a:pt x="150" y="117"/>
                </a:cubicBezTo>
                <a:cubicBezTo>
                  <a:pt x="150" y="116"/>
                  <a:pt x="148" y="114"/>
                  <a:pt x="147" y="112"/>
                </a:cubicBezTo>
                <a:cubicBezTo>
                  <a:pt x="146" y="111"/>
                  <a:pt x="145" y="111"/>
                  <a:pt x="145" y="110"/>
                </a:cubicBezTo>
                <a:cubicBezTo>
                  <a:pt x="145" y="110"/>
                  <a:pt x="144" y="109"/>
                  <a:pt x="143" y="109"/>
                </a:cubicBezTo>
                <a:cubicBezTo>
                  <a:pt x="141" y="108"/>
                  <a:pt x="140" y="107"/>
                  <a:pt x="138" y="105"/>
                </a:cubicBezTo>
                <a:cubicBezTo>
                  <a:pt x="136" y="104"/>
                  <a:pt x="133" y="102"/>
                  <a:pt x="131" y="101"/>
                </a:cubicBezTo>
                <a:cubicBezTo>
                  <a:pt x="129" y="99"/>
                  <a:pt x="128" y="99"/>
                  <a:pt x="128" y="98"/>
                </a:cubicBezTo>
                <a:cubicBezTo>
                  <a:pt x="127" y="97"/>
                  <a:pt x="129" y="97"/>
                  <a:pt x="130" y="96"/>
                </a:cubicBezTo>
                <a:cubicBezTo>
                  <a:pt x="131" y="96"/>
                  <a:pt x="132" y="95"/>
                  <a:pt x="132" y="95"/>
                </a:cubicBezTo>
                <a:cubicBezTo>
                  <a:pt x="133" y="95"/>
                  <a:pt x="134" y="94"/>
                  <a:pt x="134" y="93"/>
                </a:cubicBezTo>
                <a:cubicBezTo>
                  <a:pt x="135" y="92"/>
                  <a:pt x="136" y="91"/>
                  <a:pt x="136" y="91"/>
                </a:cubicBezTo>
                <a:cubicBezTo>
                  <a:pt x="136" y="90"/>
                  <a:pt x="136" y="90"/>
                  <a:pt x="136" y="89"/>
                </a:cubicBezTo>
                <a:cubicBezTo>
                  <a:pt x="136" y="88"/>
                  <a:pt x="136" y="87"/>
                  <a:pt x="136" y="87"/>
                </a:cubicBezTo>
                <a:cubicBezTo>
                  <a:pt x="136" y="87"/>
                  <a:pt x="134" y="86"/>
                  <a:pt x="133" y="85"/>
                </a:cubicBezTo>
                <a:cubicBezTo>
                  <a:pt x="132" y="85"/>
                  <a:pt x="131" y="84"/>
                  <a:pt x="130" y="84"/>
                </a:cubicBezTo>
                <a:cubicBezTo>
                  <a:pt x="129" y="84"/>
                  <a:pt x="129" y="83"/>
                  <a:pt x="129" y="82"/>
                </a:cubicBezTo>
                <a:cubicBezTo>
                  <a:pt x="128" y="81"/>
                  <a:pt x="128" y="80"/>
                  <a:pt x="128" y="79"/>
                </a:cubicBezTo>
                <a:cubicBezTo>
                  <a:pt x="128" y="78"/>
                  <a:pt x="129" y="78"/>
                  <a:pt x="129" y="77"/>
                </a:cubicBezTo>
                <a:cubicBezTo>
                  <a:pt x="130" y="77"/>
                  <a:pt x="130" y="77"/>
                  <a:pt x="130" y="77"/>
                </a:cubicBezTo>
                <a:cubicBezTo>
                  <a:pt x="130" y="77"/>
                  <a:pt x="129" y="76"/>
                  <a:pt x="129" y="75"/>
                </a:cubicBezTo>
                <a:cubicBezTo>
                  <a:pt x="128" y="75"/>
                  <a:pt x="128" y="75"/>
                  <a:pt x="128" y="74"/>
                </a:cubicBezTo>
                <a:cubicBezTo>
                  <a:pt x="128" y="74"/>
                  <a:pt x="127" y="74"/>
                  <a:pt x="126" y="74"/>
                </a:cubicBezTo>
                <a:cubicBezTo>
                  <a:pt x="126" y="74"/>
                  <a:pt x="125" y="74"/>
                  <a:pt x="125" y="74"/>
                </a:cubicBezTo>
                <a:cubicBezTo>
                  <a:pt x="124" y="73"/>
                  <a:pt x="124" y="73"/>
                  <a:pt x="123" y="72"/>
                </a:cubicBezTo>
                <a:cubicBezTo>
                  <a:pt x="123" y="71"/>
                  <a:pt x="122" y="70"/>
                  <a:pt x="122" y="70"/>
                </a:cubicBezTo>
                <a:cubicBezTo>
                  <a:pt x="122" y="69"/>
                  <a:pt x="123" y="68"/>
                  <a:pt x="124" y="67"/>
                </a:cubicBezTo>
                <a:cubicBezTo>
                  <a:pt x="125" y="66"/>
                  <a:pt x="125" y="66"/>
                  <a:pt x="125" y="66"/>
                </a:cubicBezTo>
                <a:cubicBezTo>
                  <a:pt x="125" y="66"/>
                  <a:pt x="124" y="65"/>
                  <a:pt x="124" y="65"/>
                </a:cubicBezTo>
                <a:cubicBezTo>
                  <a:pt x="123" y="64"/>
                  <a:pt x="123" y="64"/>
                  <a:pt x="122" y="63"/>
                </a:cubicBezTo>
                <a:cubicBezTo>
                  <a:pt x="122" y="63"/>
                  <a:pt x="122" y="63"/>
                  <a:pt x="122" y="63"/>
                </a:cubicBezTo>
                <a:cubicBezTo>
                  <a:pt x="122" y="63"/>
                  <a:pt x="123" y="61"/>
                  <a:pt x="123" y="60"/>
                </a:cubicBezTo>
                <a:cubicBezTo>
                  <a:pt x="123" y="60"/>
                  <a:pt x="123" y="60"/>
                  <a:pt x="123" y="60"/>
                </a:cubicBezTo>
                <a:cubicBezTo>
                  <a:pt x="123" y="60"/>
                  <a:pt x="123" y="59"/>
                  <a:pt x="124" y="59"/>
                </a:cubicBezTo>
                <a:cubicBezTo>
                  <a:pt x="124" y="59"/>
                  <a:pt x="124" y="58"/>
                  <a:pt x="124" y="56"/>
                </a:cubicBezTo>
                <a:cubicBezTo>
                  <a:pt x="124" y="55"/>
                  <a:pt x="124" y="54"/>
                  <a:pt x="124" y="54"/>
                </a:cubicBezTo>
                <a:cubicBezTo>
                  <a:pt x="125" y="53"/>
                  <a:pt x="126" y="53"/>
                  <a:pt x="127" y="53"/>
                </a:cubicBezTo>
                <a:cubicBezTo>
                  <a:pt x="128" y="53"/>
                  <a:pt x="129" y="54"/>
                  <a:pt x="129" y="53"/>
                </a:cubicBezTo>
                <a:cubicBezTo>
                  <a:pt x="129" y="53"/>
                  <a:pt x="128" y="51"/>
                  <a:pt x="128" y="50"/>
                </a:cubicBezTo>
                <a:cubicBezTo>
                  <a:pt x="127" y="48"/>
                  <a:pt x="127" y="46"/>
                  <a:pt x="126" y="45"/>
                </a:cubicBezTo>
                <a:cubicBezTo>
                  <a:pt x="126" y="44"/>
                  <a:pt x="126" y="44"/>
                  <a:pt x="125" y="44"/>
                </a:cubicBezTo>
                <a:cubicBezTo>
                  <a:pt x="124" y="40"/>
                  <a:pt x="122" y="35"/>
                  <a:pt x="120" y="33"/>
                </a:cubicBezTo>
                <a:cubicBezTo>
                  <a:pt x="118" y="30"/>
                  <a:pt x="116" y="27"/>
                  <a:pt x="116" y="26"/>
                </a:cubicBezTo>
                <a:cubicBezTo>
                  <a:pt x="116" y="26"/>
                  <a:pt x="116" y="26"/>
                  <a:pt x="116" y="26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5" y="25"/>
                  <a:pt x="115" y="25"/>
                  <a:pt x="115" y="25"/>
                </a:cubicBezTo>
                <a:cubicBezTo>
                  <a:pt x="115" y="25"/>
                  <a:pt x="115" y="24"/>
                  <a:pt x="115" y="23"/>
                </a:cubicBezTo>
                <a:cubicBezTo>
                  <a:pt x="115" y="22"/>
                  <a:pt x="115" y="21"/>
                  <a:pt x="115" y="20"/>
                </a:cubicBezTo>
                <a:cubicBezTo>
                  <a:pt x="116" y="20"/>
                  <a:pt x="120" y="14"/>
                  <a:pt x="124" y="10"/>
                </a:cubicBezTo>
                <a:cubicBezTo>
                  <a:pt x="126" y="7"/>
                  <a:pt x="128" y="5"/>
                  <a:pt x="128" y="5"/>
                </a:cubicBezTo>
                <a:cubicBezTo>
                  <a:pt x="128" y="5"/>
                  <a:pt x="127" y="5"/>
                  <a:pt x="127" y="4"/>
                </a:cubicBezTo>
                <a:cubicBezTo>
                  <a:pt x="126" y="3"/>
                  <a:pt x="125" y="2"/>
                  <a:pt x="123" y="1"/>
                </a:cubicBezTo>
                <a:cubicBezTo>
                  <a:pt x="123" y="1"/>
                  <a:pt x="123" y="0"/>
                  <a:pt x="122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5" y="0"/>
                  <a:pt x="36" y="2"/>
                  <a:pt x="36" y="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51" name="Freeform 127"/>
          <p:cNvSpPr>
            <a:spLocks/>
          </p:cNvSpPr>
          <p:nvPr/>
        </p:nvSpPr>
        <p:spPr bwMode="auto">
          <a:xfrm>
            <a:off x="773237" y="5822951"/>
            <a:ext cx="1466850" cy="762000"/>
          </a:xfrm>
          <a:custGeom>
            <a:avLst/>
            <a:gdLst>
              <a:gd name="T0" fmla="*/ 148 w 154"/>
              <a:gd name="T1" fmla="*/ 70 h 80"/>
              <a:gd name="T2" fmla="*/ 140 w 154"/>
              <a:gd name="T3" fmla="*/ 61 h 80"/>
              <a:gd name="T4" fmla="*/ 137 w 154"/>
              <a:gd name="T5" fmla="*/ 55 h 80"/>
              <a:gd name="T6" fmla="*/ 137 w 154"/>
              <a:gd name="T7" fmla="*/ 49 h 80"/>
              <a:gd name="T8" fmla="*/ 147 w 154"/>
              <a:gd name="T9" fmla="*/ 42 h 80"/>
              <a:gd name="T10" fmla="*/ 149 w 154"/>
              <a:gd name="T11" fmla="*/ 38 h 80"/>
              <a:gd name="T12" fmla="*/ 149 w 154"/>
              <a:gd name="T13" fmla="*/ 22 h 80"/>
              <a:gd name="T14" fmla="*/ 149 w 154"/>
              <a:gd name="T15" fmla="*/ 17 h 80"/>
              <a:gd name="T16" fmla="*/ 149 w 154"/>
              <a:gd name="T17" fmla="*/ 12 h 80"/>
              <a:gd name="T18" fmla="*/ 151 w 154"/>
              <a:gd name="T19" fmla="*/ 3 h 80"/>
              <a:gd name="T20" fmla="*/ 141 w 154"/>
              <a:gd name="T21" fmla="*/ 2 h 80"/>
              <a:gd name="T22" fmla="*/ 129 w 154"/>
              <a:gd name="T23" fmla="*/ 4 h 80"/>
              <a:gd name="T24" fmla="*/ 119 w 154"/>
              <a:gd name="T25" fmla="*/ 3 h 80"/>
              <a:gd name="T26" fmla="*/ 99 w 154"/>
              <a:gd name="T27" fmla="*/ 5 h 80"/>
              <a:gd name="T28" fmla="*/ 79 w 154"/>
              <a:gd name="T29" fmla="*/ 7 h 80"/>
              <a:gd name="T30" fmla="*/ 58 w 154"/>
              <a:gd name="T31" fmla="*/ 10 h 80"/>
              <a:gd name="T32" fmla="*/ 34 w 154"/>
              <a:gd name="T33" fmla="*/ 15 h 80"/>
              <a:gd name="T34" fmla="*/ 23 w 154"/>
              <a:gd name="T35" fmla="*/ 21 h 80"/>
              <a:gd name="T36" fmla="*/ 12 w 154"/>
              <a:gd name="T37" fmla="*/ 29 h 80"/>
              <a:gd name="T38" fmla="*/ 3 w 154"/>
              <a:gd name="T39" fmla="*/ 32 h 80"/>
              <a:gd name="T40" fmla="*/ 0 w 154"/>
              <a:gd name="T41" fmla="*/ 33 h 80"/>
              <a:gd name="T42" fmla="*/ 5 w 154"/>
              <a:gd name="T43" fmla="*/ 39 h 80"/>
              <a:gd name="T44" fmla="*/ 4 w 154"/>
              <a:gd name="T45" fmla="*/ 42 h 80"/>
              <a:gd name="T46" fmla="*/ 6 w 154"/>
              <a:gd name="T47" fmla="*/ 46 h 80"/>
              <a:gd name="T48" fmla="*/ 6 w 154"/>
              <a:gd name="T49" fmla="*/ 51 h 80"/>
              <a:gd name="T50" fmla="*/ 5 w 154"/>
              <a:gd name="T51" fmla="*/ 56 h 80"/>
              <a:gd name="T52" fmla="*/ 9 w 154"/>
              <a:gd name="T53" fmla="*/ 65 h 80"/>
              <a:gd name="T54" fmla="*/ 11 w 154"/>
              <a:gd name="T55" fmla="*/ 71 h 80"/>
              <a:gd name="T56" fmla="*/ 15 w 154"/>
              <a:gd name="T57" fmla="*/ 75 h 80"/>
              <a:gd name="T58" fmla="*/ 12 w 154"/>
              <a:gd name="T59" fmla="*/ 79 h 80"/>
              <a:gd name="T60" fmla="*/ 154 w 154"/>
              <a:gd name="T61" fmla="*/ 80 h 80"/>
              <a:gd name="T62" fmla="*/ 148 w 154"/>
              <a:gd name="T63" fmla="*/ 72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4" h="80">
                <a:moveTo>
                  <a:pt x="148" y="72"/>
                </a:moveTo>
                <a:cubicBezTo>
                  <a:pt x="148" y="71"/>
                  <a:pt x="148" y="71"/>
                  <a:pt x="148" y="70"/>
                </a:cubicBezTo>
                <a:cubicBezTo>
                  <a:pt x="148" y="70"/>
                  <a:pt x="146" y="68"/>
                  <a:pt x="144" y="66"/>
                </a:cubicBezTo>
                <a:cubicBezTo>
                  <a:pt x="142" y="64"/>
                  <a:pt x="141" y="62"/>
                  <a:pt x="140" y="61"/>
                </a:cubicBezTo>
                <a:cubicBezTo>
                  <a:pt x="140" y="61"/>
                  <a:pt x="140" y="61"/>
                  <a:pt x="140" y="60"/>
                </a:cubicBezTo>
                <a:cubicBezTo>
                  <a:pt x="139" y="59"/>
                  <a:pt x="137" y="56"/>
                  <a:pt x="137" y="55"/>
                </a:cubicBezTo>
                <a:cubicBezTo>
                  <a:pt x="137" y="54"/>
                  <a:pt x="137" y="53"/>
                  <a:pt x="137" y="52"/>
                </a:cubicBezTo>
                <a:cubicBezTo>
                  <a:pt x="137" y="51"/>
                  <a:pt x="137" y="49"/>
                  <a:pt x="137" y="49"/>
                </a:cubicBezTo>
                <a:cubicBezTo>
                  <a:pt x="138" y="48"/>
                  <a:pt x="141" y="46"/>
                  <a:pt x="144" y="44"/>
                </a:cubicBezTo>
                <a:cubicBezTo>
                  <a:pt x="146" y="43"/>
                  <a:pt x="147" y="42"/>
                  <a:pt x="147" y="42"/>
                </a:cubicBezTo>
                <a:cubicBezTo>
                  <a:pt x="147" y="42"/>
                  <a:pt x="147" y="42"/>
                  <a:pt x="147" y="42"/>
                </a:cubicBezTo>
                <a:cubicBezTo>
                  <a:pt x="147" y="42"/>
                  <a:pt x="148" y="40"/>
                  <a:pt x="149" y="38"/>
                </a:cubicBezTo>
                <a:cubicBezTo>
                  <a:pt x="150" y="35"/>
                  <a:pt x="152" y="31"/>
                  <a:pt x="152" y="31"/>
                </a:cubicBezTo>
                <a:cubicBezTo>
                  <a:pt x="152" y="30"/>
                  <a:pt x="150" y="25"/>
                  <a:pt x="149" y="22"/>
                </a:cubicBezTo>
                <a:cubicBezTo>
                  <a:pt x="149" y="21"/>
                  <a:pt x="149" y="21"/>
                  <a:pt x="149" y="21"/>
                </a:cubicBezTo>
                <a:cubicBezTo>
                  <a:pt x="148" y="20"/>
                  <a:pt x="149" y="19"/>
                  <a:pt x="149" y="17"/>
                </a:cubicBezTo>
                <a:cubicBezTo>
                  <a:pt x="149" y="16"/>
                  <a:pt x="150" y="15"/>
                  <a:pt x="150" y="14"/>
                </a:cubicBezTo>
                <a:cubicBezTo>
                  <a:pt x="150" y="14"/>
                  <a:pt x="149" y="13"/>
                  <a:pt x="149" y="12"/>
                </a:cubicBezTo>
                <a:cubicBezTo>
                  <a:pt x="148" y="12"/>
                  <a:pt x="147" y="11"/>
                  <a:pt x="147" y="9"/>
                </a:cubicBezTo>
                <a:cubicBezTo>
                  <a:pt x="147" y="8"/>
                  <a:pt x="149" y="6"/>
                  <a:pt x="151" y="3"/>
                </a:cubicBezTo>
                <a:cubicBezTo>
                  <a:pt x="148" y="4"/>
                  <a:pt x="144" y="4"/>
                  <a:pt x="142" y="4"/>
                </a:cubicBezTo>
                <a:cubicBezTo>
                  <a:pt x="140" y="5"/>
                  <a:pt x="141" y="3"/>
                  <a:pt x="141" y="2"/>
                </a:cubicBezTo>
                <a:cubicBezTo>
                  <a:pt x="141" y="1"/>
                  <a:pt x="138" y="1"/>
                  <a:pt x="135" y="1"/>
                </a:cubicBezTo>
                <a:cubicBezTo>
                  <a:pt x="132" y="0"/>
                  <a:pt x="131" y="4"/>
                  <a:pt x="129" y="4"/>
                </a:cubicBezTo>
                <a:cubicBezTo>
                  <a:pt x="128" y="3"/>
                  <a:pt x="124" y="1"/>
                  <a:pt x="122" y="1"/>
                </a:cubicBezTo>
                <a:cubicBezTo>
                  <a:pt x="119" y="0"/>
                  <a:pt x="121" y="1"/>
                  <a:pt x="119" y="3"/>
                </a:cubicBezTo>
                <a:cubicBezTo>
                  <a:pt x="118" y="5"/>
                  <a:pt x="111" y="7"/>
                  <a:pt x="108" y="8"/>
                </a:cubicBezTo>
                <a:cubicBezTo>
                  <a:pt x="105" y="8"/>
                  <a:pt x="100" y="6"/>
                  <a:pt x="99" y="5"/>
                </a:cubicBezTo>
                <a:cubicBezTo>
                  <a:pt x="97" y="4"/>
                  <a:pt x="92" y="3"/>
                  <a:pt x="90" y="3"/>
                </a:cubicBezTo>
                <a:cubicBezTo>
                  <a:pt x="88" y="3"/>
                  <a:pt x="83" y="5"/>
                  <a:pt x="79" y="7"/>
                </a:cubicBezTo>
                <a:cubicBezTo>
                  <a:pt x="75" y="8"/>
                  <a:pt x="70" y="7"/>
                  <a:pt x="67" y="8"/>
                </a:cubicBezTo>
                <a:cubicBezTo>
                  <a:pt x="64" y="10"/>
                  <a:pt x="63" y="9"/>
                  <a:pt x="58" y="10"/>
                </a:cubicBezTo>
                <a:cubicBezTo>
                  <a:pt x="54" y="10"/>
                  <a:pt x="53" y="10"/>
                  <a:pt x="51" y="11"/>
                </a:cubicBezTo>
                <a:cubicBezTo>
                  <a:pt x="48" y="11"/>
                  <a:pt x="39" y="12"/>
                  <a:pt x="34" y="15"/>
                </a:cubicBezTo>
                <a:cubicBezTo>
                  <a:pt x="29" y="18"/>
                  <a:pt x="30" y="21"/>
                  <a:pt x="28" y="22"/>
                </a:cubicBezTo>
                <a:cubicBezTo>
                  <a:pt x="27" y="23"/>
                  <a:pt x="24" y="21"/>
                  <a:pt x="23" y="21"/>
                </a:cubicBezTo>
                <a:cubicBezTo>
                  <a:pt x="21" y="21"/>
                  <a:pt x="16" y="23"/>
                  <a:pt x="14" y="25"/>
                </a:cubicBezTo>
                <a:cubicBezTo>
                  <a:pt x="12" y="26"/>
                  <a:pt x="13" y="26"/>
                  <a:pt x="12" y="29"/>
                </a:cubicBezTo>
                <a:cubicBezTo>
                  <a:pt x="10" y="31"/>
                  <a:pt x="10" y="30"/>
                  <a:pt x="8" y="30"/>
                </a:cubicBezTo>
                <a:cubicBezTo>
                  <a:pt x="7" y="31"/>
                  <a:pt x="5" y="31"/>
                  <a:pt x="3" y="32"/>
                </a:cubicBezTo>
                <a:cubicBezTo>
                  <a:pt x="3" y="32"/>
                  <a:pt x="1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33"/>
                  <a:pt x="0" y="33"/>
                  <a:pt x="0" y="33"/>
                </a:cubicBezTo>
                <a:cubicBezTo>
                  <a:pt x="3" y="36"/>
                  <a:pt x="6" y="38"/>
                  <a:pt x="5" y="39"/>
                </a:cubicBezTo>
                <a:cubicBezTo>
                  <a:pt x="5" y="40"/>
                  <a:pt x="5" y="40"/>
                  <a:pt x="4" y="40"/>
                </a:cubicBezTo>
                <a:cubicBezTo>
                  <a:pt x="4" y="41"/>
                  <a:pt x="4" y="41"/>
                  <a:pt x="4" y="42"/>
                </a:cubicBezTo>
                <a:cubicBezTo>
                  <a:pt x="4" y="42"/>
                  <a:pt x="5" y="43"/>
                  <a:pt x="5" y="43"/>
                </a:cubicBezTo>
                <a:cubicBezTo>
                  <a:pt x="6" y="44"/>
                  <a:pt x="6" y="45"/>
                  <a:pt x="6" y="46"/>
                </a:cubicBezTo>
                <a:cubicBezTo>
                  <a:pt x="6" y="46"/>
                  <a:pt x="6" y="47"/>
                  <a:pt x="6" y="48"/>
                </a:cubicBezTo>
                <a:cubicBezTo>
                  <a:pt x="6" y="50"/>
                  <a:pt x="6" y="50"/>
                  <a:pt x="6" y="51"/>
                </a:cubicBezTo>
                <a:cubicBezTo>
                  <a:pt x="6" y="52"/>
                  <a:pt x="6" y="52"/>
                  <a:pt x="5" y="53"/>
                </a:cubicBezTo>
                <a:cubicBezTo>
                  <a:pt x="5" y="54"/>
                  <a:pt x="4" y="55"/>
                  <a:pt x="5" y="56"/>
                </a:cubicBezTo>
                <a:cubicBezTo>
                  <a:pt x="5" y="57"/>
                  <a:pt x="6" y="59"/>
                  <a:pt x="7" y="61"/>
                </a:cubicBezTo>
                <a:cubicBezTo>
                  <a:pt x="8" y="62"/>
                  <a:pt x="8" y="64"/>
                  <a:pt x="9" y="65"/>
                </a:cubicBezTo>
                <a:cubicBezTo>
                  <a:pt x="9" y="66"/>
                  <a:pt x="10" y="68"/>
                  <a:pt x="10" y="69"/>
                </a:cubicBezTo>
                <a:cubicBezTo>
                  <a:pt x="10" y="70"/>
                  <a:pt x="10" y="71"/>
                  <a:pt x="11" y="71"/>
                </a:cubicBezTo>
                <a:cubicBezTo>
                  <a:pt x="11" y="72"/>
                  <a:pt x="12" y="72"/>
                  <a:pt x="12" y="72"/>
                </a:cubicBezTo>
                <a:cubicBezTo>
                  <a:pt x="14" y="73"/>
                  <a:pt x="15" y="74"/>
                  <a:pt x="15" y="75"/>
                </a:cubicBezTo>
                <a:cubicBezTo>
                  <a:pt x="15" y="76"/>
                  <a:pt x="15" y="77"/>
                  <a:pt x="14" y="77"/>
                </a:cubicBezTo>
                <a:cubicBezTo>
                  <a:pt x="13" y="78"/>
                  <a:pt x="12" y="79"/>
                  <a:pt x="12" y="79"/>
                </a:cubicBezTo>
                <a:cubicBezTo>
                  <a:pt x="12" y="79"/>
                  <a:pt x="12" y="79"/>
                  <a:pt x="12" y="80"/>
                </a:cubicBezTo>
                <a:cubicBezTo>
                  <a:pt x="154" y="80"/>
                  <a:pt x="154" y="80"/>
                  <a:pt x="154" y="80"/>
                </a:cubicBezTo>
                <a:cubicBezTo>
                  <a:pt x="152" y="78"/>
                  <a:pt x="151" y="77"/>
                  <a:pt x="149" y="76"/>
                </a:cubicBezTo>
                <a:cubicBezTo>
                  <a:pt x="147" y="75"/>
                  <a:pt x="148" y="73"/>
                  <a:pt x="148" y="7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52" name="Freeform 128"/>
          <p:cNvSpPr>
            <a:spLocks/>
          </p:cNvSpPr>
          <p:nvPr/>
        </p:nvSpPr>
        <p:spPr bwMode="auto">
          <a:xfrm>
            <a:off x="3278312" y="3916363"/>
            <a:ext cx="885825" cy="476250"/>
          </a:xfrm>
          <a:custGeom>
            <a:avLst/>
            <a:gdLst>
              <a:gd name="T0" fmla="*/ 93 w 93"/>
              <a:gd name="T1" fmla="*/ 10 h 50"/>
              <a:gd name="T2" fmla="*/ 90 w 93"/>
              <a:gd name="T3" fmla="*/ 7 h 50"/>
              <a:gd name="T4" fmla="*/ 85 w 93"/>
              <a:gd name="T5" fmla="*/ 2 h 50"/>
              <a:gd name="T6" fmla="*/ 78 w 93"/>
              <a:gd name="T7" fmla="*/ 4 h 50"/>
              <a:gd name="T8" fmla="*/ 74 w 93"/>
              <a:gd name="T9" fmla="*/ 1 h 50"/>
              <a:gd name="T10" fmla="*/ 66 w 93"/>
              <a:gd name="T11" fmla="*/ 0 h 50"/>
              <a:gd name="T12" fmla="*/ 61 w 93"/>
              <a:gd name="T13" fmla="*/ 2 h 50"/>
              <a:gd name="T14" fmla="*/ 55 w 93"/>
              <a:gd name="T15" fmla="*/ 8 h 50"/>
              <a:gd name="T16" fmla="*/ 48 w 93"/>
              <a:gd name="T17" fmla="*/ 6 h 50"/>
              <a:gd name="T18" fmla="*/ 47 w 93"/>
              <a:gd name="T19" fmla="*/ 7 h 50"/>
              <a:gd name="T20" fmla="*/ 37 w 93"/>
              <a:gd name="T21" fmla="*/ 11 h 50"/>
              <a:gd name="T22" fmla="*/ 29 w 93"/>
              <a:gd name="T23" fmla="*/ 15 h 50"/>
              <a:gd name="T24" fmla="*/ 18 w 93"/>
              <a:gd name="T25" fmla="*/ 13 h 50"/>
              <a:gd name="T26" fmla="*/ 14 w 93"/>
              <a:gd name="T27" fmla="*/ 10 h 50"/>
              <a:gd name="T28" fmla="*/ 13 w 93"/>
              <a:gd name="T29" fmla="*/ 12 h 50"/>
              <a:gd name="T30" fmla="*/ 13 w 93"/>
              <a:gd name="T31" fmla="*/ 13 h 50"/>
              <a:gd name="T32" fmla="*/ 10 w 93"/>
              <a:gd name="T33" fmla="*/ 16 h 50"/>
              <a:gd name="T34" fmla="*/ 5 w 93"/>
              <a:gd name="T35" fmla="*/ 14 h 50"/>
              <a:gd name="T36" fmla="*/ 2 w 93"/>
              <a:gd name="T37" fmla="*/ 17 h 50"/>
              <a:gd name="T38" fmla="*/ 6 w 93"/>
              <a:gd name="T39" fmla="*/ 20 h 50"/>
              <a:gd name="T40" fmla="*/ 4 w 93"/>
              <a:gd name="T41" fmla="*/ 22 h 50"/>
              <a:gd name="T42" fmla="*/ 3 w 93"/>
              <a:gd name="T43" fmla="*/ 24 h 50"/>
              <a:gd name="T44" fmla="*/ 3 w 93"/>
              <a:gd name="T45" fmla="*/ 28 h 50"/>
              <a:gd name="T46" fmla="*/ 0 w 93"/>
              <a:gd name="T47" fmla="*/ 28 h 50"/>
              <a:gd name="T48" fmla="*/ 3 w 93"/>
              <a:gd name="T49" fmla="*/ 35 h 50"/>
              <a:gd name="T50" fmla="*/ 3 w 93"/>
              <a:gd name="T51" fmla="*/ 36 h 50"/>
              <a:gd name="T52" fmla="*/ 10 w 93"/>
              <a:gd name="T53" fmla="*/ 42 h 50"/>
              <a:gd name="T54" fmla="*/ 21 w 93"/>
              <a:gd name="T55" fmla="*/ 48 h 50"/>
              <a:gd name="T56" fmla="*/ 30 w 93"/>
              <a:gd name="T57" fmla="*/ 49 h 50"/>
              <a:gd name="T58" fmla="*/ 38 w 93"/>
              <a:gd name="T59" fmla="*/ 47 h 50"/>
              <a:gd name="T60" fmla="*/ 43 w 93"/>
              <a:gd name="T61" fmla="*/ 44 h 50"/>
              <a:gd name="T62" fmla="*/ 46 w 93"/>
              <a:gd name="T63" fmla="*/ 43 h 50"/>
              <a:gd name="T64" fmla="*/ 54 w 93"/>
              <a:gd name="T65" fmla="*/ 42 h 50"/>
              <a:gd name="T66" fmla="*/ 60 w 93"/>
              <a:gd name="T67" fmla="*/ 43 h 50"/>
              <a:gd name="T68" fmla="*/ 64 w 93"/>
              <a:gd name="T69" fmla="*/ 42 h 50"/>
              <a:gd name="T70" fmla="*/ 66 w 93"/>
              <a:gd name="T71" fmla="*/ 40 h 50"/>
              <a:gd name="T72" fmla="*/ 72 w 93"/>
              <a:gd name="T73" fmla="*/ 37 h 50"/>
              <a:gd name="T74" fmla="*/ 74 w 93"/>
              <a:gd name="T75" fmla="*/ 33 h 50"/>
              <a:gd name="T76" fmla="*/ 76 w 93"/>
              <a:gd name="T77" fmla="*/ 30 h 50"/>
              <a:gd name="T78" fmla="*/ 79 w 93"/>
              <a:gd name="T79" fmla="*/ 24 h 50"/>
              <a:gd name="T80" fmla="*/ 83 w 93"/>
              <a:gd name="T81" fmla="*/ 17 h 50"/>
              <a:gd name="T82" fmla="*/ 92 w 93"/>
              <a:gd name="T83" fmla="*/ 1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3" h="50">
                <a:moveTo>
                  <a:pt x="92" y="12"/>
                </a:moveTo>
                <a:cubicBezTo>
                  <a:pt x="93" y="11"/>
                  <a:pt x="93" y="11"/>
                  <a:pt x="93" y="10"/>
                </a:cubicBezTo>
                <a:cubicBezTo>
                  <a:pt x="92" y="10"/>
                  <a:pt x="91" y="9"/>
                  <a:pt x="90" y="7"/>
                </a:cubicBezTo>
                <a:cubicBezTo>
                  <a:pt x="90" y="7"/>
                  <a:pt x="90" y="7"/>
                  <a:pt x="90" y="7"/>
                </a:cubicBezTo>
                <a:cubicBezTo>
                  <a:pt x="88" y="6"/>
                  <a:pt x="86" y="4"/>
                  <a:pt x="85" y="3"/>
                </a:cubicBezTo>
                <a:cubicBezTo>
                  <a:pt x="85" y="3"/>
                  <a:pt x="85" y="2"/>
                  <a:pt x="85" y="2"/>
                </a:cubicBezTo>
                <a:cubicBezTo>
                  <a:pt x="85" y="2"/>
                  <a:pt x="84" y="3"/>
                  <a:pt x="84" y="3"/>
                </a:cubicBezTo>
                <a:cubicBezTo>
                  <a:pt x="82" y="3"/>
                  <a:pt x="80" y="5"/>
                  <a:pt x="78" y="4"/>
                </a:cubicBezTo>
                <a:cubicBezTo>
                  <a:pt x="77" y="3"/>
                  <a:pt x="76" y="2"/>
                  <a:pt x="76" y="2"/>
                </a:cubicBezTo>
                <a:cubicBezTo>
                  <a:pt x="75" y="1"/>
                  <a:pt x="75" y="1"/>
                  <a:pt x="74" y="1"/>
                </a:cubicBezTo>
                <a:cubicBezTo>
                  <a:pt x="73" y="1"/>
                  <a:pt x="71" y="0"/>
                  <a:pt x="69" y="0"/>
                </a:cubicBezTo>
                <a:cubicBezTo>
                  <a:pt x="67" y="0"/>
                  <a:pt x="66" y="0"/>
                  <a:pt x="66" y="0"/>
                </a:cubicBezTo>
                <a:cubicBezTo>
                  <a:pt x="65" y="0"/>
                  <a:pt x="64" y="1"/>
                  <a:pt x="64" y="1"/>
                </a:cubicBezTo>
                <a:cubicBezTo>
                  <a:pt x="63" y="1"/>
                  <a:pt x="62" y="2"/>
                  <a:pt x="61" y="2"/>
                </a:cubicBezTo>
                <a:cubicBezTo>
                  <a:pt x="61" y="2"/>
                  <a:pt x="61" y="3"/>
                  <a:pt x="60" y="4"/>
                </a:cubicBezTo>
                <a:cubicBezTo>
                  <a:pt x="58" y="5"/>
                  <a:pt x="56" y="7"/>
                  <a:pt x="55" y="8"/>
                </a:cubicBezTo>
                <a:cubicBezTo>
                  <a:pt x="53" y="8"/>
                  <a:pt x="51" y="7"/>
                  <a:pt x="50" y="7"/>
                </a:cubicBezTo>
                <a:cubicBezTo>
                  <a:pt x="49" y="7"/>
                  <a:pt x="48" y="6"/>
                  <a:pt x="48" y="6"/>
                </a:cubicBezTo>
                <a:cubicBezTo>
                  <a:pt x="47" y="7"/>
                  <a:pt x="47" y="7"/>
                  <a:pt x="47" y="7"/>
                </a:cubicBezTo>
                <a:cubicBezTo>
                  <a:pt x="47" y="7"/>
                  <a:pt x="47" y="7"/>
                  <a:pt x="47" y="7"/>
                </a:cubicBezTo>
                <a:cubicBezTo>
                  <a:pt x="46" y="7"/>
                  <a:pt x="41" y="8"/>
                  <a:pt x="40" y="9"/>
                </a:cubicBezTo>
                <a:cubicBezTo>
                  <a:pt x="40" y="9"/>
                  <a:pt x="38" y="11"/>
                  <a:pt x="37" y="11"/>
                </a:cubicBezTo>
                <a:cubicBezTo>
                  <a:pt x="37" y="12"/>
                  <a:pt x="37" y="13"/>
                  <a:pt x="37" y="14"/>
                </a:cubicBezTo>
                <a:cubicBezTo>
                  <a:pt x="36" y="14"/>
                  <a:pt x="32" y="15"/>
                  <a:pt x="29" y="15"/>
                </a:cubicBezTo>
                <a:cubicBezTo>
                  <a:pt x="26" y="16"/>
                  <a:pt x="24" y="16"/>
                  <a:pt x="23" y="15"/>
                </a:cubicBezTo>
                <a:cubicBezTo>
                  <a:pt x="22" y="15"/>
                  <a:pt x="20" y="14"/>
                  <a:pt x="18" y="13"/>
                </a:cubicBezTo>
                <a:cubicBezTo>
                  <a:pt x="18" y="13"/>
                  <a:pt x="18" y="13"/>
                  <a:pt x="18" y="13"/>
                </a:cubicBezTo>
                <a:cubicBezTo>
                  <a:pt x="16" y="11"/>
                  <a:pt x="14" y="10"/>
                  <a:pt x="14" y="10"/>
                </a:cubicBezTo>
                <a:cubicBezTo>
                  <a:pt x="14" y="10"/>
                  <a:pt x="14" y="10"/>
                  <a:pt x="14" y="10"/>
                </a:cubicBezTo>
                <a:cubicBezTo>
                  <a:pt x="13" y="11"/>
                  <a:pt x="13" y="11"/>
                  <a:pt x="13" y="12"/>
                </a:cubicBezTo>
                <a:cubicBezTo>
                  <a:pt x="13" y="13"/>
                  <a:pt x="13" y="13"/>
                  <a:pt x="13" y="13"/>
                </a:cubicBezTo>
                <a:cubicBezTo>
                  <a:pt x="13" y="13"/>
                  <a:pt x="13" y="13"/>
                  <a:pt x="13" y="13"/>
                </a:cubicBezTo>
                <a:cubicBezTo>
                  <a:pt x="13" y="13"/>
                  <a:pt x="13" y="14"/>
                  <a:pt x="13" y="14"/>
                </a:cubicBezTo>
                <a:cubicBezTo>
                  <a:pt x="12" y="15"/>
                  <a:pt x="12" y="16"/>
                  <a:pt x="10" y="16"/>
                </a:cubicBezTo>
                <a:cubicBezTo>
                  <a:pt x="10" y="16"/>
                  <a:pt x="9" y="16"/>
                  <a:pt x="8" y="15"/>
                </a:cubicBezTo>
                <a:cubicBezTo>
                  <a:pt x="7" y="15"/>
                  <a:pt x="5" y="14"/>
                  <a:pt x="5" y="14"/>
                </a:cubicBezTo>
                <a:cubicBezTo>
                  <a:pt x="4" y="14"/>
                  <a:pt x="4" y="15"/>
                  <a:pt x="3" y="15"/>
                </a:cubicBezTo>
                <a:cubicBezTo>
                  <a:pt x="3" y="16"/>
                  <a:pt x="2" y="16"/>
                  <a:pt x="2" y="17"/>
                </a:cubicBezTo>
                <a:cubicBezTo>
                  <a:pt x="2" y="17"/>
                  <a:pt x="3" y="18"/>
                  <a:pt x="4" y="18"/>
                </a:cubicBezTo>
                <a:cubicBezTo>
                  <a:pt x="5" y="19"/>
                  <a:pt x="5" y="19"/>
                  <a:pt x="6" y="20"/>
                </a:cubicBezTo>
                <a:cubicBezTo>
                  <a:pt x="6" y="20"/>
                  <a:pt x="5" y="21"/>
                  <a:pt x="4" y="22"/>
                </a:cubicBezTo>
                <a:cubicBezTo>
                  <a:pt x="4" y="22"/>
                  <a:pt x="4" y="22"/>
                  <a:pt x="4" y="22"/>
                </a:cubicBezTo>
                <a:cubicBezTo>
                  <a:pt x="3" y="22"/>
                  <a:pt x="3" y="23"/>
                  <a:pt x="3" y="23"/>
                </a:cubicBezTo>
                <a:cubicBezTo>
                  <a:pt x="3" y="23"/>
                  <a:pt x="3" y="24"/>
                  <a:pt x="3" y="24"/>
                </a:cubicBezTo>
                <a:cubicBezTo>
                  <a:pt x="3" y="25"/>
                  <a:pt x="3" y="25"/>
                  <a:pt x="3" y="26"/>
                </a:cubicBezTo>
                <a:cubicBezTo>
                  <a:pt x="4" y="27"/>
                  <a:pt x="4" y="28"/>
                  <a:pt x="3" y="28"/>
                </a:cubicBezTo>
                <a:cubicBezTo>
                  <a:pt x="2" y="28"/>
                  <a:pt x="1" y="28"/>
                  <a:pt x="1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1" y="30"/>
                  <a:pt x="2" y="32"/>
                  <a:pt x="3" y="33"/>
                </a:cubicBezTo>
                <a:cubicBezTo>
                  <a:pt x="3" y="33"/>
                  <a:pt x="3" y="34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6"/>
                </a:cubicBezTo>
                <a:cubicBezTo>
                  <a:pt x="4" y="36"/>
                  <a:pt x="5" y="37"/>
                  <a:pt x="7" y="38"/>
                </a:cubicBezTo>
                <a:cubicBezTo>
                  <a:pt x="8" y="39"/>
                  <a:pt x="10" y="41"/>
                  <a:pt x="10" y="42"/>
                </a:cubicBezTo>
                <a:cubicBezTo>
                  <a:pt x="10" y="42"/>
                  <a:pt x="13" y="44"/>
                  <a:pt x="16" y="45"/>
                </a:cubicBezTo>
                <a:cubicBezTo>
                  <a:pt x="18" y="46"/>
                  <a:pt x="20" y="47"/>
                  <a:pt x="21" y="48"/>
                </a:cubicBezTo>
                <a:cubicBezTo>
                  <a:pt x="23" y="50"/>
                  <a:pt x="25" y="50"/>
                  <a:pt x="28" y="49"/>
                </a:cubicBezTo>
                <a:cubicBezTo>
                  <a:pt x="29" y="49"/>
                  <a:pt x="29" y="49"/>
                  <a:pt x="30" y="49"/>
                </a:cubicBezTo>
                <a:cubicBezTo>
                  <a:pt x="31" y="49"/>
                  <a:pt x="33" y="48"/>
                  <a:pt x="34" y="48"/>
                </a:cubicBezTo>
                <a:cubicBezTo>
                  <a:pt x="36" y="47"/>
                  <a:pt x="37" y="46"/>
                  <a:pt x="38" y="47"/>
                </a:cubicBezTo>
                <a:cubicBezTo>
                  <a:pt x="38" y="47"/>
                  <a:pt x="38" y="47"/>
                  <a:pt x="39" y="47"/>
                </a:cubicBezTo>
                <a:cubicBezTo>
                  <a:pt x="39" y="46"/>
                  <a:pt x="41" y="45"/>
                  <a:pt x="43" y="44"/>
                </a:cubicBezTo>
                <a:cubicBezTo>
                  <a:pt x="44" y="44"/>
                  <a:pt x="45" y="43"/>
                  <a:pt x="46" y="43"/>
                </a:cubicBezTo>
                <a:cubicBezTo>
                  <a:pt x="46" y="43"/>
                  <a:pt x="46" y="43"/>
                  <a:pt x="46" y="43"/>
                </a:cubicBezTo>
                <a:cubicBezTo>
                  <a:pt x="48" y="43"/>
                  <a:pt x="49" y="42"/>
                  <a:pt x="50" y="42"/>
                </a:cubicBezTo>
                <a:cubicBezTo>
                  <a:pt x="50" y="42"/>
                  <a:pt x="52" y="42"/>
                  <a:pt x="54" y="42"/>
                </a:cubicBezTo>
                <a:cubicBezTo>
                  <a:pt x="55" y="43"/>
                  <a:pt x="57" y="43"/>
                  <a:pt x="58" y="44"/>
                </a:cubicBezTo>
                <a:cubicBezTo>
                  <a:pt x="58" y="43"/>
                  <a:pt x="59" y="43"/>
                  <a:pt x="60" y="43"/>
                </a:cubicBezTo>
                <a:cubicBezTo>
                  <a:pt x="61" y="43"/>
                  <a:pt x="63" y="44"/>
                  <a:pt x="63" y="43"/>
                </a:cubicBezTo>
                <a:cubicBezTo>
                  <a:pt x="63" y="43"/>
                  <a:pt x="63" y="42"/>
                  <a:pt x="64" y="42"/>
                </a:cubicBezTo>
                <a:cubicBezTo>
                  <a:pt x="64" y="41"/>
                  <a:pt x="64" y="40"/>
                  <a:pt x="65" y="40"/>
                </a:cubicBezTo>
                <a:cubicBezTo>
                  <a:pt x="65" y="40"/>
                  <a:pt x="66" y="40"/>
                  <a:pt x="66" y="40"/>
                </a:cubicBezTo>
                <a:cubicBezTo>
                  <a:pt x="67" y="40"/>
                  <a:pt x="69" y="41"/>
                  <a:pt x="70" y="40"/>
                </a:cubicBezTo>
                <a:cubicBezTo>
                  <a:pt x="70" y="39"/>
                  <a:pt x="71" y="38"/>
                  <a:pt x="72" y="37"/>
                </a:cubicBezTo>
                <a:cubicBezTo>
                  <a:pt x="72" y="37"/>
                  <a:pt x="72" y="37"/>
                  <a:pt x="72" y="37"/>
                </a:cubicBezTo>
                <a:cubicBezTo>
                  <a:pt x="72" y="35"/>
                  <a:pt x="73" y="34"/>
                  <a:pt x="74" y="33"/>
                </a:cubicBezTo>
                <a:cubicBezTo>
                  <a:pt x="74" y="33"/>
                  <a:pt x="74" y="33"/>
                  <a:pt x="74" y="33"/>
                </a:cubicBezTo>
                <a:cubicBezTo>
                  <a:pt x="74" y="33"/>
                  <a:pt x="75" y="31"/>
                  <a:pt x="76" y="30"/>
                </a:cubicBezTo>
                <a:cubicBezTo>
                  <a:pt x="76" y="28"/>
                  <a:pt x="76" y="27"/>
                  <a:pt x="77" y="26"/>
                </a:cubicBezTo>
                <a:cubicBezTo>
                  <a:pt x="77" y="26"/>
                  <a:pt x="78" y="25"/>
                  <a:pt x="79" y="24"/>
                </a:cubicBezTo>
                <a:cubicBezTo>
                  <a:pt x="80" y="21"/>
                  <a:pt x="82" y="18"/>
                  <a:pt x="83" y="17"/>
                </a:cubicBezTo>
                <a:cubicBezTo>
                  <a:pt x="83" y="17"/>
                  <a:pt x="83" y="17"/>
                  <a:pt x="83" y="17"/>
                </a:cubicBezTo>
                <a:cubicBezTo>
                  <a:pt x="84" y="17"/>
                  <a:pt x="86" y="15"/>
                  <a:pt x="88" y="14"/>
                </a:cubicBezTo>
                <a:cubicBezTo>
                  <a:pt x="90" y="13"/>
                  <a:pt x="92" y="12"/>
                  <a:pt x="92" y="12"/>
                </a:cubicBezTo>
                <a:close/>
              </a:path>
            </a:pathLst>
          </a:custGeom>
          <a:gradFill flip="none" rotWithShape="1">
            <a:gsLst>
              <a:gs pos="30000">
                <a:schemeClr val="accent2"/>
              </a:gs>
              <a:gs pos="80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53" name="Freeform 129"/>
          <p:cNvSpPr>
            <a:spLocks/>
          </p:cNvSpPr>
          <p:nvPr/>
        </p:nvSpPr>
        <p:spPr bwMode="auto">
          <a:xfrm>
            <a:off x="4230812" y="2506663"/>
            <a:ext cx="1295400" cy="914400"/>
          </a:xfrm>
          <a:custGeom>
            <a:avLst/>
            <a:gdLst>
              <a:gd name="T0" fmla="*/ 65 w 136"/>
              <a:gd name="T1" fmla="*/ 3 h 96"/>
              <a:gd name="T2" fmla="*/ 58 w 136"/>
              <a:gd name="T3" fmla="*/ 7 h 96"/>
              <a:gd name="T4" fmla="*/ 50 w 136"/>
              <a:gd name="T5" fmla="*/ 9 h 96"/>
              <a:gd name="T6" fmla="*/ 48 w 136"/>
              <a:gd name="T7" fmla="*/ 13 h 96"/>
              <a:gd name="T8" fmla="*/ 50 w 136"/>
              <a:gd name="T9" fmla="*/ 18 h 96"/>
              <a:gd name="T10" fmla="*/ 41 w 136"/>
              <a:gd name="T11" fmla="*/ 25 h 96"/>
              <a:gd name="T12" fmla="*/ 36 w 136"/>
              <a:gd name="T13" fmla="*/ 33 h 96"/>
              <a:gd name="T14" fmla="*/ 33 w 136"/>
              <a:gd name="T15" fmla="*/ 39 h 96"/>
              <a:gd name="T16" fmla="*/ 28 w 136"/>
              <a:gd name="T17" fmla="*/ 40 h 96"/>
              <a:gd name="T18" fmla="*/ 24 w 136"/>
              <a:gd name="T19" fmla="*/ 40 h 96"/>
              <a:gd name="T20" fmla="*/ 22 w 136"/>
              <a:gd name="T21" fmla="*/ 43 h 96"/>
              <a:gd name="T22" fmla="*/ 17 w 136"/>
              <a:gd name="T23" fmla="*/ 45 h 96"/>
              <a:gd name="T24" fmla="*/ 7 w 136"/>
              <a:gd name="T25" fmla="*/ 44 h 96"/>
              <a:gd name="T26" fmla="*/ 6 w 136"/>
              <a:gd name="T27" fmla="*/ 48 h 96"/>
              <a:gd name="T28" fmla="*/ 10 w 136"/>
              <a:gd name="T29" fmla="*/ 61 h 96"/>
              <a:gd name="T30" fmla="*/ 0 w 136"/>
              <a:gd name="T31" fmla="*/ 77 h 96"/>
              <a:gd name="T32" fmla="*/ 3 w 136"/>
              <a:gd name="T33" fmla="*/ 78 h 96"/>
              <a:gd name="T34" fmla="*/ 5 w 136"/>
              <a:gd name="T35" fmla="*/ 89 h 96"/>
              <a:gd name="T36" fmla="*/ 15 w 136"/>
              <a:gd name="T37" fmla="*/ 87 h 96"/>
              <a:gd name="T38" fmla="*/ 35 w 136"/>
              <a:gd name="T39" fmla="*/ 83 h 96"/>
              <a:gd name="T40" fmla="*/ 62 w 136"/>
              <a:gd name="T41" fmla="*/ 91 h 96"/>
              <a:gd name="T42" fmla="*/ 66 w 136"/>
              <a:gd name="T43" fmla="*/ 90 h 96"/>
              <a:gd name="T44" fmla="*/ 76 w 136"/>
              <a:gd name="T45" fmla="*/ 91 h 96"/>
              <a:gd name="T46" fmla="*/ 80 w 136"/>
              <a:gd name="T47" fmla="*/ 91 h 96"/>
              <a:gd name="T48" fmla="*/ 88 w 136"/>
              <a:gd name="T49" fmla="*/ 91 h 96"/>
              <a:gd name="T50" fmla="*/ 90 w 136"/>
              <a:gd name="T51" fmla="*/ 93 h 96"/>
              <a:gd name="T52" fmla="*/ 103 w 136"/>
              <a:gd name="T53" fmla="*/ 94 h 96"/>
              <a:gd name="T54" fmla="*/ 105 w 136"/>
              <a:gd name="T55" fmla="*/ 89 h 96"/>
              <a:gd name="T56" fmla="*/ 121 w 136"/>
              <a:gd name="T57" fmla="*/ 80 h 96"/>
              <a:gd name="T58" fmla="*/ 122 w 136"/>
              <a:gd name="T59" fmla="*/ 79 h 96"/>
              <a:gd name="T60" fmla="*/ 119 w 136"/>
              <a:gd name="T61" fmla="*/ 72 h 96"/>
              <a:gd name="T62" fmla="*/ 115 w 136"/>
              <a:gd name="T63" fmla="*/ 63 h 96"/>
              <a:gd name="T64" fmla="*/ 121 w 136"/>
              <a:gd name="T65" fmla="*/ 59 h 96"/>
              <a:gd name="T66" fmla="*/ 127 w 136"/>
              <a:gd name="T67" fmla="*/ 60 h 96"/>
              <a:gd name="T68" fmla="*/ 135 w 136"/>
              <a:gd name="T69" fmla="*/ 54 h 96"/>
              <a:gd name="T70" fmla="*/ 132 w 136"/>
              <a:gd name="T71" fmla="*/ 49 h 96"/>
              <a:gd name="T72" fmla="*/ 123 w 136"/>
              <a:gd name="T73" fmla="*/ 48 h 96"/>
              <a:gd name="T74" fmla="*/ 123 w 136"/>
              <a:gd name="T75" fmla="*/ 46 h 96"/>
              <a:gd name="T76" fmla="*/ 122 w 136"/>
              <a:gd name="T77" fmla="*/ 41 h 96"/>
              <a:gd name="T78" fmla="*/ 117 w 136"/>
              <a:gd name="T79" fmla="*/ 38 h 96"/>
              <a:gd name="T80" fmla="*/ 114 w 136"/>
              <a:gd name="T81" fmla="*/ 35 h 96"/>
              <a:gd name="T82" fmla="*/ 114 w 136"/>
              <a:gd name="T83" fmla="*/ 31 h 96"/>
              <a:gd name="T84" fmla="*/ 110 w 136"/>
              <a:gd name="T85" fmla="*/ 25 h 96"/>
              <a:gd name="T86" fmla="*/ 108 w 136"/>
              <a:gd name="T87" fmla="*/ 18 h 96"/>
              <a:gd name="T88" fmla="*/ 110 w 136"/>
              <a:gd name="T89" fmla="*/ 15 h 96"/>
              <a:gd name="T90" fmla="*/ 103 w 136"/>
              <a:gd name="T91" fmla="*/ 7 h 96"/>
              <a:gd name="T92" fmla="*/ 94 w 136"/>
              <a:gd name="T93" fmla="*/ 7 h 96"/>
              <a:gd name="T94" fmla="*/ 88 w 136"/>
              <a:gd name="T95" fmla="*/ 6 h 96"/>
              <a:gd name="T96" fmla="*/ 80 w 136"/>
              <a:gd name="T97" fmla="*/ 4 h 96"/>
              <a:gd name="T98" fmla="*/ 71 w 136"/>
              <a:gd name="T99" fmla="*/ 0 h 96"/>
              <a:gd name="T100" fmla="*/ 68 w 136"/>
              <a:gd name="T101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6" h="96">
                <a:moveTo>
                  <a:pt x="66" y="1"/>
                </a:moveTo>
                <a:cubicBezTo>
                  <a:pt x="66" y="2"/>
                  <a:pt x="65" y="2"/>
                  <a:pt x="65" y="3"/>
                </a:cubicBezTo>
                <a:cubicBezTo>
                  <a:pt x="65" y="3"/>
                  <a:pt x="65" y="3"/>
                  <a:pt x="65" y="3"/>
                </a:cubicBezTo>
                <a:cubicBezTo>
                  <a:pt x="64" y="3"/>
                  <a:pt x="64" y="4"/>
                  <a:pt x="64" y="5"/>
                </a:cubicBezTo>
                <a:cubicBezTo>
                  <a:pt x="64" y="5"/>
                  <a:pt x="64" y="6"/>
                  <a:pt x="63" y="7"/>
                </a:cubicBezTo>
                <a:cubicBezTo>
                  <a:pt x="62" y="7"/>
                  <a:pt x="60" y="7"/>
                  <a:pt x="58" y="7"/>
                </a:cubicBezTo>
                <a:cubicBezTo>
                  <a:pt x="56" y="7"/>
                  <a:pt x="53" y="7"/>
                  <a:pt x="53" y="8"/>
                </a:cubicBezTo>
                <a:cubicBezTo>
                  <a:pt x="52" y="9"/>
                  <a:pt x="51" y="9"/>
                  <a:pt x="50" y="9"/>
                </a:cubicBezTo>
                <a:cubicBezTo>
                  <a:pt x="50" y="9"/>
                  <a:pt x="50" y="9"/>
                  <a:pt x="50" y="9"/>
                </a:cubicBezTo>
                <a:cubicBezTo>
                  <a:pt x="50" y="10"/>
                  <a:pt x="49" y="10"/>
                  <a:pt x="48" y="10"/>
                </a:cubicBezTo>
                <a:cubicBezTo>
                  <a:pt x="48" y="10"/>
                  <a:pt x="48" y="11"/>
                  <a:pt x="48" y="11"/>
                </a:cubicBezTo>
                <a:cubicBezTo>
                  <a:pt x="48" y="12"/>
                  <a:pt x="48" y="12"/>
                  <a:pt x="48" y="13"/>
                </a:cubicBezTo>
                <a:cubicBezTo>
                  <a:pt x="47" y="14"/>
                  <a:pt x="47" y="15"/>
                  <a:pt x="47" y="15"/>
                </a:cubicBezTo>
                <a:cubicBezTo>
                  <a:pt x="47" y="16"/>
                  <a:pt x="48" y="16"/>
                  <a:pt x="48" y="16"/>
                </a:cubicBezTo>
                <a:cubicBezTo>
                  <a:pt x="49" y="17"/>
                  <a:pt x="50" y="17"/>
                  <a:pt x="50" y="18"/>
                </a:cubicBezTo>
                <a:cubicBezTo>
                  <a:pt x="50" y="19"/>
                  <a:pt x="47" y="21"/>
                  <a:pt x="45" y="21"/>
                </a:cubicBezTo>
                <a:cubicBezTo>
                  <a:pt x="45" y="22"/>
                  <a:pt x="45" y="22"/>
                  <a:pt x="45" y="22"/>
                </a:cubicBezTo>
                <a:cubicBezTo>
                  <a:pt x="45" y="22"/>
                  <a:pt x="43" y="23"/>
                  <a:pt x="41" y="25"/>
                </a:cubicBezTo>
                <a:cubicBezTo>
                  <a:pt x="39" y="26"/>
                  <a:pt x="38" y="27"/>
                  <a:pt x="38" y="28"/>
                </a:cubicBezTo>
                <a:cubicBezTo>
                  <a:pt x="37" y="29"/>
                  <a:pt x="36" y="30"/>
                  <a:pt x="36" y="32"/>
                </a:cubicBezTo>
                <a:cubicBezTo>
                  <a:pt x="36" y="32"/>
                  <a:pt x="36" y="32"/>
                  <a:pt x="36" y="33"/>
                </a:cubicBezTo>
                <a:cubicBezTo>
                  <a:pt x="35" y="33"/>
                  <a:pt x="36" y="34"/>
                  <a:pt x="36" y="36"/>
                </a:cubicBezTo>
                <a:cubicBezTo>
                  <a:pt x="37" y="37"/>
                  <a:pt x="38" y="39"/>
                  <a:pt x="36" y="40"/>
                </a:cubicBezTo>
                <a:cubicBezTo>
                  <a:pt x="35" y="41"/>
                  <a:pt x="34" y="40"/>
                  <a:pt x="33" y="39"/>
                </a:cubicBezTo>
                <a:cubicBezTo>
                  <a:pt x="32" y="39"/>
                  <a:pt x="31" y="38"/>
                  <a:pt x="31" y="39"/>
                </a:cubicBezTo>
                <a:cubicBezTo>
                  <a:pt x="30" y="39"/>
                  <a:pt x="29" y="39"/>
                  <a:pt x="29" y="39"/>
                </a:cubicBezTo>
                <a:cubicBezTo>
                  <a:pt x="29" y="40"/>
                  <a:pt x="29" y="40"/>
                  <a:pt x="28" y="40"/>
                </a:cubicBezTo>
                <a:cubicBezTo>
                  <a:pt x="28" y="40"/>
                  <a:pt x="27" y="40"/>
                  <a:pt x="26" y="40"/>
                </a:cubicBezTo>
                <a:cubicBezTo>
                  <a:pt x="26" y="40"/>
                  <a:pt x="26" y="40"/>
                  <a:pt x="26" y="40"/>
                </a:cubicBezTo>
                <a:cubicBezTo>
                  <a:pt x="25" y="40"/>
                  <a:pt x="24" y="40"/>
                  <a:pt x="24" y="40"/>
                </a:cubicBezTo>
                <a:cubicBezTo>
                  <a:pt x="23" y="40"/>
                  <a:pt x="23" y="41"/>
                  <a:pt x="23" y="41"/>
                </a:cubicBezTo>
                <a:cubicBezTo>
                  <a:pt x="23" y="41"/>
                  <a:pt x="23" y="41"/>
                  <a:pt x="23" y="41"/>
                </a:cubicBezTo>
                <a:cubicBezTo>
                  <a:pt x="23" y="42"/>
                  <a:pt x="23" y="42"/>
                  <a:pt x="22" y="43"/>
                </a:cubicBezTo>
                <a:cubicBezTo>
                  <a:pt x="22" y="43"/>
                  <a:pt x="20" y="44"/>
                  <a:pt x="19" y="44"/>
                </a:cubicBezTo>
                <a:cubicBezTo>
                  <a:pt x="18" y="45"/>
                  <a:pt x="18" y="45"/>
                  <a:pt x="17" y="45"/>
                </a:cubicBezTo>
                <a:cubicBezTo>
                  <a:pt x="17" y="45"/>
                  <a:pt x="17" y="45"/>
                  <a:pt x="17" y="45"/>
                </a:cubicBezTo>
                <a:cubicBezTo>
                  <a:pt x="17" y="45"/>
                  <a:pt x="16" y="45"/>
                  <a:pt x="15" y="45"/>
                </a:cubicBezTo>
                <a:cubicBezTo>
                  <a:pt x="14" y="45"/>
                  <a:pt x="12" y="44"/>
                  <a:pt x="10" y="44"/>
                </a:cubicBezTo>
                <a:cubicBezTo>
                  <a:pt x="9" y="44"/>
                  <a:pt x="8" y="44"/>
                  <a:pt x="7" y="44"/>
                </a:cubicBezTo>
                <a:cubicBezTo>
                  <a:pt x="6" y="44"/>
                  <a:pt x="6" y="44"/>
                  <a:pt x="5" y="44"/>
                </a:cubicBezTo>
                <a:cubicBezTo>
                  <a:pt x="5" y="46"/>
                  <a:pt x="6" y="47"/>
                  <a:pt x="6" y="48"/>
                </a:cubicBezTo>
                <a:cubicBezTo>
                  <a:pt x="6" y="48"/>
                  <a:pt x="6" y="48"/>
                  <a:pt x="6" y="48"/>
                </a:cubicBezTo>
                <a:cubicBezTo>
                  <a:pt x="6" y="49"/>
                  <a:pt x="6" y="49"/>
                  <a:pt x="6" y="49"/>
                </a:cubicBezTo>
                <a:cubicBezTo>
                  <a:pt x="8" y="52"/>
                  <a:pt x="10" y="57"/>
                  <a:pt x="10" y="59"/>
                </a:cubicBezTo>
                <a:cubicBezTo>
                  <a:pt x="10" y="60"/>
                  <a:pt x="10" y="61"/>
                  <a:pt x="10" y="61"/>
                </a:cubicBezTo>
                <a:cubicBezTo>
                  <a:pt x="10" y="63"/>
                  <a:pt x="11" y="66"/>
                  <a:pt x="10" y="67"/>
                </a:cubicBezTo>
                <a:cubicBezTo>
                  <a:pt x="10" y="68"/>
                  <a:pt x="6" y="71"/>
                  <a:pt x="4" y="74"/>
                </a:cubicBezTo>
                <a:cubicBezTo>
                  <a:pt x="2" y="75"/>
                  <a:pt x="0" y="77"/>
                  <a:pt x="0" y="77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77"/>
                  <a:pt x="0" y="77"/>
                  <a:pt x="0" y="77"/>
                </a:cubicBezTo>
                <a:cubicBezTo>
                  <a:pt x="1" y="78"/>
                  <a:pt x="2" y="78"/>
                  <a:pt x="3" y="78"/>
                </a:cubicBezTo>
                <a:cubicBezTo>
                  <a:pt x="4" y="79"/>
                  <a:pt x="5" y="79"/>
                  <a:pt x="5" y="80"/>
                </a:cubicBezTo>
                <a:cubicBezTo>
                  <a:pt x="6" y="81"/>
                  <a:pt x="6" y="86"/>
                  <a:pt x="5" y="88"/>
                </a:cubicBezTo>
                <a:cubicBezTo>
                  <a:pt x="5" y="89"/>
                  <a:pt x="5" y="89"/>
                  <a:pt x="5" y="89"/>
                </a:cubicBezTo>
                <a:cubicBezTo>
                  <a:pt x="5" y="89"/>
                  <a:pt x="6" y="90"/>
                  <a:pt x="6" y="91"/>
                </a:cubicBezTo>
                <a:cubicBezTo>
                  <a:pt x="7" y="91"/>
                  <a:pt x="10" y="89"/>
                  <a:pt x="12" y="89"/>
                </a:cubicBezTo>
                <a:cubicBezTo>
                  <a:pt x="13" y="89"/>
                  <a:pt x="14" y="88"/>
                  <a:pt x="15" y="87"/>
                </a:cubicBezTo>
                <a:cubicBezTo>
                  <a:pt x="16" y="85"/>
                  <a:pt x="17" y="84"/>
                  <a:pt x="18" y="84"/>
                </a:cubicBezTo>
                <a:cubicBezTo>
                  <a:pt x="19" y="84"/>
                  <a:pt x="20" y="84"/>
                  <a:pt x="22" y="83"/>
                </a:cubicBezTo>
                <a:cubicBezTo>
                  <a:pt x="26" y="83"/>
                  <a:pt x="32" y="83"/>
                  <a:pt x="35" y="83"/>
                </a:cubicBezTo>
                <a:cubicBezTo>
                  <a:pt x="37" y="83"/>
                  <a:pt x="41" y="83"/>
                  <a:pt x="45" y="84"/>
                </a:cubicBezTo>
                <a:cubicBezTo>
                  <a:pt x="51" y="85"/>
                  <a:pt x="58" y="87"/>
                  <a:pt x="59" y="87"/>
                </a:cubicBezTo>
                <a:cubicBezTo>
                  <a:pt x="61" y="88"/>
                  <a:pt x="61" y="90"/>
                  <a:pt x="62" y="91"/>
                </a:cubicBezTo>
                <a:cubicBezTo>
                  <a:pt x="62" y="92"/>
                  <a:pt x="62" y="92"/>
                  <a:pt x="62" y="92"/>
                </a:cubicBezTo>
                <a:cubicBezTo>
                  <a:pt x="63" y="92"/>
                  <a:pt x="64" y="91"/>
                  <a:pt x="65" y="90"/>
                </a:cubicBezTo>
                <a:cubicBezTo>
                  <a:pt x="66" y="90"/>
                  <a:pt x="66" y="90"/>
                  <a:pt x="66" y="90"/>
                </a:cubicBezTo>
                <a:cubicBezTo>
                  <a:pt x="67" y="89"/>
                  <a:pt x="68" y="89"/>
                  <a:pt x="68" y="89"/>
                </a:cubicBezTo>
                <a:cubicBezTo>
                  <a:pt x="70" y="88"/>
                  <a:pt x="72" y="88"/>
                  <a:pt x="72" y="88"/>
                </a:cubicBezTo>
                <a:cubicBezTo>
                  <a:pt x="73" y="88"/>
                  <a:pt x="75" y="90"/>
                  <a:pt x="76" y="91"/>
                </a:cubicBezTo>
                <a:cubicBezTo>
                  <a:pt x="78" y="93"/>
                  <a:pt x="79" y="94"/>
                  <a:pt x="79" y="94"/>
                </a:cubicBezTo>
                <a:cubicBezTo>
                  <a:pt x="79" y="94"/>
                  <a:pt x="80" y="91"/>
                  <a:pt x="80" y="91"/>
                </a:cubicBezTo>
                <a:cubicBezTo>
                  <a:pt x="80" y="91"/>
                  <a:pt x="80" y="91"/>
                  <a:pt x="80" y="91"/>
                </a:cubicBezTo>
                <a:cubicBezTo>
                  <a:pt x="80" y="91"/>
                  <a:pt x="80" y="91"/>
                  <a:pt x="80" y="91"/>
                </a:cubicBezTo>
                <a:cubicBezTo>
                  <a:pt x="80" y="91"/>
                  <a:pt x="84" y="88"/>
                  <a:pt x="85" y="88"/>
                </a:cubicBezTo>
                <a:cubicBezTo>
                  <a:pt x="85" y="88"/>
                  <a:pt x="87" y="90"/>
                  <a:pt x="88" y="91"/>
                </a:cubicBezTo>
                <a:cubicBezTo>
                  <a:pt x="88" y="91"/>
                  <a:pt x="88" y="91"/>
                  <a:pt x="88" y="91"/>
                </a:cubicBezTo>
                <a:cubicBezTo>
                  <a:pt x="88" y="93"/>
                  <a:pt x="89" y="94"/>
                  <a:pt x="89" y="94"/>
                </a:cubicBezTo>
                <a:cubicBezTo>
                  <a:pt x="89" y="94"/>
                  <a:pt x="90" y="94"/>
                  <a:pt x="90" y="93"/>
                </a:cubicBezTo>
                <a:cubicBezTo>
                  <a:pt x="93" y="93"/>
                  <a:pt x="98" y="92"/>
                  <a:pt x="100" y="92"/>
                </a:cubicBezTo>
                <a:cubicBezTo>
                  <a:pt x="101" y="92"/>
                  <a:pt x="102" y="93"/>
                  <a:pt x="103" y="94"/>
                </a:cubicBezTo>
                <a:cubicBezTo>
                  <a:pt x="103" y="94"/>
                  <a:pt x="103" y="94"/>
                  <a:pt x="103" y="94"/>
                </a:cubicBezTo>
                <a:cubicBezTo>
                  <a:pt x="104" y="95"/>
                  <a:pt x="105" y="96"/>
                  <a:pt x="106" y="96"/>
                </a:cubicBezTo>
                <a:cubicBezTo>
                  <a:pt x="106" y="96"/>
                  <a:pt x="105" y="93"/>
                  <a:pt x="105" y="91"/>
                </a:cubicBezTo>
                <a:cubicBezTo>
                  <a:pt x="105" y="90"/>
                  <a:pt x="105" y="90"/>
                  <a:pt x="105" y="89"/>
                </a:cubicBezTo>
                <a:cubicBezTo>
                  <a:pt x="105" y="88"/>
                  <a:pt x="106" y="86"/>
                  <a:pt x="108" y="84"/>
                </a:cubicBezTo>
                <a:cubicBezTo>
                  <a:pt x="110" y="82"/>
                  <a:pt x="111" y="80"/>
                  <a:pt x="112" y="80"/>
                </a:cubicBezTo>
                <a:cubicBezTo>
                  <a:pt x="113" y="79"/>
                  <a:pt x="118" y="80"/>
                  <a:pt x="121" y="8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80"/>
                  <a:pt x="122" y="80"/>
                  <a:pt x="122" y="8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78"/>
                  <a:pt x="121" y="78"/>
                  <a:pt x="121" y="78"/>
                </a:cubicBezTo>
                <a:cubicBezTo>
                  <a:pt x="120" y="77"/>
                  <a:pt x="120" y="77"/>
                  <a:pt x="120" y="76"/>
                </a:cubicBezTo>
                <a:cubicBezTo>
                  <a:pt x="119" y="76"/>
                  <a:pt x="119" y="74"/>
                  <a:pt x="119" y="72"/>
                </a:cubicBezTo>
                <a:cubicBezTo>
                  <a:pt x="120" y="70"/>
                  <a:pt x="120" y="69"/>
                  <a:pt x="120" y="68"/>
                </a:cubicBezTo>
                <a:cubicBezTo>
                  <a:pt x="119" y="67"/>
                  <a:pt x="118" y="66"/>
                  <a:pt x="116" y="65"/>
                </a:cubicBezTo>
                <a:cubicBezTo>
                  <a:pt x="116" y="64"/>
                  <a:pt x="115" y="63"/>
                  <a:pt x="115" y="63"/>
                </a:cubicBezTo>
                <a:cubicBezTo>
                  <a:pt x="114" y="62"/>
                  <a:pt x="115" y="62"/>
                  <a:pt x="115" y="61"/>
                </a:cubicBezTo>
                <a:cubicBezTo>
                  <a:pt x="116" y="60"/>
                  <a:pt x="116" y="60"/>
                  <a:pt x="117" y="59"/>
                </a:cubicBezTo>
                <a:cubicBezTo>
                  <a:pt x="117" y="59"/>
                  <a:pt x="120" y="59"/>
                  <a:pt x="121" y="59"/>
                </a:cubicBezTo>
                <a:cubicBezTo>
                  <a:pt x="122" y="59"/>
                  <a:pt x="122" y="59"/>
                  <a:pt x="123" y="59"/>
                </a:cubicBezTo>
                <a:cubicBezTo>
                  <a:pt x="123" y="59"/>
                  <a:pt x="124" y="59"/>
                  <a:pt x="125" y="60"/>
                </a:cubicBezTo>
                <a:cubicBezTo>
                  <a:pt x="126" y="60"/>
                  <a:pt x="127" y="60"/>
                  <a:pt x="127" y="60"/>
                </a:cubicBezTo>
                <a:cubicBezTo>
                  <a:pt x="127" y="60"/>
                  <a:pt x="130" y="58"/>
                  <a:pt x="133" y="57"/>
                </a:cubicBezTo>
                <a:cubicBezTo>
                  <a:pt x="135" y="56"/>
                  <a:pt x="136" y="55"/>
                  <a:pt x="136" y="55"/>
                </a:cubicBezTo>
                <a:cubicBezTo>
                  <a:pt x="136" y="55"/>
                  <a:pt x="136" y="55"/>
                  <a:pt x="135" y="54"/>
                </a:cubicBezTo>
                <a:cubicBezTo>
                  <a:pt x="135" y="54"/>
                  <a:pt x="135" y="54"/>
                  <a:pt x="135" y="54"/>
                </a:cubicBezTo>
                <a:cubicBezTo>
                  <a:pt x="134" y="54"/>
                  <a:pt x="133" y="53"/>
                  <a:pt x="133" y="52"/>
                </a:cubicBezTo>
                <a:cubicBezTo>
                  <a:pt x="131" y="52"/>
                  <a:pt x="132" y="51"/>
                  <a:pt x="132" y="49"/>
                </a:cubicBezTo>
                <a:cubicBezTo>
                  <a:pt x="132" y="49"/>
                  <a:pt x="133" y="49"/>
                  <a:pt x="133" y="49"/>
                </a:cubicBezTo>
                <a:cubicBezTo>
                  <a:pt x="133" y="49"/>
                  <a:pt x="128" y="48"/>
                  <a:pt x="125" y="48"/>
                </a:cubicBezTo>
                <a:cubicBezTo>
                  <a:pt x="124" y="48"/>
                  <a:pt x="123" y="48"/>
                  <a:pt x="123" y="48"/>
                </a:cubicBezTo>
                <a:cubicBezTo>
                  <a:pt x="122" y="48"/>
                  <a:pt x="122" y="47"/>
                  <a:pt x="122" y="47"/>
                </a:cubicBezTo>
                <a:cubicBezTo>
                  <a:pt x="123" y="46"/>
                  <a:pt x="123" y="46"/>
                  <a:pt x="123" y="46"/>
                </a:cubicBezTo>
                <a:cubicBezTo>
                  <a:pt x="123" y="46"/>
                  <a:pt x="123" y="46"/>
                  <a:pt x="123" y="46"/>
                </a:cubicBezTo>
                <a:cubicBezTo>
                  <a:pt x="123" y="45"/>
                  <a:pt x="123" y="44"/>
                  <a:pt x="123" y="44"/>
                </a:cubicBezTo>
                <a:cubicBezTo>
                  <a:pt x="123" y="44"/>
                  <a:pt x="123" y="43"/>
                  <a:pt x="123" y="43"/>
                </a:cubicBezTo>
                <a:cubicBezTo>
                  <a:pt x="122" y="42"/>
                  <a:pt x="122" y="42"/>
                  <a:pt x="122" y="41"/>
                </a:cubicBezTo>
                <a:cubicBezTo>
                  <a:pt x="121" y="41"/>
                  <a:pt x="119" y="39"/>
                  <a:pt x="117" y="38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7" y="38"/>
                  <a:pt x="117" y="38"/>
                  <a:pt x="117" y="38"/>
                </a:cubicBezTo>
                <a:cubicBezTo>
                  <a:pt x="115" y="37"/>
                  <a:pt x="115" y="36"/>
                  <a:pt x="115" y="36"/>
                </a:cubicBezTo>
                <a:cubicBezTo>
                  <a:pt x="115" y="36"/>
                  <a:pt x="115" y="35"/>
                  <a:pt x="114" y="35"/>
                </a:cubicBezTo>
                <a:cubicBezTo>
                  <a:pt x="114" y="34"/>
                  <a:pt x="114" y="33"/>
                  <a:pt x="114" y="32"/>
                </a:cubicBezTo>
                <a:cubicBezTo>
                  <a:pt x="114" y="31"/>
                  <a:pt x="114" y="31"/>
                  <a:pt x="114" y="31"/>
                </a:cubicBezTo>
                <a:cubicBezTo>
                  <a:pt x="114" y="31"/>
                  <a:pt x="114" y="31"/>
                  <a:pt x="114" y="31"/>
                </a:cubicBezTo>
                <a:cubicBezTo>
                  <a:pt x="114" y="31"/>
                  <a:pt x="113" y="30"/>
                  <a:pt x="112" y="30"/>
                </a:cubicBezTo>
                <a:cubicBezTo>
                  <a:pt x="111" y="29"/>
                  <a:pt x="109" y="28"/>
                  <a:pt x="109" y="27"/>
                </a:cubicBezTo>
                <a:cubicBezTo>
                  <a:pt x="109" y="27"/>
                  <a:pt x="109" y="26"/>
                  <a:pt x="110" y="25"/>
                </a:cubicBezTo>
                <a:cubicBezTo>
                  <a:pt x="111" y="24"/>
                  <a:pt x="112" y="23"/>
                  <a:pt x="111" y="23"/>
                </a:cubicBezTo>
                <a:cubicBezTo>
                  <a:pt x="111" y="23"/>
                  <a:pt x="111" y="22"/>
                  <a:pt x="110" y="21"/>
                </a:cubicBezTo>
                <a:cubicBezTo>
                  <a:pt x="110" y="20"/>
                  <a:pt x="109" y="19"/>
                  <a:pt x="108" y="18"/>
                </a:cubicBezTo>
                <a:cubicBezTo>
                  <a:pt x="108" y="17"/>
                  <a:pt x="109" y="16"/>
                  <a:pt x="109" y="16"/>
                </a:cubicBezTo>
                <a:cubicBezTo>
                  <a:pt x="110" y="15"/>
                  <a:pt x="110" y="16"/>
                  <a:pt x="110" y="15"/>
                </a:cubicBezTo>
                <a:cubicBezTo>
                  <a:pt x="110" y="15"/>
                  <a:pt x="110" y="15"/>
                  <a:pt x="110" y="15"/>
                </a:cubicBezTo>
                <a:cubicBezTo>
                  <a:pt x="110" y="14"/>
                  <a:pt x="110" y="12"/>
                  <a:pt x="110" y="11"/>
                </a:cubicBezTo>
                <a:cubicBezTo>
                  <a:pt x="109" y="11"/>
                  <a:pt x="108" y="10"/>
                  <a:pt x="107" y="9"/>
                </a:cubicBezTo>
                <a:cubicBezTo>
                  <a:pt x="105" y="8"/>
                  <a:pt x="104" y="7"/>
                  <a:pt x="103" y="7"/>
                </a:cubicBezTo>
                <a:cubicBezTo>
                  <a:pt x="102" y="7"/>
                  <a:pt x="100" y="7"/>
                  <a:pt x="98" y="6"/>
                </a:cubicBezTo>
                <a:cubicBezTo>
                  <a:pt x="97" y="6"/>
                  <a:pt x="96" y="6"/>
                  <a:pt x="96" y="6"/>
                </a:cubicBezTo>
                <a:cubicBezTo>
                  <a:pt x="95" y="6"/>
                  <a:pt x="95" y="7"/>
                  <a:pt x="94" y="7"/>
                </a:cubicBezTo>
                <a:cubicBezTo>
                  <a:pt x="93" y="8"/>
                  <a:pt x="91" y="9"/>
                  <a:pt x="90" y="9"/>
                </a:cubicBezTo>
                <a:cubicBezTo>
                  <a:pt x="89" y="9"/>
                  <a:pt x="88" y="8"/>
                  <a:pt x="88" y="6"/>
                </a:cubicBezTo>
                <a:cubicBezTo>
                  <a:pt x="88" y="6"/>
                  <a:pt x="88" y="6"/>
                  <a:pt x="88" y="6"/>
                </a:cubicBezTo>
                <a:cubicBezTo>
                  <a:pt x="87" y="5"/>
                  <a:pt x="86" y="4"/>
                  <a:pt x="85" y="3"/>
                </a:cubicBezTo>
                <a:cubicBezTo>
                  <a:pt x="84" y="3"/>
                  <a:pt x="83" y="3"/>
                  <a:pt x="81" y="4"/>
                </a:cubicBezTo>
                <a:cubicBezTo>
                  <a:pt x="81" y="4"/>
                  <a:pt x="81" y="4"/>
                  <a:pt x="80" y="4"/>
                </a:cubicBezTo>
                <a:cubicBezTo>
                  <a:pt x="80" y="4"/>
                  <a:pt x="80" y="4"/>
                  <a:pt x="80" y="4"/>
                </a:cubicBezTo>
                <a:cubicBezTo>
                  <a:pt x="80" y="4"/>
                  <a:pt x="78" y="4"/>
                  <a:pt x="76" y="3"/>
                </a:cubicBezTo>
                <a:cubicBezTo>
                  <a:pt x="74" y="2"/>
                  <a:pt x="72" y="1"/>
                  <a:pt x="7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1" y="0"/>
                  <a:pt x="71" y="0"/>
                  <a:pt x="71" y="0"/>
                </a:cubicBezTo>
                <a:cubicBezTo>
                  <a:pt x="70" y="0"/>
                  <a:pt x="68" y="0"/>
                  <a:pt x="68" y="0"/>
                </a:cubicBezTo>
                <a:cubicBezTo>
                  <a:pt x="67" y="0"/>
                  <a:pt x="67" y="1"/>
                  <a:pt x="66" y="1"/>
                </a:cubicBezTo>
                <a:close/>
              </a:path>
            </a:pathLst>
          </a:custGeom>
          <a:gradFill flip="none" rotWithShape="1">
            <a:gsLst>
              <a:gs pos="30000">
                <a:schemeClr val="accent2"/>
              </a:gs>
              <a:gs pos="80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54" name="Freeform 131"/>
          <p:cNvSpPr>
            <a:spLocks/>
          </p:cNvSpPr>
          <p:nvPr/>
        </p:nvSpPr>
        <p:spPr bwMode="auto">
          <a:xfrm>
            <a:off x="2135312" y="5175251"/>
            <a:ext cx="266700" cy="381000"/>
          </a:xfrm>
          <a:custGeom>
            <a:avLst/>
            <a:gdLst>
              <a:gd name="T0" fmla="*/ 24 w 28"/>
              <a:gd name="T1" fmla="*/ 5 h 40"/>
              <a:gd name="T2" fmla="*/ 23 w 28"/>
              <a:gd name="T3" fmla="*/ 2 h 40"/>
              <a:gd name="T4" fmla="*/ 19 w 28"/>
              <a:gd name="T5" fmla="*/ 0 h 40"/>
              <a:gd name="T6" fmla="*/ 12 w 28"/>
              <a:gd name="T7" fmla="*/ 4 h 40"/>
              <a:gd name="T8" fmla="*/ 8 w 28"/>
              <a:gd name="T9" fmla="*/ 5 h 40"/>
              <a:gd name="T10" fmla="*/ 3 w 28"/>
              <a:gd name="T11" fmla="*/ 3 h 40"/>
              <a:gd name="T12" fmla="*/ 3 w 28"/>
              <a:gd name="T13" fmla="*/ 10 h 40"/>
              <a:gd name="T14" fmla="*/ 7 w 28"/>
              <a:gd name="T15" fmla="*/ 11 h 40"/>
              <a:gd name="T16" fmla="*/ 8 w 28"/>
              <a:gd name="T17" fmla="*/ 15 h 40"/>
              <a:gd name="T18" fmla="*/ 7 w 28"/>
              <a:gd name="T19" fmla="*/ 20 h 40"/>
              <a:gd name="T20" fmla="*/ 9 w 28"/>
              <a:gd name="T21" fmla="*/ 25 h 40"/>
              <a:gd name="T22" fmla="*/ 7 w 28"/>
              <a:gd name="T23" fmla="*/ 28 h 40"/>
              <a:gd name="T24" fmla="*/ 6 w 28"/>
              <a:gd name="T25" fmla="*/ 34 h 40"/>
              <a:gd name="T26" fmla="*/ 9 w 28"/>
              <a:gd name="T27" fmla="*/ 36 h 40"/>
              <a:gd name="T28" fmla="*/ 12 w 28"/>
              <a:gd name="T29" fmla="*/ 39 h 40"/>
              <a:gd name="T30" fmla="*/ 16 w 28"/>
              <a:gd name="T31" fmla="*/ 35 h 40"/>
              <a:gd name="T32" fmla="*/ 16 w 28"/>
              <a:gd name="T33" fmla="*/ 31 h 40"/>
              <a:gd name="T34" fmla="*/ 21 w 28"/>
              <a:gd name="T35" fmla="*/ 34 h 40"/>
              <a:gd name="T36" fmla="*/ 24 w 28"/>
              <a:gd name="T37" fmla="*/ 33 h 40"/>
              <a:gd name="T38" fmla="*/ 25 w 28"/>
              <a:gd name="T39" fmla="*/ 29 h 40"/>
              <a:gd name="T40" fmla="*/ 26 w 28"/>
              <a:gd name="T41" fmla="*/ 21 h 40"/>
              <a:gd name="T42" fmla="*/ 27 w 28"/>
              <a:gd name="T43" fmla="*/ 14 h 40"/>
              <a:gd name="T44" fmla="*/ 27 w 28"/>
              <a:gd name="T45" fmla="*/ 9 h 40"/>
              <a:gd name="T46" fmla="*/ 24 w 28"/>
              <a:gd name="T47" fmla="*/ 5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8" h="40">
                <a:moveTo>
                  <a:pt x="24" y="5"/>
                </a:moveTo>
                <a:cubicBezTo>
                  <a:pt x="23" y="5"/>
                  <a:pt x="23" y="3"/>
                  <a:pt x="23" y="2"/>
                </a:cubicBezTo>
                <a:cubicBezTo>
                  <a:pt x="22" y="2"/>
                  <a:pt x="23" y="0"/>
                  <a:pt x="19" y="0"/>
                </a:cubicBezTo>
                <a:cubicBezTo>
                  <a:pt x="14" y="1"/>
                  <a:pt x="14" y="3"/>
                  <a:pt x="12" y="4"/>
                </a:cubicBezTo>
                <a:cubicBezTo>
                  <a:pt x="10" y="5"/>
                  <a:pt x="10" y="5"/>
                  <a:pt x="8" y="5"/>
                </a:cubicBezTo>
                <a:cubicBezTo>
                  <a:pt x="6" y="4"/>
                  <a:pt x="4" y="2"/>
                  <a:pt x="3" y="3"/>
                </a:cubicBezTo>
                <a:cubicBezTo>
                  <a:pt x="2" y="5"/>
                  <a:pt x="0" y="10"/>
                  <a:pt x="3" y="10"/>
                </a:cubicBezTo>
                <a:cubicBezTo>
                  <a:pt x="6" y="10"/>
                  <a:pt x="7" y="10"/>
                  <a:pt x="7" y="11"/>
                </a:cubicBezTo>
                <a:cubicBezTo>
                  <a:pt x="7" y="12"/>
                  <a:pt x="8" y="14"/>
                  <a:pt x="8" y="15"/>
                </a:cubicBezTo>
                <a:cubicBezTo>
                  <a:pt x="8" y="16"/>
                  <a:pt x="5" y="17"/>
                  <a:pt x="7" y="20"/>
                </a:cubicBezTo>
                <a:cubicBezTo>
                  <a:pt x="9" y="22"/>
                  <a:pt x="10" y="24"/>
                  <a:pt x="9" y="25"/>
                </a:cubicBezTo>
                <a:cubicBezTo>
                  <a:pt x="9" y="26"/>
                  <a:pt x="6" y="26"/>
                  <a:pt x="7" y="28"/>
                </a:cubicBezTo>
                <a:cubicBezTo>
                  <a:pt x="7" y="31"/>
                  <a:pt x="5" y="33"/>
                  <a:pt x="6" y="34"/>
                </a:cubicBezTo>
                <a:cubicBezTo>
                  <a:pt x="8" y="36"/>
                  <a:pt x="9" y="34"/>
                  <a:pt x="9" y="36"/>
                </a:cubicBezTo>
                <a:cubicBezTo>
                  <a:pt x="10" y="38"/>
                  <a:pt x="10" y="40"/>
                  <a:pt x="12" y="39"/>
                </a:cubicBezTo>
                <a:cubicBezTo>
                  <a:pt x="14" y="39"/>
                  <a:pt x="16" y="36"/>
                  <a:pt x="16" y="35"/>
                </a:cubicBezTo>
                <a:cubicBezTo>
                  <a:pt x="16" y="33"/>
                  <a:pt x="15" y="31"/>
                  <a:pt x="16" y="31"/>
                </a:cubicBezTo>
                <a:cubicBezTo>
                  <a:pt x="16" y="31"/>
                  <a:pt x="19" y="34"/>
                  <a:pt x="21" y="34"/>
                </a:cubicBezTo>
                <a:cubicBezTo>
                  <a:pt x="23" y="34"/>
                  <a:pt x="23" y="35"/>
                  <a:pt x="24" y="33"/>
                </a:cubicBezTo>
                <a:cubicBezTo>
                  <a:pt x="24" y="32"/>
                  <a:pt x="25" y="30"/>
                  <a:pt x="25" y="29"/>
                </a:cubicBezTo>
                <a:cubicBezTo>
                  <a:pt x="25" y="27"/>
                  <a:pt x="26" y="22"/>
                  <a:pt x="26" y="21"/>
                </a:cubicBezTo>
                <a:cubicBezTo>
                  <a:pt x="26" y="20"/>
                  <a:pt x="27" y="17"/>
                  <a:pt x="27" y="14"/>
                </a:cubicBezTo>
                <a:cubicBezTo>
                  <a:pt x="28" y="12"/>
                  <a:pt x="28" y="10"/>
                  <a:pt x="27" y="9"/>
                </a:cubicBezTo>
                <a:cubicBezTo>
                  <a:pt x="26" y="7"/>
                  <a:pt x="25" y="6"/>
                  <a:pt x="24" y="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155" name="Gruppieren 154"/>
          <p:cNvGrpSpPr/>
          <p:nvPr/>
        </p:nvGrpSpPr>
        <p:grpSpPr>
          <a:xfrm>
            <a:off x="1973387" y="4173538"/>
            <a:ext cx="1609725" cy="1735138"/>
            <a:chOff x="1973387" y="4173538"/>
            <a:chExt cx="1609725" cy="1735138"/>
          </a:xfrm>
          <a:solidFill>
            <a:schemeClr val="tx2"/>
          </a:solidFill>
        </p:grpSpPr>
        <p:sp>
          <p:nvSpPr>
            <p:cNvPr id="156" name="Freeform 130"/>
            <p:cNvSpPr>
              <a:spLocks/>
            </p:cNvSpPr>
            <p:nvPr/>
          </p:nvSpPr>
          <p:spPr bwMode="auto">
            <a:xfrm>
              <a:off x="2402012" y="4879976"/>
              <a:ext cx="76200" cy="47625"/>
            </a:xfrm>
            <a:custGeom>
              <a:avLst/>
              <a:gdLst>
                <a:gd name="T0" fmla="*/ 4 w 8"/>
                <a:gd name="T1" fmla="*/ 1 h 5"/>
                <a:gd name="T2" fmla="*/ 1 w 8"/>
                <a:gd name="T3" fmla="*/ 4 h 5"/>
                <a:gd name="T4" fmla="*/ 6 w 8"/>
                <a:gd name="T5" fmla="*/ 5 h 5"/>
                <a:gd name="T6" fmla="*/ 7 w 8"/>
                <a:gd name="T7" fmla="*/ 2 h 5"/>
                <a:gd name="T8" fmla="*/ 4 w 8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4" y="1"/>
                  </a:moveTo>
                  <a:cubicBezTo>
                    <a:pt x="2" y="2"/>
                    <a:pt x="0" y="2"/>
                    <a:pt x="1" y="4"/>
                  </a:cubicBezTo>
                  <a:cubicBezTo>
                    <a:pt x="2" y="5"/>
                    <a:pt x="5" y="4"/>
                    <a:pt x="6" y="5"/>
                  </a:cubicBezTo>
                  <a:cubicBezTo>
                    <a:pt x="7" y="5"/>
                    <a:pt x="8" y="4"/>
                    <a:pt x="7" y="2"/>
                  </a:cubicBezTo>
                  <a:cubicBezTo>
                    <a:pt x="5" y="0"/>
                    <a:pt x="5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57" name="Freeform 132"/>
            <p:cNvSpPr>
              <a:spLocks/>
            </p:cNvSpPr>
            <p:nvPr/>
          </p:nvSpPr>
          <p:spPr bwMode="auto">
            <a:xfrm>
              <a:off x="1973387" y="4173538"/>
              <a:ext cx="1609725" cy="1516063"/>
            </a:xfrm>
            <a:custGeom>
              <a:avLst/>
              <a:gdLst>
                <a:gd name="T0" fmla="*/ 136 w 169"/>
                <a:gd name="T1" fmla="*/ 101 h 159"/>
                <a:gd name="T2" fmla="*/ 134 w 169"/>
                <a:gd name="T3" fmla="*/ 92 h 159"/>
                <a:gd name="T4" fmla="*/ 114 w 169"/>
                <a:gd name="T5" fmla="*/ 87 h 159"/>
                <a:gd name="T6" fmla="*/ 100 w 169"/>
                <a:gd name="T7" fmla="*/ 65 h 159"/>
                <a:gd name="T8" fmla="*/ 82 w 169"/>
                <a:gd name="T9" fmla="*/ 51 h 159"/>
                <a:gd name="T10" fmla="*/ 81 w 169"/>
                <a:gd name="T11" fmla="*/ 41 h 159"/>
                <a:gd name="T12" fmla="*/ 78 w 169"/>
                <a:gd name="T13" fmla="*/ 32 h 159"/>
                <a:gd name="T14" fmla="*/ 82 w 169"/>
                <a:gd name="T15" fmla="*/ 29 h 159"/>
                <a:gd name="T16" fmla="*/ 91 w 169"/>
                <a:gd name="T17" fmla="*/ 23 h 159"/>
                <a:gd name="T18" fmla="*/ 95 w 169"/>
                <a:gd name="T19" fmla="*/ 19 h 159"/>
                <a:gd name="T20" fmla="*/ 95 w 169"/>
                <a:gd name="T21" fmla="*/ 18 h 159"/>
                <a:gd name="T22" fmla="*/ 99 w 169"/>
                <a:gd name="T23" fmla="*/ 11 h 159"/>
                <a:gd name="T24" fmla="*/ 84 w 169"/>
                <a:gd name="T25" fmla="*/ 8 h 159"/>
                <a:gd name="T26" fmla="*/ 79 w 169"/>
                <a:gd name="T27" fmla="*/ 1 h 159"/>
                <a:gd name="T28" fmla="*/ 78 w 169"/>
                <a:gd name="T29" fmla="*/ 0 h 159"/>
                <a:gd name="T30" fmla="*/ 65 w 169"/>
                <a:gd name="T31" fmla="*/ 2 h 159"/>
                <a:gd name="T32" fmla="*/ 57 w 169"/>
                <a:gd name="T33" fmla="*/ 5 h 159"/>
                <a:gd name="T34" fmla="*/ 54 w 169"/>
                <a:gd name="T35" fmla="*/ 7 h 159"/>
                <a:gd name="T36" fmla="*/ 49 w 169"/>
                <a:gd name="T37" fmla="*/ 10 h 159"/>
                <a:gd name="T38" fmla="*/ 47 w 169"/>
                <a:gd name="T39" fmla="*/ 16 h 159"/>
                <a:gd name="T40" fmla="*/ 39 w 169"/>
                <a:gd name="T41" fmla="*/ 12 h 159"/>
                <a:gd name="T42" fmla="*/ 35 w 169"/>
                <a:gd name="T43" fmla="*/ 16 h 159"/>
                <a:gd name="T44" fmla="*/ 30 w 169"/>
                <a:gd name="T45" fmla="*/ 19 h 159"/>
                <a:gd name="T46" fmla="*/ 26 w 169"/>
                <a:gd name="T47" fmla="*/ 17 h 159"/>
                <a:gd name="T48" fmla="*/ 24 w 169"/>
                <a:gd name="T49" fmla="*/ 11 h 159"/>
                <a:gd name="T50" fmla="*/ 23 w 169"/>
                <a:gd name="T51" fmla="*/ 13 h 159"/>
                <a:gd name="T52" fmla="*/ 20 w 169"/>
                <a:gd name="T53" fmla="*/ 17 h 159"/>
                <a:gd name="T54" fmla="*/ 15 w 169"/>
                <a:gd name="T55" fmla="*/ 21 h 159"/>
                <a:gd name="T56" fmla="*/ 12 w 169"/>
                <a:gd name="T57" fmla="*/ 19 h 159"/>
                <a:gd name="T58" fmla="*/ 7 w 169"/>
                <a:gd name="T59" fmla="*/ 20 h 159"/>
                <a:gd name="T60" fmla="*/ 2 w 169"/>
                <a:gd name="T61" fmla="*/ 23 h 159"/>
                <a:gd name="T62" fmla="*/ 6 w 169"/>
                <a:gd name="T63" fmla="*/ 29 h 159"/>
                <a:gd name="T64" fmla="*/ 1 w 169"/>
                <a:gd name="T65" fmla="*/ 34 h 159"/>
                <a:gd name="T66" fmla="*/ 5 w 169"/>
                <a:gd name="T67" fmla="*/ 42 h 159"/>
                <a:gd name="T68" fmla="*/ 3 w 169"/>
                <a:gd name="T69" fmla="*/ 47 h 159"/>
                <a:gd name="T70" fmla="*/ 14 w 169"/>
                <a:gd name="T71" fmla="*/ 53 h 159"/>
                <a:gd name="T72" fmla="*/ 12 w 169"/>
                <a:gd name="T73" fmla="*/ 57 h 159"/>
                <a:gd name="T74" fmla="*/ 27 w 169"/>
                <a:gd name="T75" fmla="*/ 48 h 159"/>
                <a:gd name="T76" fmla="*/ 50 w 169"/>
                <a:gd name="T77" fmla="*/ 56 h 159"/>
                <a:gd name="T78" fmla="*/ 57 w 169"/>
                <a:gd name="T79" fmla="*/ 74 h 159"/>
                <a:gd name="T80" fmla="*/ 63 w 169"/>
                <a:gd name="T81" fmla="*/ 83 h 159"/>
                <a:gd name="T82" fmla="*/ 81 w 169"/>
                <a:gd name="T83" fmla="*/ 95 h 159"/>
                <a:gd name="T84" fmla="*/ 104 w 169"/>
                <a:gd name="T85" fmla="*/ 108 h 159"/>
                <a:gd name="T86" fmla="*/ 115 w 169"/>
                <a:gd name="T87" fmla="*/ 113 h 159"/>
                <a:gd name="T88" fmla="*/ 123 w 169"/>
                <a:gd name="T89" fmla="*/ 124 h 159"/>
                <a:gd name="T90" fmla="*/ 135 w 169"/>
                <a:gd name="T91" fmla="*/ 142 h 159"/>
                <a:gd name="T92" fmla="*/ 133 w 169"/>
                <a:gd name="T93" fmla="*/ 150 h 159"/>
                <a:gd name="T94" fmla="*/ 131 w 169"/>
                <a:gd name="T95" fmla="*/ 159 h 159"/>
                <a:gd name="T96" fmla="*/ 141 w 169"/>
                <a:gd name="T97" fmla="*/ 151 h 159"/>
                <a:gd name="T98" fmla="*/ 148 w 169"/>
                <a:gd name="T99" fmla="*/ 143 h 159"/>
                <a:gd name="T100" fmla="*/ 147 w 169"/>
                <a:gd name="T101" fmla="*/ 133 h 159"/>
                <a:gd name="T102" fmla="*/ 147 w 169"/>
                <a:gd name="T103" fmla="*/ 116 h 159"/>
                <a:gd name="T104" fmla="*/ 158 w 169"/>
                <a:gd name="T105" fmla="*/ 119 h 159"/>
                <a:gd name="T106" fmla="*/ 169 w 169"/>
                <a:gd name="T107" fmla="*/ 12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9" h="159">
                  <a:moveTo>
                    <a:pt x="154" y="109"/>
                  </a:moveTo>
                  <a:cubicBezTo>
                    <a:pt x="152" y="108"/>
                    <a:pt x="149" y="107"/>
                    <a:pt x="147" y="106"/>
                  </a:cubicBezTo>
                  <a:cubicBezTo>
                    <a:pt x="145" y="106"/>
                    <a:pt x="138" y="102"/>
                    <a:pt x="136" y="101"/>
                  </a:cubicBezTo>
                  <a:cubicBezTo>
                    <a:pt x="134" y="99"/>
                    <a:pt x="134" y="98"/>
                    <a:pt x="133" y="96"/>
                  </a:cubicBezTo>
                  <a:cubicBezTo>
                    <a:pt x="132" y="94"/>
                    <a:pt x="135" y="95"/>
                    <a:pt x="136" y="94"/>
                  </a:cubicBezTo>
                  <a:cubicBezTo>
                    <a:pt x="136" y="93"/>
                    <a:pt x="135" y="92"/>
                    <a:pt x="134" y="92"/>
                  </a:cubicBezTo>
                  <a:cubicBezTo>
                    <a:pt x="133" y="92"/>
                    <a:pt x="130" y="92"/>
                    <a:pt x="127" y="92"/>
                  </a:cubicBezTo>
                  <a:cubicBezTo>
                    <a:pt x="125" y="92"/>
                    <a:pt x="123" y="91"/>
                    <a:pt x="119" y="91"/>
                  </a:cubicBezTo>
                  <a:cubicBezTo>
                    <a:pt x="116" y="90"/>
                    <a:pt x="115" y="88"/>
                    <a:pt x="114" y="87"/>
                  </a:cubicBezTo>
                  <a:cubicBezTo>
                    <a:pt x="113" y="87"/>
                    <a:pt x="108" y="81"/>
                    <a:pt x="106" y="80"/>
                  </a:cubicBezTo>
                  <a:cubicBezTo>
                    <a:pt x="105" y="79"/>
                    <a:pt x="103" y="75"/>
                    <a:pt x="102" y="73"/>
                  </a:cubicBezTo>
                  <a:cubicBezTo>
                    <a:pt x="101" y="70"/>
                    <a:pt x="101" y="69"/>
                    <a:pt x="100" y="65"/>
                  </a:cubicBezTo>
                  <a:cubicBezTo>
                    <a:pt x="99" y="62"/>
                    <a:pt x="98" y="63"/>
                    <a:pt x="95" y="61"/>
                  </a:cubicBezTo>
                  <a:cubicBezTo>
                    <a:pt x="92" y="58"/>
                    <a:pt x="90" y="58"/>
                    <a:pt x="89" y="57"/>
                  </a:cubicBezTo>
                  <a:cubicBezTo>
                    <a:pt x="87" y="56"/>
                    <a:pt x="83" y="53"/>
                    <a:pt x="82" y="51"/>
                  </a:cubicBezTo>
                  <a:cubicBezTo>
                    <a:pt x="80" y="49"/>
                    <a:pt x="82" y="49"/>
                    <a:pt x="81" y="47"/>
                  </a:cubicBezTo>
                  <a:cubicBezTo>
                    <a:pt x="80" y="45"/>
                    <a:pt x="78" y="43"/>
                    <a:pt x="78" y="41"/>
                  </a:cubicBezTo>
                  <a:cubicBezTo>
                    <a:pt x="78" y="40"/>
                    <a:pt x="80" y="41"/>
                    <a:pt x="81" y="41"/>
                  </a:cubicBezTo>
                  <a:cubicBezTo>
                    <a:pt x="82" y="41"/>
                    <a:pt x="82" y="40"/>
                    <a:pt x="83" y="39"/>
                  </a:cubicBezTo>
                  <a:cubicBezTo>
                    <a:pt x="84" y="38"/>
                    <a:pt x="83" y="37"/>
                    <a:pt x="81" y="35"/>
                  </a:cubicBezTo>
                  <a:cubicBezTo>
                    <a:pt x="80" y="33"/>
                    <a:pt x="79" y="33"/>
                    <a:pt x="78" y="32"/>
                  </a:cubicBezTo>
                  <a:cubicBezTo>
                    <a:pt x="77" y="32"/>
                    <a:pt x="78" y="31"/>
                    <a:pt x="79" y="30"/>
                  </a:cubicBezTo>
                  <a:cubicBezTo>
                    <a:pt x="80" y="30"/>
                    <a:pt x="80" y="27"/>
                    <a:pt x="82" y="27"/>
                  </a:cubicBezTo>
                  <a:cubicBezTo>
                    <a:pt x="83" y="26"/>
                    <a:pt x="82" y="29"/>
                    <a:pt x="82" y="29"/>
                  </a:cubicBezTo>
                  <a:cubicBezTo>
                    <a:pt x="83" y="30"/>
                    <a:pt x="84" y="29"/>
                    <a:pt x="86" y="27"/>
                  </a:cubicBezTo>
                  <a:cubicBezTo>
                    <a:pt x="89" y="26"/>
                    <a:pt x="91" y="26"/>
                    <a:pt x="92" y="25"/>
                  </a:cubicBezTo>
                  <a:cubicBezTo>
                    <a:pt x="92" y="24"/>
                    <a:pt x="91" y="24"/>
                    <a:pt x="91" y="23"/>
                  </a:cubicBezTo>
                  <a:cubicBezTo>
                    <a:pt x="91" y="22"/>
                    <a:pt x="93" y="23"/>
                    <a:pt x="94" y="24"/>
                  </a:cubicBezTo>
                  <a:cubicBezTo>
                    <a:pt x="94" y="23"/>
                    <a:pt x="95" y="22"/>
                    <a:pt x="95" y="21"/>
                  </a:cubicBezTo>
                  <a:cubicBezTo>
                    <a:pt x="95" y="21"/>
                    <a:pt x="95" y="20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5" y="19"/>
                    <a:pt x="95" y="19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4" y="16"/>
                    <a:pt x="94" y="14"/>
                    <a:pt x="96" y="13"/>
                  </a:cubicBezTo>
                  <a:cubicBezTo>
                    <a:pt x="96" y="13"/>
                    <a:pt x="97" y="12"/>
                    <a:pt x="98" y="12"/>
                  </a:cubicBezTo>
                  <a:cubicBezTo>
                    <a:pt x="98" y="11"/>
                    <a:pt x="98" y="11"/>
                    <a:pt x="99" y="11"/>
                  </a:cubicBezTo>
                  <a:cubicBezTo>
                    <a:pt x="100" y="10"/>
                    <a:pt x="100" y="10"/>
                    <a:pt x="101" y="9"/>
                  </a:cubicBezTo>
                  <a:cubicBezTo>
                    <a:pt x="99" y="9"/>
                    <a:pt x="97" y="9"/>
                    <a:pt x="95" y="9"/>
                  </a:cubicBezTo>
                  <a:cubicBezTo>
                    <a:pt x="90" y="9"/>
                    <a:pt x="85" y="8"/>
                    <a:pt x="84" y="8"/>
                  </a:cubicBezTo>
                  <a:cubicBezTo>
                    <a:pt x="84" y="7"/>
                    <a:pt x="83" y="7"/>
                    <a:pt x="82" y="6"/>
                  </a:cubicBezTo>
                  <a:cubicBezTo>
                    <a:pt x="81" y="5"/>
                    <a:pt x="79" y="4"/>
                    <a:pt x="78" y="3"/>
                  </a:cubicBezTo>
                  <a:cubicBezTo>
                    <a:pt x="78" y="2"/>
                    <a:pt x="78" y="2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9" y="1"/>
                    <a:pt x="79" y="0"/>
                    <a:pt x="78" y="0"/>
                  </a:cubicBezTo>
                  <a:cubicBezTo>
                    <a:pt x="77" y="0"/>
                    <a:pt x="75" y="0"/>
                    <a:pt x="72" y="0"/>
                  </a:cubicBezTo>
                  <a:cubicBezTo>
                    <a:pt x="69" y="1"/>
                    <a:pt x="65" y="2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4" y="2"/>
                    <a:pt x="64" y="3"/>
                    <a:pt x="63" y="4"/>
                  </a:cubicBezTo>
                  <a:cubicBezTo>
                    <a:pt x="63" y="5"/>
                    <a:pt x="62" y="6"/>
                    <a:pt x="61" y="6"/>
                  </a:cubicBezTo>
                  <a:cubicBezTo>
                    <a:pt x="60" y="6"/>
                    <a:pt x="59" y="5"/>
                    <a:pt x="57" y="5"/>
                  </a:cubicBezTo>
                  <a:cubicBezTo>
                    <a:pt x="56" y="5"/>
                    <a:pt x="56" y="5"/>
                    <a:pt x="55" y="4"/>
                  </a:cubicBezTo>
                  <a:cubicBezTo>
                    <a:pt x="55" y="5"/>
                    <a:pt x="55" y="5"/>
                    <a:pt x="54" y="6"/>
                  </a:cubicBezTo>
                  <a:cubicBezTo>
                    <a:pt x="54" y="6"/>
                    <a:pt x="54" y="6"/>
                    <a:pt x="54" y="7"/>
                  </a:cubicBezTo>
                  <a:cubicBezTo>
                    <a:pt x="55" y="8"/>
                    <a:pt x="55" y="8"/>
                    <a:pt x="54" y="9"/>
                  </a:cubicBezTo>
                  <a:cubicBezTo>
                    <a:pt x="53" y="10"/>
                    <a:pt x="52" y="10"/>
                    <a:pt x="51" y="10"/>
                  </a:cubicBezTo>
                  <a:cubicBezTo>
                    <a:pt x="50" y="10"/>
                    <a:pt x="49" y="10"/>
                    <a:pt x="49" y="10"/>
                  </a:cubicBezTo>
                  <a:cubicBezTo>
                    <a:pt x="48" y="10"/>
                    <a:pt x="48" y="11"/>
                    <a:pt x="49" y="12"/>
                  </a:cubicBezTo>
                  <a:cubicBezTo>
                    <a:pt x="49" y="13"/>
                    <a:pt x="49" y="14"/>
                    <a:pt x="49" y="15"/>
                  </a:cubicBezTo>
                  <a:cubicBezTo>
                    <a:pt x="49" y="15"/>
                    <a:pt x="48" y="16"/>
                    <a:pt x="47" y="16"/>
                  </a:cubicBezTo>
                  <a:cubicBezTo>
                    <a:pt x="47" y="15"/>
                    <a:pt x="46" y="15"/>
                    <a:pt x="45" y="14"/>
                  </a:cubicBezTo>
                  <a:cubicBezTo>
                    <a:pt x="44" y="14"/>
                    <a:pt x="43" y="14"/>
                    <a:pt x="42" y="13"/>
                  </a:cubicBezTo>
                  <a:cubicBezTo>
                    <a:pt x="41" y="13"/>
                    <a:pt x="40" y="12"/>
                    <a:pt x="39" y="12"/>
                  </a:cubicBezTo>
                  <a:cubicBezTo>
                    <a:pt x="38" y="11"/>
                    <a:pt x="38" y="11"/>
                    <a:pt x="37" y="11"/>
                  </a:cubicBezTo>
                  <a:cubicBezTo>
                    <a:pt x="37" y="11"/>
                    <a:pt x="37" y="12"/>
                    <a:pt x="36" y="14"/>
                  </a:cubicBezTo>
                  <a:cubicBezTo>
                    <a:pt x="36" y="14"/>
                    <a:pt x="36" y="15"/>
                    <a:pt x="35" y="16"/>
                  </a:cubicBezTo>
                  <a:cubicBezTo>
                    <a:pt x="35" y="16"/>
                    <a:pt x="35" y="17"/>
                    <a:pt x="34" y="18"/>
                  </a:cubicBezTo>
                  <a:cubicBezTo>
                    <a:pt x="34" y="20"/>
                    <a:pt x="33" y="22"/>
                    <a:pt x="32" y="22"/>
                  </a:cubicBezTo>
                  <a:cubicBezTo>
                    <a:pt x="30" y="22"/>
                    <a:pt x="30" y="21"/>
                    <a:pt x="30" y="19"/>
                  </a:cubicBezTo>
                  <a:cubicBezTo>
                    <a:pt x="30" y="19"/>
                    <a:pt x="30" y="18"/>
                    <a:pt x="30" y="18"/>
                  </a:cubicBezTo>
                  <a:cubicBezTo>
                    <a:pt x="30" y="18"/>
                    <a:pt x="29" y="18"/>
                    <a:pt x="28" y="17"/>
                  </a:cubicBezTo>
                  <a:cubicBezTo>
                    <a:pt x="27" y="17"/>
                    <a:pt x="27" y="17"/>
                    <a:pt x="26" y="17"/>
                  </a:cubicBezTo>
                  <a:cubicBezTo>
                    <a:pt x="26" y="16"/>
                    <a:pt x="25" y="15"/>
                    <a:pt x="25" y="13"/>
                  </a:cubicBezTo>
                  <a:cubicBezTo>
                    <a:pt x="25" y="12"/>
                    <a:pt x="25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2"/>
                    <a:pt x="23" y="12"/>
                    <a:pt x="23" y="12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2" y="13"/>
                    <a:pt x="22" y="14"/>
                    <a:pt x="21" y="15"/>
                  </a:cubicBezTo>
                  <a:cubicBezTo>
                    <a:pt x="21" y="15"/>
                    <a:pt x="20" y="16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8"/>
                    <a:pt x="19" y="19"/>
                    <a:pt x="18" y="20"/>
                  </a:cubicBezTo>
                  <a:cubicBezTo>
                    <a:pt x="18" y="20"/>
                    <a:pt x="17" y="21"/>
                    <a:pt x="17" y="21"/>
                  </a:cubicBezTo>
                  <a:cubicBezTo>
                    <a:pt x="16" y="22"/>
                    <a:pt x="16" y="22"/>
                    <a:pt x="15" y="21"/>
                  </a:cubicBezTo>
                  <a:cubicBezTo>
                    <a:pt x="15" y="21"/>
                    <a:pt x="14" y="21"/>
                    <a:pt x="14" y="20"/>
                  </a:cubicBezTo>
                  <a:cubicBezTo>
                    <a:pt x="14" y="20"/>
                    <a:pt x="13" y="20"/>
                    <a:pt x="13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0"/>
                    <a:pt x="11" y="20"/>
                    <a:pt x="10" y="20"/>
                  </a:cubicBezTo>
                  <a:cubicBezTo>
                    <a:pt x="9" y="20"/>
                    <a:pt x="8" y="20"/>
                    <a:pt x="7" y="20"/>
                  </a:cubicBezTo>
                  <a:cubicBezTo>
                    <a:pt x="6" y="20"/>
                    <a:pt x="5" y="20"/>
                    <a:pt x="5" y="20"/>
                  </a:cubicBezTo>
                  <a:cubicBezTo>
                    <a:pt x="5" y="20"/>
                    <a:pt x="4" y="20"/>
                    <a:pt x="4" y="21"/>
                  </a:cubicBezTo>
                  <a:cubicBezTo>
                    <a:pt x="3" y="22"/>
                    <a:pt x="2" y="23"/>
                    <a:pt x="2" y="23"/>
                  </a:cubicBezTo>
                  <a:cubicBezTo>
                    <a:pt x="2" y="24"/>
                    <a:pt x="4" y="25"/>
                    <a:pt x="5" y="26"/>
                  </a:cubicBezTo>
                  <a:cubicBezTo>
                    <a:pt x="6" y="27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7" y="32"/>
                    <a:pt x="4" y="33"/>
                  </a:cubicBezTo>
                  <a:cubicBezTo>
                    <a:pt x="4" y="33"/>
                    <a:pt x="2" y="34"/>
                    <a:pt x="1" y="34"/>
                  </a:cubicBezTo>
                  <a:cubicBezTo>
                    <a:pt x="1" y="34"/>
                    <a:pt x="0" y="34"/>
                    <a:pt x="0" y="34"/>
                  </a:cubicBezTo>
                  <a:cubicBezTo>
                    <a:pt x="0" y="34"/>
                    <a:pt x="1" y="35"/>
                    <a:pt x="2" y="36"/>
                  </a:cubicBezTo>
                  <a:cubicBezTo>
                    <a:pt x="3" y="38"/>
                    <a:pt x="5" y="40"/>
                    <a:pt x="5" y="42"/>
                  </a:cubicBezTo>
                  <a:cubicBezTo>
                    <a:pt x="5" y="43"/>
                    <a:pt x="5" y="44"/>
                    <a:pt x="4" y="44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6"/>
                    <a:pt x="3" y="46"/>
                    <a:pt x="3" y="47"/>
                  </a:cubicBezTo>
                  <a:cubicBezTo>
                    <a:pt x="3" y="47"/>
                    <a:pt x="3" y="48"/>
                    <a:pt x="4" y="48"/>
                  </a:cubicBezTo>
                  <a:cubicBezTo>
                    <a:pt x="4" y="48"/>
                    <a:pt x="6" y="49"/>
                    <a:pt x="8" y="50"/>
                  </a:cubicBezTo>
                  <a:cubicBezTo>
                    <a:pt x="11" y="51"/>
                    <a:pt x="14" y="52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4"/>
                    <a:pt x="13" y="55"/>
                  </a:cubicBezTo>
                  <a:cubicBezTo>
                    <a:pt x="13" y="56"/>
                    <a:pt x="12" y="57"/>
                    <a:pt x="12" y="57"/>
                  </a:cubicBezTo>
                  <a:cubicBezTo>
                    <a:pt x="12" y="58"/>
                    <a:pt x="11" y="58"/>
                    <a:pt x="11" y="59"/>
                  </a:cubicBezTo>
                  <a:cubicBezTo>
                    <a:pt x="15" y="58"/>
                    <a:pt x="20" y="56"/>
                    <a:pt x="21" y="55"/>
                  </a:cubicBezTo>
                  <a:cubicBezTo>
                    <a:pt x="23" y="54"/>
                    <a:pt x="25" y="50"/>
                    <a:pt x="27" y="48"/>
                  </a:cubicBezTo>
                  <a:cubicBezTo>
                    <a:pt x="28" y="47"/>
                    <a:pt x="30" y="49"/>
                    <a:pt x="33" y="49"/>
                  </a:cubicBezTo>
                  <a:cubicBezTo>
                    <a:pt x="35" y="49"/>
                    <a:pt x="37" y="50"/>
                    <a:pt x="40" y="51"/>
                  </a:cubicBezTo>
                  <a:cubicBezTo>
                    <a:pt x="43" y="52"/>
                    <a:pt x="49" y="54"/>
                    <a:pt x="50" y="56"/>
                  </a:cubicBezTo>
                  <a:cubicBezTo>
                    <a:pt x="51" y="58"/>
                    <a:pt x="51" y="60"/>
                    <a:pt x="51" y="61"/>
                  </a:cubicBezTo>
                  <a:cubicBezTo>
                    <a:pt x="52" y="63"/>
                    <a:pt x="54" y="71"/>
                    <a:pt x="54" y="72"/>
                  </a:cubicBezTo>
                  <a:cubicBezTo>
                    <a:pt x="54" y="74"/>
                    <a:pt x="56" y="73"/>
                    <a:pt x="57" y="74"/>
                  </a:cubicBezTo>
                  <a:cubicBezTo>
                    <a:pt x="58" y="74"/>
                    <a:pt x="58" y="74"/>
                    <a:pt x="59" y="76"/>
                  </a:cubicBezTo>
                  <a:cubicBezTo>
                    <a:pt x="59" y="77"/>
                    <a:pt x="63" y="80"/>
                    <a:pt x="63" y="81"/>
                  </a:cubicBezTo>
                  <a:cubicBezTo>
                    <a:pt x="64" y="82"/>
                    <a:pt x="63" y="81"/>
                    <a:pt x="63" y="83"/>
                  </a:cubicBezTo>
                  <a:cubicBezTo>
                    <a:pt x="63" y="85"/>
                    <a:pt x="67" y="83"/>
                    <a:pt x="69" y="84"/>
                  </a:cubicBezTo>
                  <a:cubicBezTo>
                    <a:pt x="70" y="84"/>
                    <a:pt x="72" y="87"/>
                    <a:pt x="73" y="88"/>
                  </a:cubicBezTo>
                  <a:cubicBezTo>
                    <a:pt x="74" y="89"/>
                    <a:pt x="80" y="94"/>
                    <a:pt x="81" y="95"/>
                  </a:cubicBezTo>
                  <a:cubicBezTo>
                    <a:pt x="83" y="97"/>
                    <a:pt x="90" y="101"/>
                    <a:pt x="91" y="102"/>
                  </a:cubicBezTo>
                  <a:cubicBezTo>
                    <a:pt x="92" y="104"/>
                    <a:pt x="97" y="103"/>
                    <a:pt x="101" y="103"/>
                  </a:cubicBezTo>
                  <a:cubicBezTo>
                    <a:pt x="104" y="103"/>
                    <a:pt x="103" y="106"/>
                    <a:pt x="104" y="108"/>
                  </a:cubicBezTo>
                  <a:cubicBezTo>
                    <a:pt x="106" y="110"/>
                    <a:pt x="108" y="109"/>
                    <a:pt x="109" y="111"/>
                  </a:cubicBezTo>
                  <a:cubicBezTo>
                    <a:pt x="111" y="112"/>
                    <a:pt x="108" y="113"/>
                    <a:pt x="108" y="114"/>
                  </a:cubicBezTo>
                  <a:cubicBezTo>
                    <a:pt x="108" y="115"/>
                    <a:pt x="114" y="113"/>
                    <a:pt x="115" y="113"/>
                  </a:cubicBezTo>
                  <a:cubicBezTo>
                    <a:pt x="116" y="113"/>
                    <a:pt x="117" y="114"/>
                    <a:pt x="119" y="117"/>
                  </a:cubicBezTo>
                  <a:cubicBezTo>
                    <a:pt x="120" y="119"/>
                    <a:pt x="117" y="119"/>
                    <a:pt x="117" y="120"/>
                  </a:cubicBezTo>
                  <a:cubicBezTo>
                    <a:pt x="117" y="122"/>
                    <a:pt x="121" y="122"/>
                    <a:pt x="123" y="124"/>
                  </a:cubicBezTo>
                  <a:cubicBezTo>
                    <a:pt x="125" y="125"/>
                    <a:pt x="126" y="124"/>
                    <a:pt x="129" y="124"/>
                  </a:cubicBezTo>
                  <a:cubicBezTo>
                    <a:pt x="131" y="125"/>
                    <a:pt x="131" y="128"/>
                    <a:pt x="132" y="132"/>
                  </a:cubicBezTo>
                  <a:cubicBezTo>
                    <a:pt x="133" y="135"/>
                    <a:pt x="135" y="141"/>
                    <a:pt x="135" y="142"/>
                  </a:cubicBezTo>
                  <a:cubicBezTo>
                    <a:pt x="135" y="143"/>
                    <a:pt x="136" y="144"/>
                    <a:pt x="136" y="145"/>
                  </a:cubicBezTo>
                  <a:cubicBezTo>
                    <a:pt x="136" y="146"/>
                    <a:pt x="133" y="146"/>
                    <a:pt x="132" y="147"/>
                  </a:cubicBezTo>
                  <a:cubicBezTo>
                    <a:pt x="131" y="148"/>
                    <a:pt x="133" y="149"/>
                    <a:pt x="133" y="150"/>
                  </a:cubicBezTo>
                  <a:cubicBezTo>
                    <a:pt x="133" y="151"/>
                    <a:pt x="131" y="152"/>
                    <a:pt x="130" y="153"/>
                  </a:cubicBezTo>
                  <a:cubicBezTo>
                    <a:pt x="130" y="154"/>
                    <a:pt x="129" y="157"/>
                    <a:pt x="129" y="158"/>
                  </a:cubicBezTo>
                  <a:cubicBezTo>
                    <a:pt x="129" y="159"/>
                    <a:pt x="130" y="159"/>
                    <a:pt x="131" y="159"/>
                  </a:cubicBezTo>
                  <a:cubicBezTo>
                    <a:pt x="133" y="159"/>
                    <a:pt x="134" y="159"/>
                    <a:pt x="135" y="158"/>
                  </a:cubicBezTo>
                  <a:cubicBezTo>
                    <a:pt x="136" y="158"/>
                    <a:pt x="136" y="156"/>
                    <a:pt x="137" y="155"/>
                  </a:cubicBezTo>
                  <a:cubicBezTo>
                    <a:pt x="138" y="154"/>
                    <a:pt x="141" y="152"/>
                    <a:pt x="141" y="151"/>
                  </a:cubicBezTo>
                  <a:cubicBezTo>
                    <a:pt x="142" y="150"/>
                    <a:pt x="141" y="148"/>
                    <a:pt x="141" y="146"/>
                  </a:cubicBezTo>
                  <a:cubicBezTo>
                    <a:pt x="142" y="145"/>
                    <a:pt x="143" y="144"/>
                    <a:pt x="144" y="143"/>
                  </a:cubicBezTo>
                  <a:cubicBezTo>
                    <a:pt x="145" y="143"/>
                    <a:pt x="146" y="143"/>
                    <a:pt x="148" y="143"/>
                  </a:cubicBezTo>
                  <a:cubicBezTo>
                    <a:pt x="149" y="143"/>
                    <a:pt x="149" y="143"/>
                    <a:pt x="150" y="142"/>
                  </a:cubicBezTo>
                  <a:cubicBezTo>
                    <a:pt x="150" y="141"/>
                    <a:pt x="150" y="139"/>
                    <a:pt x="149" y="137"/>
                  </a:cubicBezTo>
                  <a:cubicBezTo>
                    <a:pt x="149" y="135"/>
                    <a:pt x="149" y="134"/>
                    <a:pt x="147" y="133"/>
                  </a:cubicBezTo>
                  <a:cubicBezTo>
                    <a:pt x="146" y="131"/>
                    <a:pt x="142" y="132"/>
                    <a:pt x="141" y="130"/>
                  </a:cubicBezTo>
                  <a:cubicBezTo>
                    <a:pt x="140" y="127"/>
                    <a:pt x="142" y="123"/>
                    <a:pt x="142" y="122"/>
                  </a:cubicBezTo>
                  <a:cubicBezTo>
                    <a:pt x="142" y="121"/>
                    <a:pt x="146" y="117"/>
                    <a:pt x="147" y="116"/>
                  </a:cubicBezTo>
                  <a:cubicBezTo>
                    <a:pt x="148" y="115"/>
                    <a:pt x="149" y="115"/>
                    <a:pt x="151" y="115"/>
                  </a:cubicBezTo>
                  <a:cubicBezTo>
                    <a:pt x="152" y="115"/>
                    <a:pt x="151" y="116"/>
                    <a:pt x="151" y="117"/>
                  </a:cubicBezTo>
                  <a:cubicBezTo>
                    <a:pt x="151" y="119"/>
                    <a:pt x="157" y="119"/>
                    <a:pt x="158" y="119"/>
                  </a:cubicBezTo>
                  <a:cubicBezTo>
                    <a:pt x="160" y="120"/>
                    <a:pt x="161" y="124"/>
                    <a:pt x="162" y="125"/>
                  </a:cubicBezTo>
                  <a:cubicBezTo>
                    <a:pt x="162" y="126"/>
                    <a:pt x="166" y="127"/>
                    <a:pt x="167" y="127"/>
                  </a:cubicBezTo>
                  <a:cubicBezTo>
                    <a:pt x="168" y="127"/>
                    <a:pt x="169" y="123"/>
                    <a:pt x="169" y="122"/>
                  </a:cubicBezTo>
                  <a:cubicBezTo>
                    <a:pt x="169" y="121"/>
                    <a:pt x="165" y="116"/>
                    <a:pt x="164" y="115"/>
                  </a:cubicBezTo>
                  <a:cubicBezTo>
                    <a:pt x="163" y="114"/>
                    <a:pt x="156" y="110"/>
                    <a:pt x="154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58" name="Freeform 133"/>
            <p:cNvSpPr>
              <a:spLocks/>
            </p:cNvSpPr>
            <p:nvPr/>
          </p:nvSpPr>
          <p:spPr bwMode="auto">
            <a:xfrm>
              <a:off x="2744912" y="5632451"/>
              <a:ext cx="419100" cy="276225"/>
            </a:xfrm>
            <a:custGeom>
              <a:avLst/>
              <a:gdLst>
                <a:gd name="T0" fmla="*/ 41 w 44"/>
                <a:gd name="T1" fmla="*/ 8 h 29"/>
                <a:gd name="T2" fmla="*/ 44 w 44"/>
                <a:gd name="T3" fmla="*/ 4 h 29"/>
                <a:gd name="T4" fmla="*/ 35 w 44"/>
                <a:gd name="T5" fmla="*/ 4 h 29"/>
                <a:gd name="T6" fmla="*/ 27 w 44"/>
                <a:gd name="T7" fmla="*/ 5 h 29"/>
                <a:gd name="T8" fmla="*/ 17 w 44"/>
                <a:gd name="T9" fmla="*/ 3 h 29"/>
                <a:gd name="T10" fmla="*/ 12 w 44"/>
                <a:gd name="T11" fmla="*/ 2 h 29"/>
                <a:gd name="T12" fmla="*/ 10 w 44"/>
                <a:gd name="T13" fmla="*/ 4 h 29"/>
                <a:gd name="T14" fmla="*/ 4 w 44"/>
                <a:gd name="T15" fmla="*/ 2 h 29"/>
                <a:gd name="T16" fmla="*/ 3 w 44"/>
                <a:gd name="T17" fmla="*/ 6 h 29"/>
                <a:gd name="T18" fmla="*/ 1 w 44"/>
                <a:gd name="T19" fmla="*/ 9 h 29"/>
                <a:gd name="T20" fmla="*/ 5 w 44"/>
                <a:gd name="T21" fmla="*/ 13 h 29"/>
                <a:gd name="T22" fmla="*/ 12 w 44"/>
                <a:gd name="T23" fmla="*/ 14 h 29"/>
                <a:gd name="T24" fmla="*/ 18 w 44"/>
                <a:gd name="T25" fmla="*/ 17 h 29"/>
                <a:gd name="T26" fmla="*/ 28 w 44"/>
                <a:gd name="T27" fmla="*/ 21 h 29"/>
                <a:gd name="T28" fmla="*/ 30 w 44"/>
                <a:gd name="T29" fmla="*/ 25 h 29"/>
                <a:gd name="T30" fmla="*/ 38 w 44"/>
                <a:gd name="T31" fmla="*/ 27 h 29"/>
                <a:gd name="T32" fmla="*/ 40 w 44"/>
                <a:gd name="T33" fmla="*/ 24 h 29"/>
                <a:gd name="T34" fmla="*/ 43 w 44"/>
                <a:gd name="T35" fmla="*/ 21 h 29"/>
                <a:gd name="T36" fmla="*/ 38 w 44"/>
                <a:gd name="T37" fmla="*/ 16 h 29"/>
                <a:gd name="T38" fmla="*/ 41 w 44"/>
                <a:gd name="T3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29">
                  <a:moveTo>
                    <a:pt x="41" y="8"/>
                  </a:moveTo>
                  <a:cubicBezTo>
                    <a:pt x="41" y="7"/>
                    <a:pt x="44" y="5"/>
                    <a:pt x="44" y="4"/>
                  </a:cubicBezTo>
                  <a:cubicBezTo>
                    <a:pt x="44" y="2"/>
                    <a:pt x="39" y="4"/>
                    <a:pt x="35" y="4"/>
                  </a:cubicBezTo>
                  <a:cubicBezTo>
                    <a:pt x="31" y="5"/>
                    <a:pt x="30" y="6"/>
                    <a:pt x="27" y="5"/>
                  </a:cubicBezTo>
                  <a:cubicBezTo>
                    <a:pt x="24" y="4"/>
                    <a:pt x="18" y="3"/>
                    <a:pt x="17" y="3"/>
                  </a:cubicBezTo>
                  <a:cubicBezTo>
                    <a:pt x="15" y="2"/>
                    <a:pt x="15" y="0"/>
                    <a:pt x="12" y="2"/>
                  </a:cubicBezTo>
                  <a:cubicBezTo>
                    <a:pt x="11" y="3"/>
                    <a:pt x="14" y="6"/>
                    <a:pt x="10" y="4"/>
                  </a:cubicBezTo>
                  <a:cubicBezTo>
                    <a:pt x="5" y="2"/>
                    <a:pt x="6" y="1"/>
                    <a:pt x="4" y="2"/>
                  </a:cubicBezTo>
                  <a:cubicBezTo>
                    <a:pt x="3" y="4"/>
                    <a:pt x="4" y="6"/>
                    <a:pt x="3" y="6"/>
                  </a:cubicBezTo>
                  <a:cubicBezTo>
                    <a:pt x="2" y="7"/>
                    <a:pt x="0" y="8"/>
                    <a:pt x="1" y="9"/>
                  </a:cubicBezTo>
                  <a:cubicBezTo>
                    <a:pt x="2" y="11"/>
                    <a:pt x="2" y="13"/>
                    <a:pt x="5" y="13"/>
                  </a:cubicBezTo>
                  <a:cubicBezTo>
                    <a:pt x="8" y="12"/>
                    <a:pt x="11" y="13"/>
                    <a:pt x="12" y="14"/>
                  </a:cubicBezTo>
                  <a:cubicBezTo>
                    <a:pt x="13" y="14"/>
                    <a:pt x="15" y="16"/>
                    <a:pt x="18" y="17"/>
                  </a:cubicBezTo>
                  <a:cubicBezTo>
                    <a:pt x="21" y="18"/>
                    <a:pt x="27" y="19"/>
                    <a:pt x="28" y="21"/>
                  </a:cubicBezTo>
                  <a:cubicBezTo>
                    <a:pt x="29" y="23"/>
                    <a:pt x="28" y="24"/>
                    <a:pt x="30" y="25"/>
                  </a:cubicBezTo>
                  <a:cubicBezTo>
                    <a:pt x="32" y="26"/>
                    <a:pt x="36" y="25"/>
                    <a:pt x="38" y="27"/>
                  </a:cubicBezTo>
                  <a:cubicBezTo>
                    <a:pt x="40" y="29"/>
                    <a:pt x="39" y="25"/>
                    <a:pt x="40" y="24"/>
                  </a:cubicBezTo>
                  <a:cubicBezTo>
                    <a:pt x="41" y="22"/>
                    <a:pt x="43" y="23"/>
                    <a:pt x="43" y="21"/>
                  </a:cubicBezTo>
                  <a:cubicBezTo>
                    <a:pt x="42" y="20"/>
                    <a:pt x="38" y="18"/>
                    <a:pt x="38" y="16"/>
                  </a:cubicBezTo>
                  <a:cubicBezTo>
                    <a:pt x="39" y="13"/>
                    <a:pt x="41" y="10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159" name="Freeform 134"/>
          <p:cNvSpPr>
            <a:spLocks/>
          </p:cNvSpPr>
          <p:nvPr/>
        </p:nvSpPr>
        <p:spPr bwMode="auto">
          <a:xfrm>
            <a:off x="1849562" y="2716213"/>
            <a:ext cx="1257300" cy="1409700"/>
          </a:xfrm>
          <a:custGeom>
            <a:avLst/>
            <a:gdLst>
              <a:gd name="T0" fmla="*/ 21 w 132"/>
              <a:gd name="T1" fmla="*/ 39 h 148"/>
              <a:gd name="T2" fmla="*/ 16 w 132"/>
              <a:gd name="T3" fmla="*/ 48 h 148"/>
              <a:gd name="T4" fmla="*/ 16 w 132"/>
              <a:gd name="T5" fmla="*/ 52 h 148"/>
              <a:gd name="T6" fmla="*/ 14 w 132"/>
              <a:gd name="T7" fmla="*/ 60 h 148"/>
              <a:gd name="T8" fmla="*/ 5 w 132"/>
              <a:gd name="T9" fmla="*/ 63 h 148"/>
              <a:gd name="T10" fmla="*/ 3 w 132"/>
              <a:gd name="T11" fmla="*/ 67 h 148"/>
              <a:gd name="T12" fmla="*/ 2 w 132"/>
              <a:gd name="T13" fmla="*/ 77 h 148"/>
              <a:gd name="T14" fmla="*/ 3 w 132"/>
              <a:gd name="T15" fmla="*/ 83 h 148"/>
              <a:gd name="T16" fmla="*/ 8 w 132"/>
              <a:gd name="T17" fmla="*/ 91 h 148"/>
              <a:gd name="T18" fmla="*/ 5 w 132"/>
              <a:gd name="T19" fmla="*/ 95 h 148"/>
              <a:gd name="T20" fmla="*/ 8 w 132"/>
              <a:gd name="T21" fmla="*/ 100 h 148"/>
              <a:gd name="T22" fmla="*/ 8 w 132"/>
              <a:gd name="T23" fmla="*/ 108 h 148"/>
              <a:gd name="T24" fmla="*/ 16 w 132"/>
              <a:gd name="T25" fmla="*/ 113 h 148"/>
              <a:gd name="T26" fmla="*/ 24 w 132"/>
              <a:gd name="T27" fmla="*/ 113 h 148"/>
              <a:gd name="T28" fmla="*/ 33 w 132"/>
              <a:gd name="T29" fmla="*/ 116 h 148"/>
              <a:gd name="T30" fmla="*/ 34 w 132"/>
              <a:gd name="T31" fmla="*/ 120 h 148"/>
              <a:gd name="T32" fmla="*/ 26 w 132"/>
              <a:gd name="T33" fmla="*/ 134 h 148"/>
              <a:gd name="T34" fmla="*/ 30 w 132"/>
              <a:gd name="T35" fmla="*/ 142 h 148"/>
              <a:gd name="T36" fmla="*/ 38 w 132"/>
              <a:gd name="T37" fmla="*/ 141 h 148"/>
              <a:gd name="T38" fmla="*/ 44 w 132"/>
              <a:gd name="T39" fmla="*/ 142 h 148"/>
              <a:gd name="T40" fmla="*/ 57 w 132"/>
              <a:gd name="T41" fmla="*/ 144 h 148"/>
              <a:gd name="T42" fmla="*/ 63 w 132"/>
              <a:gd name="T43" fmla="*/ 148 h 148"/>
              <a:gd name="T44" fmla="*/ 66 w 132"/>
              <a:gd name="T45" fmla="*/ 147 h 148"/>
              <a:gd name="T46" fmla="*/ 66 w 132"/>
              <a:gd name="T47" fmla="*/ 144 h 148"/>
              <a:gd name="T48" fmla="*/ 72 w 132"/>
              <a:gd name="T49" fmla="*/ 143 h 148"/>
              <a:gd name="T50" fmla="*/ 83 w 132"/>
              <a:gd name="T51" fmla="*/ 142 h 148"/>
              <a:gd name="T52" fmla="*/ 95 w 132"/>
              <a:gd name="T53" fmla="*/ 142 h 148"/>
              <a:gd name="T54" fmla="*/ 102 w 132"/>
              <a:gd name="T55" fmla="*/ 144 h 148"/>
              <a:gd name="T56" fmla="*/ 101 w 132"/>
              <a:gd name="T57" fmla="*/ 137 h 148"/>
              <a:gd name="T58" fmla="*/ 102 w 132"/>
              <a:gd name="T59" fmla="*/ 131 h 148"/>
              <a:gd name="T60" fmla="*/ 108 w 132"/>
              <a:gd name="T61" fmla="*/ 127 h 148"/>
              <a:gd name="T62" fmla="*/ 113 w 132"/>
              <a:gd name="T63" fmla="*/ 125 h 148"/>
              <a:gd name="T64" fmla="*/ 111 w 132"/>
              <a:gd name="T65" fmla="*/ 118 h 148"/>
              <a:gd name="T66" fmla="*/ 97 w 132"/>
              <a:gd name="T67" fmla="*/ 108 h 148"/>
              <a:gd name="T68" fmla="*/ 94 w 132"/>
              <a:gd name="T69" fmla="*/ 102 h 148"/>
              <a:gd name="T70" fmla="*/ 95 w 132"/>
              <a:gd name="T71" fmla="*/ 100 h 148"/>
              <a:gd name="T72" fmla="*/ 90 w 132"/>
              <a:gd name="T73" fmla="*/ 92 h 148"/>
              <a:gd name="T74" fmla="*/ 95 w 132"/>
              <a:gd name="T75" fmla="*/ 92 h 148"/>
              <a:gd name="T76" fmla="*/ 106 w 132"/>
              <a:gd name="T77" fmla="*/ 88 h 148"/>
              <a:gd name="T78" fmla="*/ 121 w 132"/>
              <a:gd name="T79" fmla="*/ 81 h 148"/>
              <a:gd name="T80" fmla="*/ 128 w 132"/>
              <a:gd name="T81" fmla="*/ 81 h 148"/>
              <a:gd name="T82" fmla="*/ 132 w 132"/>
              <a:gd name="T83" fmla="*/ 72 h 148"/>
              <a:gd name="T84" fmla="*/ 127 w 132"/>
              <a:gd name="T85" fmla="*/ 66 h 148"/>
              <a:gd name="T86" fmla="*/ 125 w 132"/>
              <a:gd name="T87" fmla="*/ 63 h 148"/>
              <a:gd name="T88" fmla="*/ 127 w 132"/>
              <a:gd name="T89" fmla="*/ 59 h 148"/>
              <a:gd name="T90" fmla="*/ 126 w 132"/>
              <a:gd name="T91" fmla="*/ 50 h 148"/>
              <a:gd name="T92" fmla="*/ 120 w 132"/>
              <a:gd name="T93" fmla="*/ 42 h 148"/>
              <a:gd name="T94" fmla="*/ 122 w 132"/>
              <a:gd name="T95" fmla="*/ 33 h 148"/>
              <a:gd name="T96" fmla="*/ 114 w 132"/>
              <a:gd name="T97" fmla="*/ 19 h 148"/>
              <a:gd name="T98" fmla="*/ 95 w 132"/>
              <a:gd name="T99" fmla="*/ 13 h 148"/>
              <a:gd name="T100" fmla="*/ 73 w 132"/>
              <a:gd name="T101" fmla="*/ 22 h 148"/>
              <a:gd name="T102" fmla="*/ 65 w 132"/>
              <a:gd name="T103" fmla="*/ 13 h 148"/>
              <a:gd name="T104" fmla="*/ 60 w 132"/>
              <a:gd name="T105" fmla="*/ 8 h 148"/>
              <a:gd name="T106" fmla="*/ 42 w 132"/>
              <a:gd name="T107" fmla="*/ 2 h 148"/>
              <a:gd name="T108" fmla="*/ 37 w 132"/>
              <a:gd name="T109" fmla="*/ 4 h 148"/>
              <a:gd name="T110" fmla="*/ 40 w 132"/>
              <a:gd name="T111" fmla="*/ 14 h 148"/>
              <a:gd name="T112" fmla="*/ 45 w 132"/>
              <a:gd name="T113" fmla="*/ 20 h 148"/>
              <a:gd name="T114" fmla="*/ 48 w 132"/>
              <a:gd name="T115" fmla="*/ 24 h 148"/>
              <a:gd name="T116" fmla="*/ 38 w 132"/>
              <a:gd name="T117" fmla="*/ 34 h 148"/>
              <a:gd name="T118" fmla="*/ 33 w 132"/>
              <a:gd name="T119" fmla="*/ 32 h 148"/>
              <a:gd name="T120" fmla="*/ 18 w 132"/>
              <a:gd name="T121" fmla="*/ 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2" h="148">
                <a:moveTo>
                  <a:pt x="20" y="33"/>
                </a:moveTo>
                <a:cubicBezTo>
                  <a:pt x="21" y="34"/>
                  <a:pt x="21" y="34"/>
                  <a:pt x="20" y="35"/>
                </a:cubicBezTo>
                <a:cubicBezTo>
                  <a:pt x="20" y="36"/>
                  <a:pt x="21" y="37"/>
                  <a:pt x="21" y="37"/>
                </a:cubicBezTo>
                <a:cubicBezTo>
                  <a:pt x="21" y="38"/>
                  <a:pt x="21" y="39"/>
                  <a:pt x="21" y="39"/>
                </a:cubicBezTo>
                <a:cubicBezTo>
                  <a:pt x="20" y="40"/>
                  <a:pt x="20" y="41"/>
                  <a:pt x="19" y="41"/>
                </a:cubicBezTo>
                <a:cubicBezTo>
                  <a:pt x="19" y="41"/>
                  <a:pt x="19" y="43"/>
                  <a:pt x="19" y="44"/>
                </a:cubicBezTo>
                <a:cubicBezTo>
                  <a:pt x="19" y="45"/>
                  <a:pt x="19" y="45"/>
                  <a:pt x="19" y="46"/>
                </a:cubicBezTo>
                <a:cubicBezTo>
                  <a:pt x="18" y="47"/>
                  <a:pt x="17" y="48"/>
                  <a:pt x="16" y="48"/>
                </a:cubicBezTo>
                <a:cubicBezTo>
                  <a:pt x="15" y="48"/>
                  <a:pt x="15" y="48"/>
                  <a:pt x="14" y="48"/>
                </a:cubicBezTo>
                <a:cubicBezTo>
                  <a:pt x="14" y="48"/>
                  <a:pt x="14" y="49"/>
                  <a:pt x="14" y="50"/>
                </a:cubicBezTo>
                <a:cubicBezTo>
                  <a:pt x="14" y="50"/>
                  <a:pt x="14" y="50"/>
                  <a:pt x="14" y="50"/>
                </a:cubicBezTo>
                <a:cubicBezTo>
                  <a:pt x="14" y="51"/>
                  <a:pt x="15" y="51"/>
                  <a:pt x="16" y="52"/>
                </a:cubicBezTo>
                <a:cubicBezTo>
                  <a:pt x="17" y="52"/>
                  <a:pt x="18" y="52"/>
                  <a:pt x="19" y="53"/>
                </a:cubicBezTo>
                <a:cubicBezTo>
                  <a:pt x="20" y="54"/>
                  <a:pt x="18" y="56"/>
                  <a:pt x="16" y="57"/>
                </a:cubicBezTo>
                <a:cubicBezTo>
                  <a:pt x="15" y="58"/>
                  <a:pt x="14" y="58"/>
                  <a:pt x="14" y="59"/>
                </a:cubicBezTo>
                <a:cubicBezTo>
                  <a:pt x="14" y="59"/>
                  <a:pt x="14" y="59"/>
                  <a:pt x="14" y="60"/>
                </a:cubicBezTo>
                <a:cubicBezTo>
                  <a:pt x="14" y="60"/>
                  <a:pt x="14" y="61"/>
                  <a:pt x="14" y="61"/>
                </a:cubicBezTo>
                <a:cubicBezTo>
                  <a:pt x="14" y="62"/>
                  <a:pt x="13" y="62"/>
                  <a:pt x="12" y="63"/>
                </a:cubicBezTo>
                <a:cubicBezTo>
                  <a:pt x="10" y="63"/>
                  <a:pt x="9" y="63"/>
                  <a:pt x="8" y="63"/>
                </a:cubicBezTo>
                <a:cubicBezTo>
                  <a:pt x="7" y="63"/>
                  <a:pt x="6" y="63"/>
                  <a:pt x="5" y="63"/>
                </a:cubicBezTo>
                <a:cubicBezTo>
                  <a:pt x="4" y="63"/>
                  <a:pt x="3" y="63"/>
                  <a:pt x="3" y="63"/>
                </a:cubicBezTo>
                <a:cubicBezTo>
                  <a:pt x="2" y="63"/>
                  <a:pt x="2" y="63"/>
                  <a:pt x="2" y="64"/>
                </a:cubicBezTo>
                <a:cubicBezTo>
                  <a:pt x="2" y="64"/>
                  <a:pt x="2" y="65"/>
                  <a:pt x="2" y="65"/>
                </a:cubicBezTo>
                <a:cubicBezTo>
                  <a:pt x="2" y="66"/>
                  <a:pt x="2" y="66"/>
                  <a:pt x="3" y="67"/>
                </a:cubicBezTo>
                <a:cubicBezTo>
                  <a:pt x="4" y="68"/>
                  <a:pt x="6" y="69"/>
                  <a:pt x="6" y="71"/>
                </a:cubicBezTo>
                <a:cubicBezTo>
                  <a:pt x="6" y="73"/>
                  <a:pt x="5" y="74"/>
                  <a:pt x="5" y="75"/>
                </a:cubicBezTo>
                <a:cubicBezTo>
                  <a:pt x="5" y="75"/>
                  <a:pt x="4" y="75"/>
                  <a:pt x="4" y="75"/>
                </a:cubicBezTo>
                <a:cubicBezTo>
                  <a:pt x="4" y="76"/>
                  <a:pt x="3" y="77"/>
                  <a:pt x="2" y="77"/>
                </a:cubicBezTo>
                <a:cubicBezTo>
                  <a:pt x="2" y="78"/>
                  <a:pt x="1" y="78"/>
                  <a:pt x="1" y="78"/>
                </a:cubicBezTo>
                <a:cubicBezTo>
                  <a:pt x="1" y="78"/>
                  <a:pt x="1" y="79"/>
                  <a:pt x="1" y="80"/>
                </a:cubicBezTo>
                <a:cubicBezTo>
                  <a:pt x="1" y="81"/>
                  <a:pt x="0" y="82"/>
                  <a:pt x="0" y="82"/>
                </a:cubicBezTo>
                <a:cubicBezTo>
                  <a:pt x="1" y="82"/>
                  <a:pt x="2" y="83"/>
                  <a:pt x="3" y="83"/>
                </a:cubicBezTo>
                <a:cubicBezTo>
                  <a:pt x="4" y="84"/>
                  <a:pt x="6" y="85"/>
                  <a:pt x="6" y="85"/>
                </a:cubicBezTo>
                <a:cubicBezTo>
                  <a:pt x="6" y="85"/>
                  <a:pt x="6" y="85"/>
                  <a:pt x="6" y="85"/>
                </a:cubicBezTo>
                <a:cubicBezTo>
                  <a:pt x="6" y="85"/>
                  <a:pt x="6" y="86"/>
                  <a:pt x="7" y="86"/>
                </a:cubicBezTo>
                <a:cubicBezTo>
                  <a:pt x="7" y="88"/>
                  <a:pt x="8" y="91"/>
                  <a:pt x="8" y="91"/>
                </a:cubicBezTo>
                <a:cubicBezTo>
                  <a:pt x="8" y="92"/>
                  <a:pt x="8" y="93"/>
                  <a:pt x="7" y="93"/>
                </a:cubicBezTo>
                <a:cubicBezTo>
                  <a:pt x="7" y="93"/>
                  <a:pt x="7" y="93"/>
                  <a:pt x="7" y="93"/>
                </a:cubicBezTo>
                <a:cubicBezTo>
                  <a:pt x="7" y="94"/>
                  <a:pt x="6" y="95"/>
                  <a:pt x="5" y="95"/>
                </a:cubicBezTo>
                <a:cubicBezTo>
                  <a:pt x="5" y="95"/>
                  <a:pt x="5" y="95"/>
                  <a:pt x="5" y="95"/>
                </a:cubicBezTo>
                <a:cubicBezTo>
                  <a:pt x="5" y="95"/>
                  <a:pt x="5" y="95"/>
                  <a:pt x="5" y="95"/>
                </a:cubicBezTo>
                <a:cubicBezTo>
                  <a:pt x="5" y="96"/>
                  <a:pt x="5" y="97"/>
                  <a:pt x="6" y="98"/>
                </a:cubicBezTo>
                <a:cubicBezTo>
                  <a:pt x="6" y="98"/>
                  <a:pt x="6" y="98"/>
                  <a:pt x="6" y="98"/>
                </a:cubicBezTo>
                <a:cubicBezTo>
                  <a:pt x="6" y="99"/>
                  <a:pt x="7" y="99"/>
                  <a:pt x="8" y="100"/>
                </a:cubicBezTo>
                <a:cubicBezTo>
                  <a:pt x="8" y="100"/>
                  <a:pt x="9" y="100"/>
                  <a:pt x="10" y="101"/>
                </a:cubicBezTo>
                <a:cubicBezTo>
                  <a:pt x="11" y="102"/>
                  <a:pt x="11" y="103"/>
                  <a:pt x="10" y="104"/>
                </a:cubicBezTo>
                <a:cubicBezTo>
                  <a:pt x="10" y="105"/>
                  <a:pt x="10" y="105"/>
                  <a:pt x="10" y="105"/>
                </a:cubicBezTo>
                <a:cubicBezTo>
                  <a:pt x="10" y="107"/>
                  <a:pt x="9" y="107"/>
                  <a:pt x="8" y="108"/>
                </a:cubicBezTo>
                <a:cubicBezTo>
                  <a:pt x="9" y="109"/>
                  <a:pt x="11" y="109"/>
                  <a:pt x="11" y="110"/>
                </a:cubicBezTo>
                <a:cubicBezTo>
                  <a:pt x="12" y="110"/>
                  <a:pt x="13" y="111"/>
                  <a:pt x="13" y="112"/>
                </a:cubicBezTo>
                <a:cubicBezTo>
                  <a:pt x="13" y="112"/>
                  <a:pt x="14" y="113"/>
                  <a:pt x="15" y="113"/>
                </a:cubicBezTo>
                <a:cubicBezTo>
                  <a:pt x="16" y="113"/>
                  <a:pt x="16" y="113"/>
                  <a:pt x="16" y="113"/>
                </a:cubicBezTo>
                <a:cubicBezTo>
                  <a:pt x="16" y="113"/>
                  <a:pt x="16" y="113"/>
                  <a:pt x="16" y="113"/>
                </a:cubicBezTo>
                <a:cubicBezTo>
                  <a:pt x="17" y="114"/>
                  <a:pt x="18" y="114"/>
                  <a:pt x="19" y="113"/>
                </a:cubicBezTo>
                <a:cubicBezTo>
                  <a:pt x="19" y="113"/>
                  <a:pt x="19" y="113"/>
                  <a:pt x="20" y="113"/>
                </a:cubicBezTo>
                <a:cubicBezTo>
                  <a:pt x="21" y="112"/>
                  <a:pt x="22" y="111"/>
                  <a:pt x="24" y="113"/>
                </a:cubicBezTo>
                <a:cubicBezTo>
                  <a:pt x="24" y="113"/>
                  <a:pt x="24" y="113"/>
                  <a:pt x="24" y="113"/>
                </a:cubicBezTo>
                <a:cubicBezTo>
                  <a:pt x="25" y="114"/>
                  <a:pt x="26" y="115"/>
                  <a:pt x="27" y="115"/>
                </a:cubicBezTo>
                <a:cubicBezTo>
                  <a:pt x="28" y="115"/>
                  <a:pt x="29" y="115"/>
                  <a:pt x="29" y="115"/>
                </a:cubicBezTo>
                <a:cubicBezTo>
                  <a:pt x="31" y="115"/>
                  <a:pt x="32" y="115"/>
                  <a:pt x="33" y="116"/>
                </a:cubicBezTo>
                <a:cubicBezTo>
                  <a:pt x="34" y="116"/>
                  <a:pt x="34" y="117"/>
                  <a:pt x="34" y="117"/>
                </a:cubicBezTo>
                <a:cubicBezTo>
                  <a:pt x="35" y="118"/>
                  <a:pt x="34" y="119"/>
                  <a:pt x="34" y="119"/>
                </a:cubicBezTo>
                <a:cubicBezTo>
                  <a:pt x="34" y="120"/>
                  <a:pt x="34" y="120"/>
                  <a:pt x="34" y="120"/>
                </a:cubicBezTo>
                <a:cubicBezTo>
                  <a:pt x="34" y="120"/>
                  <a:pt x="34" y="120"/>
                  <a:pt x="34" y="120"/>
                </a:cubicBezTo>
                <a:cubicBezTo>
                  <a:pt x="32" y="121"/>
                  <a:pt x="29" y="125"/>
                  <a:pt x="29" y="127"/>
                </a:cubicBezTo>
                <a:cubicBezTo>
                  <a:pt x="28" y="128"/>
                  <a:pt x="28" y="129"/>
                  <a:pt x="28" y="131"/>
                </a:cubicBezTo>
                <a:cubicBezTo>
                  <a:pt x="27" y="132"/>
                  <a:pt x="27" y="133"/>
                  <a:pt x="26" y="134"/>
                </a:cubicBezTo>
                <a:cubicBezTo>
                  <a:pt x="26" y="134"/>
                  <a:pt x="26" y="134"/>
                  <a:pt x="26" y="134"/>
                </a:cubicBezTo>
                <a:cubicBezTo>
                  <a:pt x="26" y="134"/>
                  <a:pt x="26" y="135"/>
                  <a:pt x="25" y="137"/>
                </a:cubicBezTo>
                <a:cubicBezTo>
                  <a:pt x="25" y="138"/>
                  <a:pt x="25" y="139"/>
                  <a:pt x="25" y="139"/>
                </a:cubicBezTo>
                <a:cubicBezTo>
                  <a:pt x="25" y="140"/>
                  <a:pt x="26" y="142"/>
                  <a:pt x="26" y="143"/>
                </a:cubicBezTo>
                <a:cubicBezTo>
                  <a:pt x="27" y="143"/>
                  <a:pt x="28" y="143"/>
                  <a:pt x="30" y="142"/>
                </a:cubicBezTo>
                <a:cubicBezTo>
                  <a:pt x="31" y="142"/>
                  <a:pt x="32" y="142"/>
                  <a:pt x="32" y="142"/>
                </a:cubicBezTo>
                <a:cubicBezTo>
                  <a:pt x="33" y="142"/>
                  <a:pt x="34" y="142"/>
                  <a:pt x="35" y="142"/>
                </a:cubicBezTo>
                <a:cubicBezTo>
                  <a:pt x="36" y="143"/>
                  <a:pt x="37" y="143"/>
                  <a:pt x="38" y="143"/>
                </a:cubicBezTo>
                <a:cubicBezTo>
                  <a:pt x="38" y="143"/>
                  <a:pt x="38" y="142"/>
                  <a:pt x="38" y="141"/>
                </a:cubicBezTo>
                <a:cubicBezTo>
                  <a:pt x="38" y="140"/>
                  <a:pt x="39" y="139"/>
                  <a:pt x="40" y="139"/>
                </a:cubicBezTo>
                <a:cubicBezTo>
                  <a:pt x="41" y="139"/>
                  <a:pt x="42" y="140"/>
                  <a:pt x="43" y="140"/>
                </a:cubicBezTo>
                <a:cubicBezTo>
                  <a:pt x="43" y="141"/>
                  <a:pt x="44" y="141"/>
                  <a:pt x="44" y="142"/>
                </a:cubicBezTo>
                <a:cubicBezTo>
                  <a:pt x="44" y="142"/>
                  <a:pt x="44" y="142"/>
                  <a:pt x="44" y="142"/>
                </a:cubicBezTo>
                <a:cubicBezTo>
                  <a:pt x="44" y="142"/>
                  <a:pt x="45" y="142"/>
                  <a:pt x="46" y="141"/>
                </a:cubicBezTo>
                <a:cubicBezTo>
                  <a:pt x="47" y="141"/>
                  <a:pt x="48" y="141"/>
                  <a:pt x="49" y="141"/>
                </a:cubicBezTo>
                <a:cubicBezTo>
                  <a:pt x="51" y="141"/>
                  <a:pt x="54" y="142"/>
                  <a:pt x="56" y="143"/>
                </a:cubicBezTo>
                <a:cubicBezTo>
                  <a:pt x="56" y="143"/>
                  <a:pt x="57" y="144"/>
                  <a:pt x="57" y="144"/>
                </a:cubicBezTo>
                <a:cubicBezTo>
                  <a:pt x="57" y="144"/>
                  <a:pt x="58" y="144"/>
                  <a:pt x="60" y="144"/>
                </a:cubicBezTo>
                <a:cubicBezTo>
                  <a:pt x="61" y="144"/>
                  <a:pt x="62" y="145"/>
                  <a:pt x="62" y="145"/>
                </a:cubicBezTo>
                <a:cubicBezTo>
                  <a:pt x="63" y="145"/>
                  <a:pt x="63" y="146"/>
                  <a:pt x="63" y="147"/>
                </a:cubicBezTo>
                <a:cubicBezTo>
                  <a:pt x="63" y="148"/>
                  <a:pt x="63" y="148"/>
                  <a:pt x="63" y="148"/>
                </a:cubicBezTo>
                <a:cubicBezTo>
                  <a:pt x="64" y="148"/>
                  <a:pt x="64" y="148"/>
                  <a:pt x="64" y="148"/>
                </a:cubicBezTo>
                <a:cubicBezTo>
                  <a:pt x="65" y="147"/>
                  <a:pt x="66" y="147"/>
                  <a:pt x="66" y="146"/>
                </a:cubicBezTo>
                <a:cubicBezTo>
                  <a:pt x="66" y="146"/>
                  <a:pt x="66" y="146"/>
                  <a:pt x="66" y="146"/>
                </a:cubicBezTo>
                <a:cubicBezTo>
                  <a:pt x="66" y="146"/>
                  <a:pt x="66" y="147"/>
                  <a:pt x="66" y="147"/>
                </a:cubicBezTo>
                <a:cubicBezTo>
                  <a:pt x="66" y="147"/>
                  <a:pt x="66" y="147"/>
                  <a:pt x="66" y="147"/>
                </a:cubicBezTo>
                <a:cubicBezTo>
                  <a:pt x="66" y="146"/>
                  <a:pt x="66" y="146"/>
                  <a:pt x="66" y="146"/>
                </a:cubicBezTo>
                <a:cubicBezTo>
                  <a:pt x="66" y="146"/>
                  <a:pt x="66" y="146"/>
                  <a:pt x="66" y="146"/>
                </a:cubicBezTo>
                <a:cubicBezTo>
                  <a:pt x="66" y="145"/>
                  <a:pt x="66" y="144"/>
                  <a:pt x="66" y="144"/>
                </a:cubicBezTo>
                <a:cubicBezTo>
                  <a:pt x="66" y="144"/>
                  <a:pt x="66" y="144"/>
                  <a:pt x="66" y="144"/>
                </a:cubicBezTo>
                <a:cubicBezTo>
                  <a:pt x="66" y="142"/>
                  <a:pt x="70" y="143"/>
                  <a:pt x="72" y="143"/>
                </a:cubicBezTo>
                <a:cubicBezTo>
                  <a:pt x="72" y="143"/>
                  <a:pt x="72" y="143"/>
                  <a:pt x="72" y="143"/>
                </a:cubicBezTo>
                <a:cubicBezTo>
                  <a:pt x="72" y="143"/>
                  <a:pt x="72" y="143"/>
                  <a:pt x="72" y="143"/>
                </a:cubicBezTo>
                <a:cubicBezTo>
                  <a:pt x="73" y="143"/>
                  <a:pt x="74" y="145"/>
                  <a:pt x="74" y="146"/>
                </a:cubicBezTo>
                <a:cubicBezTo>
                  <a:pt x="75" y="146"/>
                  <a:pt x="78" y="146"/>
                  <a:pt x="79" y="146"/>
                </a:cubicBezTo>
                <a:cubicBezTo>
                  <a:pt x="80" y="145"/>
                  <a:pt x="80" y="145"/>
                  <a:pt x="81" y="144"/>
                </a:cubicBezTo>
                <a:cubicBezTo>
                  <a:pt x="82" y="143"/>
                  <a:pt x="82" y="143"/>
                  <a:pt x="83" y="142"/>
                </a:cubicBezTo>
                <a:cubicBezTo>
                  <a:pt x="84" y="142"/>
                  <a:pt x="85" y="142"/>
                  <a:pt x="86" y="142"/>
                </a:cubicBezTo>
                <a:cubicBezTo>
                  <a:pt x="87" y="142"/>
                  <a:pt x="88" y="142"/>
                  <a:pt x="89" y="142"/>
                </a:cubicBezTo>
                <a:cubicBezTo>
                  <a:pt x="89" y="142"/>
                  <a:pt x="90" y="142"/>
                  <a:pt x="90" y="142"/>
                </a:cubicBezTo>
                <a:cubicBezTo>
                  <a:pt x="92" y="142"/>
                  <a:pt x="94" y="141"/>
                  <a:pt x="95" y="142"/>
                </a:cubicBezTo>
                <a:cubicBezTo>
                  <a:pt x="95" y="142"/>
                  <a:pt x="95" y="142"/>
                  <a:pt x="95" y="142"/>
                </a:cubicBezTo>
                <a:cubicBezTo>
                  <a:pt x="95" y="142"/>
                  <a:pt x="95" y="142"/>
                  <a:pt x="96" y="141"/>
                </a:cubicBezTo>
                <a:cubicBezTo>
                  <a:pt x="97" y="141"/>
                  <a:pt x="98" y="141"/>
                  <a:pt x="99" y="141"/>
                </a:cubicBezTo>
                <a:cubicBezTo>
                  <a:pt x="100" y="142"/>
                  <a:pt x="101" y="143"/>
                  <a:pt x="102" y="144"/>
                </a:cubicBezTo>
                <a:cubicBezTo>
                  <a:pt x="103" y="144"/>
                  <a:pt x="103" y="145"/>
                  <a:pt x="103" y="145"/>
                </a:cubicBezTo>
                <a:cubicBezTo>
                  <a:pt x="103" y="145"/>
                  <a:pt x="103" y="143"/>
                  <a:pt x="103" y="142"/>
                </a:cubicBezTo>
                <a:cubicBezTo>
                  <a:pt x="103" y="141"/>
                  <a:pt x="103" y="140"/>
                  <a:pt x="103" y="139"/>
                </a:cubicBezTo>
                <a:cubicBezTo>
                  <a:pt x="103" y="139"/>
                  <a:pt x="102" y="138"/>
                  <a:pt x="101" y="137"/>
                </a:cubicBezTo>
                <a:cubicBezTo>
                  <a:pt x="100" y="136"/>
                  <a:pt x="100" y="135"/>
                  <a:pt x="100" y="134"/>
                </a:cubicBezTo>
                <a:cubicBezTo>
                  <a:pt x="99" y="133"/>
                  <a:pt x="100" y="132"/>
                  <a:pt x="102" y="131"/>
                </a:cubicBezTo>
                <a:cubicBezTo>
                  <a:pt x="102" y="131"/>
                  <a:pt x="102" y="131"/>
                  <a:pt x="102" y="131"/>
                </a:cubicBezTo>
                <a:cubicBezTo>
                  <a:pt x="102" y="131"/>
                  <a:pt x="102" y="131"/>
                  <a:pt x="102" y="131"/>
                </a:cubicBezTo>
                <a:cubicBezTo>
                  <a:pt x="103" y="131"/>
                  <a:pt x="103" y="131"/>
                  <a:pt x="104" y="130"/>
                </a:cubicBezTo>
                <a:cubicBezTo>
                  <a:pt x="105" y="130"/>
                  <a:pt x="107" y="130"/>
                  <a:pt x="107" y="129"/>
                </a:cubicBezTo>
                <a:cubicBezTo>
                  <a:pt x="108" y="129"/>
                  <a:pt x="108" y="128"/>
                  <a:pt x="108" y="127"/>
                </a:cubicBezTo>
                <a:cubicBezTo>
                  <a:pt x="108" y="127"/>
                  <a:pt x="108" y="127"/>
                  <a:pt x="108" y="127"/>
                </a:cubicBezTo>
                <a:cubicBezTo>
                  <a:pt x="108" y="127"/>
                  <a:pt x="108" y="126"/>
                  <a:pt x="109" y="126"/>
                </a:cubicBezTo>
                <a:cubicBezTo>
                  <a:pt x="110" y="125"/>
                  <a:pt x="111" y="125"/>
                  <a:pt x="112" y="125"/>
                </a:cubicBezTo>
                <a:cubicBezTo>
                  <a:pt x="112" y="125"/>
                  <a:pt x="113" y="126"/>
                  <a:pt x="113" y="125"/>
                </a:cubicBezTo>
                <a:cubicBezTo>
                  <a:pt x="113" y="125"/>
                  <a:pt x="113" y="125"/>
                  <a:pt x="113" y="125"/>
                </a:cubicBezTo>
                <a:cubicBezTo>
                  <a:pt x="113" y="125"/>
                  <a:pt x="114" y="123"/>
                  <a:pt x="114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4" y="121"/>
                  <a:pt x="114" y="121"/>
                  <a:pt x="114" y="121"/>
                </a:cubicBezTo>
                <a:cubicBezTo>
                  <a:pt x="113" y="120"/>
                  <a:pt x="111" y="119"/>
                  <a:pt x="111" y="118"/>
                </a:cubicBezTo>
                <a:cubicBezTo>
                  <a:pt x="110" y="118"/>
                  <a:pt x="110" y="118"/>
                  <a:pt x="109" y="118"/>
                </a:cubicBezTo>
                <a:cubicBezTo>
                  <a:pt x="108" y="118"/>
                  <a:pt x="108" y="118"/>
                  <a:pt x="107" y="117"/>
                </a:cubicBezTo>
                <a:cubicBezTo>
                  <a:pt x="106" y="117"/>
                  <a:pt x="104" y="114"/>
                  <a:pt x="102" y="112"/>
                </a:cubicBezTo>
                <a:cubicBezTo>
                  <a:pt x="100" y="110"/>
                  <a:pt x="98" y="109"/>
                  <a:pt x="97" y="108"/>
                </a:cubicBezTo>
                <a:cubicBezTo>
                  <a:pt x="97" y="108"/>
                  <a:pt x="97" y="108"/>
                  <a:pt x="97" y="108"/>
                </a:cubicBezTo>
                <a:cubicBezTo>
                  <a:pt x="96" y="108"/>
                  <a:pt x="95" y="107"/>
                  <a:pt x="95" y="105"/>
                </a:cubicBezTo>
                <a:cubicBezTo>
                  <a:pt x="94" y="104"/>
                  <a:pt x="94" y="103"/>
                  <a:pt x="94" y="102"/>
                </a:cubicBezTo>
                <a:cubicBezTo>
                  <a:pt x="94" y="102"/>
                  <a:pt x="94" y="102"/>
                  <a:pt x="94" y="102"/>
                </a:cubicBezTo>
                <a:cubicBezTo>
                  <a:pt x="94" y="102"/>
                  <a:pt x="95" y="101"/>
                  <a:pt x="95" y="101"/>
                </a:cubicBezTo>
                <a:cubicBezTo>
                  <a:pt x="95" y="101"/>
                  <a:pt x="96" y="101"/>
                  <a:pt x="96" y="101"/>
                </a:cubicBezTo>
                <a:cubicBezTo>
                  <a:pt x="96" y="101"/>
                  <a:pt x="96" y="101"/>
                  <a:pt x="96" y="101"/>
                </a:cubicBezTo>
                <a:cubicBezTo>
                  <a:pt x="96" y="101"/>
                  <a:pt x="96" y="100"/>
                  <a:pt x="95" y="100"/>
                </a:cubicBezTo>
                <a:cubicBezTo>
                  <a:pt x="95" y="100"/>
                  <a:pt x="94" y="99"/>
                  <a:pt x="94" y="99"/>
                </a:cubicBezTo>
                <a:cubicBezTo>
                  <a:pt x="92" y="98"/>
                  <a:pt x="91" y="97"/>
                  <a:pt x="91" y="96"/>
                </a:cubicBezTo>
                <a:cubicBezTo>
                  <a:pt x="91" y="96"/>
                  <a:pt x="91" y="95"/>
                  <a:pt x="90" y="95"/>
                </a:cubicBezTo>
                <a:cubicBezTo>
                  <a:pt x="90" y="94"/>
                  <a:pt x="89" y="93"/>
                  <a:pt x="90" y="92"/>
                </a:cubicBezTo>
                <a:cubicBezTo>
                  <a:pt x="90" y="92"/>
                  <a:pt x="90" y="92"/>
                  <a:pt x="90" y="92"/>
                </a:cubicBezTo>
                <a:cubicBezTo>
                  <a:pt x="90" y="91"/>
                  <a:pt x="92" y="92"/>
                  <a:pt x="93" y="92"/>
                </a:cubicBezTo>
                <a:cubicBezTo>
                  <a:pt x="93" y="92"/>
                  <a:pt x="94" y="93"/>
                  <a:pt x="94" y="93"/>
                </a:cubicBezTo>
                <a:cubicBezTo>
                  <a:pt x="94" y="93"/>
                  <a:pt x="95" y="92"/>
                  <a:pt x="95" y="92"/>
                </a:cubicBezTo>
                <a:cubicBezTo>
                  <a:pt x="96" y="91"/>
                  <a:pt x="97" y="90"/>
                  <a:pt x="98" y="90"/>
                </a:cubicBezTo>
                <a:cubicBezTo>
                  <a:pt x="99" y="90"/>
                  <a:pt x="100" y="90"/>
                  <a:pt x="100" y="90"/>
                </a:cubicBezTo>
                <a:cubicBezTo>
                  <a:pt x="101" y="90"/>
                  <a:pt x="102" y="91"/>
                  <a:pt x="103" y="90"/>
                </a:cubicBezTo>
                <a:cubicBezTo>
                  <a:pt x="104" y="90"/>
                  <a:pt x="105" y="89"/>
                  <a:pt x="106" y="88"/>
                </a:cubicBezTo>
                <a:cubicBezTo>
                  <a:pt x="108" y="87"/>
                  <a:pt x="109" y="85"/>
                  <a:pt x="111" y="85"/>
                </a:cubicBezTo>
                <a:cubicBezTo>
                  <a:pt x="112" y="84"/>
                  <a:pt x="114" y="84"/>
                  <a:pt x="116" y="83"/>
                </a:cubicBezTo>
                <a:cubicBezTo>
                  <a:pt x="118" y="83"/>
                  <a:pt x="121" y="82"/>
                  <a:pt x="121" y="82"/>
                </a:cubicBezTo>
                <a:cubicBezTo>
                  <a:pt x="121" y="82"/>
                  <a:pt x="121" y="82"/>
                  <a:pt x="121" y="81"/>
                </a:cubicBezTo>
                <a:cubicBezTo>
                  <a:pt x="121" y="81"/>
                  <a:pt x="121" y="81"/>
                  <a:pt x="121" y="81"/>
                </a:cubicBezTo>
                <a:cubicBezTo>
                  <a:pt x="121" y="80"/>
                  <a:pt x="121" y="78"/>
                  <a:pt x="122" y="78"/>
                </a:cubicBezTo>
                <a:cubicBezTo>
                  <a:pt x="123" y="78"/>
                  <a:pt x="125" y="79"/>
                  <a:pt x="126" y="79"/>
                </a:cubicBezTo>
                <a:cubicBezTo>
                  <a:pt x="127" y="80"/>
                  <a:pt x="128" y="81"/>
                  <a:pt x="128" y="81"/>
                </a:cubicBezTo>
                <a:cubicBezTo>
                  <a:pt x="128" y="81"/>
                  <a:pt x="129" y="81"/>
                  <a:pt x="129" y="80"/>
                </a:cubicBezTo>
                <a:cubicBezTo>
                  <a:pt x="129" y="80"/>
                  <a:pt x="130" y="80"/>
                  <a:pt x="130" y="80"/>
                </a:cubicBezTo>
                <a:cubicBezTo>
                  <a:pt x="130" y="79"/>
                  <a:pt x="131" y="76"/>
                  <a:pt x="131" y="74"/>
                </a:cubicBezTo>
                <a:cubicBezTo>
                  <a:pt x="132" y="73"/>
                  <a:pt x="132" y="72"/>
                  <a:pt x="132" y="72"/>
                </a:cubicBezTo>
                <a:cubicBezTo>
                  <a:pt x="131" y="72"/>
                  <a:pt x="131" y="71"/>
                  <a:pt x="130" y="71"/>
                </a:cubicBezTo>
                <a:cubicBezTo>
                  <a:pt x="129" y="71"/>
                  <a:pt x="128" y="70"/>
                  <a:pt x="127" y="69"/>
                </a:cubicBezTo>
                <a:cubicBezTo>
                  <a:pt x="127" y="68"/>
                  <a:pt x="127" y="68"/>
                  <a:pt x="127" y="67"/>
                </a:cubicBezTo>
                <a:cubicBezTo>
                  <a:pt x="127" y="67"/>
                  <a:pt x="127" y="66"/>
                  <a:pt x="127" y="66"/>
                </a:cubicBezTo>
                <a:cubicBezTo>
                  <a:pt x="127" y="66"/>
                  <a:pt x="127" y="66"/>
                  <a:pt x="127" y="66"/>
                </a:cubicBezTo>
                <a:cubicBezTo>
                  <a:pt x="127" y="66"/>
                  <a:pt x="127" y="66"/>
                  <a:pt x="126" y="66"/>
                </a:cubicBezTo>
                <a:cubicBezTo>
                  <a:pt x="126" y="66"/>
                  <a:pt x="126" y="66"/>
                  <a:pt x="126" y="66"/>
                </a:cubicBezTo>
                <a:cubicBezTo>
                  <a:pt x="125" y="65"/>
                  <a:pt x="125" y="65"/>
                  <a:pt x="125" y="63"/>
                </a:cubicBezTo>
                <a:cubicBezTo>
                  <a:pt x="126" y="62"/>
                  <a:pt x="126" y="62"/>
                  <a:pt x="126" y="61"/>
                </a:cubicBezTo>
                <a:cubicBezTo>
                  <a:pt x="127" y="60"/>
                  <a:pt x="127" y="59"/>
                  <a:pt x="127" y="59"/>
                </a:cubicBezTo>
                <a:cubicBezTo>
                  <a:pt x="127" y="59"/>
                  <a:pt x="127" y="59"/>
                  <a:pt x="127" y="59"/>
                </a:cubicBezTo>
                <a:cubicBezTo>
                  <a:pt x="127" y="59"/>
                  <a:pt x="127" y="59"/>
                  <a:pt x="127" y="59"/>
                </a:cubicBezTo>
                <a:cubicBezTo>
                  <a:pt x="127" y="58"/>
                  <a:pt x="127" y="56"/>
                  <a:pt x="127" y="55"/>
                </a:cubicBezTo>
                <a:cubicBezTo>
                  <a:pt x="127" y="55"/>
                  <a:pt x="127" y="55"/>
                  <a:pt x="126" y="55"/>
                </a:cubicBezTo>
                <a:cubicBezTo>
                  <a:pt x="126" y="54"/>
                  <a:pt x="125" y="53"/>
                  <a:pt x="125" y="52"/>
                </a:cubicBezTo>
                <a:cubicBezTo>
                  <a:pt x="125" y="51"/>
                  <a:pt x="126" y="51"/>
                  <a:pt x="126" y="50"/>
                </a:cubicBezTo>
                <a:cubicBezTo>
                  <a:pt x="126" y="50"/>
                  <a:pt x="126" y="50"/>
                  <a:pt x="126" y="50"/>
                </a:cubicBezTo>
                <a:cubicBezTo>
                  <a:pt x="126" y="49"/>
                  <a:pt x="126" y="49"/>
                  <a:pt x="126" y="49"/>
                </a:cubicBezTo>
                <a:cubicBezTo>
                  <a:pt x="126" y="49"/>
                  <a:pt x="126" y="49"/>
                  <a:pt x="125" y="48"/>
                </a:cubicBezTo>
                <a:cubicBezTo>
                  <a:pt x="124" y="47"/>
                  <a:pt x="120" y="43"/>
                  <a:pt x="120" y="42"/>
                </a:cubicBezTo>
                <a:cubicBezTo>
                  <a:pt x="120" y="42"/>
                  <a:pt x="121" y="41"/>
                  <a:pt x="122" y="40"/>
                </a:cubicBezTo>
                <a:cubicBezTo>
                  <a:pt x="123" y="40"/>
                  <a:pt x="123" y="39"/>
                  <a:pt x="123" y="39"/>
                </a:cubicBezTo>
                <a:cubicBezTo>
                  <a:pt x="123" y="39"/>
                  <a:pt x="123" y="38"/>
                  <a:pt x="123" y="37"/>
                </a:cubicBezTo>
                <a:cubicBezTo>
                  <a:pt x="123" y="36"/>
                  <a:pt x="122" y="34"/>
                  <a:pt x="122" y="33"/>
                </a:cubicBezTo>
                <a:cubicBezTo>
                  <a:pt x="122" y="33"/>
                  <a:pt x="121" y="29"/>
                  <a:pt x="121" y="27"/>
                </a:cubicBezTo>
                <a:cubicBezTo>
                  <a:pt x="121" y="27"/>
                  <a:pt x="120" y="26"/>
                  <a:pt x="120" y="26"/>
                </a:cubicBezTo>
                <a:cubicBezTo>
                  <a:pt x="117" y="25"/>
                  <a:pt x="116" y="26"/>
                  <a:pt x="115" y="24"/>
                </a:cubicBezTo>
                <a:cubicBezTo>
                  <a:pt x="113" y="22"/>
                  <a:pt x="114" y="20"/>
                  <a:pt x="114" y="19"/>
                </a:cubicBezTo>
                <a:cubicBezTo>
                  <a:pt x="113" y="17"/>
                  <a:pt x="111" y="18"/>
                  <a:pt x="108" y="18"/>
                </a:cubicBezTo>
                <a:cubicBezTo>
                  <a:pt x="106" y="17"/>
                  <a:pt x="106" y="15"/>
                  <a:pt x="105" y="13"/>
                </a:cubicBezTo>
                <a:cubicBezTo>
                  <a:pt x="104" y="11"/>
                  <a:pt x="103" y="13"/>
                  <a:pt x="101" y="14"/>
                </a:cubicBezTo>
                <a:cubicBezTo>
                  <a:pt x="99" y="15"/>
                  <a:pt x="97" y="12"/>
                  <a:pt x="95" y="13"/>
                </a:cubicBezTo>
                <a:cubicBezTo>
                  <a:pt x="94" y="14"/>
                  <a:pt x="92" y="18"/>
                  <a:pt x="91" y="19"/>
                </a:cubicBezTo>
                <a:cubicBezTo>
                  <a:pt x="90" y="19"/>
                  <a:pt x="91" y="18"/>
                  <a:pt x="90" y="17"/>
                </a:cubicBezTo>
                <a:cubicBezTo>
                  <a:pt x="89" y="15"/>
                  <a:pt x="82" y="20"/>
                  <a:pt x="80" y="21"/>
                </a:cubicBezTo>
                <a:cubicBezTo>
                  <a:pt x="78" y="22"/>
                  <a:pt x="77" y="23"/>
                  <a:pt x="73" y="22"/>
                </a:cubicBezTo>
                <a:cubicBezTo>
                  <a:pt x="70" y="21"/>
                  <a:pt x="74" y="18"/>
                  <a:pt x="75" y="16"/>
                </a:cubicBezTo>
                <a:cubicBezTo>
                  <a:pt x="76" y="15"/>
                  <a:pt x="76" y="14"/>
                  <a:pt x="75" y="13"/>
                </a:cubicBezTo>
                <a:cubicBezTo>
                  <a:pt x="74" y="12"/>
                  <a:pt x="73" y="14"/>
                  <a:pt x="71" y="14"/>
                </a:cubicBezTo>
                <a:cubicBezTo>
                  <a:pt x="69" y="15"/>
                  <a:pt x="67" y="13"/>
                  <a:pt x="65" y="13"/>
                </a:cubicBezTo>
                <a:cubicBezTo>
                  <a:pt x="63" y="13"/>
                  <a:pt x="63" y="14"/>
                  <a:pt x="62" y="14"/>
                </a:cubicBezTo>
                <a:cubicBezTo>
                  <a:pt x="62" y="14"/>
                  <a:pt x="62" y="12"/>
                  <a:pt x="62" y="12"/>
                </a:cubicBezTo>
                <a:cubicBezTo>
                  <a:pt x="62" y="11"/>
                  <a:pt x="60" y="12"/>
                  <a:pt x="59" y="11"/>
                </a:cubicBezTo>
                <a:cubicBezTo>
                  <a:pt x="58" y="11"/>
                  <a:pt x="60" y="10"/>
                  <a:pt x="60" y="8"/>
                </a:cubicBezTo>
                <a:cubicBezTo>
                  <a:pt x="60" y="7"/>
                  <a:pt x="60" y="6"/>
                  <a:pt x="58" y="6"/>
                </a:cubicBezTo>
                <a:cubicBezTo>
                  <a:pt x="56" y="6"/>
                  <a:pt x="55" y="6"/>
                  <a:pt x="52" y="6"/>
                </a:cubicBezTo>
                <a:cubicBezTo>
                  <a:pt x="50" y="5"/>
                  <a:pt x="48" y="4"/>
                  <a:pt x="46" y="4"/>
                </a:cubicBezTo>
                <a:cubicBezTo>
                  <a:pt x="44" y="3"/>
                  <a:pt x="43" y="3"/>
                  <a:pt x="42" y="2"/>
                </a:cubicBezTo>
                <a:cubicBezTo>
                  <a:pt x="41" y="2"/>
                  <a:pt x="39" y="1"/>
                  <a:pt x="38" y="0"/>
                </a:cubicBezTo>
                <a:cubicBezTo>
                  <a:pt x="37" y="1"/>
                  <a:pt x="36" y="1"/>
                  <a:pt x="36" y="2"/>
                </a:cubicBezTo>
                <a:cubicBezTo>
                  <a:pt x="35" y="3"/>
                  <a:pt x="34" y="6"/>
                  <a:pt x="35" y="6"/>
                </a:cubicBezTo>
                <a:cubicBezTo>
                  <a:pt x="36" y="6"/>
                  <a:pt x="36" y="4"/>
                  <a:pt x="37" y="4"/>
                </a:cubicBezTo>
                <a:cubicBezTo>
                  <a:pt x="38" y="3"/>
                  <a:pt x="39" y="4"/>
                  <a:pt x="40" y="4"/>
                </a:cubicBezTo>
                <a:cubicBezTo>
                  <a:pt x="41" y="4"/>
                  <a:pt x="44" y="8"/>
                  <a:pt x="45" y="9"/>
                </a:cubicBezTo>
                <a:cubicBezTo>
                  <a:pt x="46" y="11"/>
                  <a:pt x="45" y="11"/>
                  <a:pt x="44" y="11"/>
                </a:cubicBezTo>
                <a:cubicBezTo>
                  <a:pt x="42" y="12"/>
                  <a:pt x="40" y="13"/>
                  <a:pt x="40" y="14"/>
                </a:cubicBezTo>
                <a:cubicBezTo>
                  <a:pt x="39" y="15"/>
                  <a:pt x="41" y="15"/>
                  <a:pt x="42" y="14"/>
                </a:cubicBezTo>
                <a:cubicBezTo>
                  <a:pt x="43" y="14"/>
                  <a:pt x="45" y="14"/>
                  <a:pt x="46" y="15"/>
                </a:cubicBezTo>
                <a:cubicBezTo>
                  <a:pt x="46" y="15"/>
                  <a:pt x="44" y="17"/>
                  <a:pt x="44" y="18"/>
                </a:cubicBezTo>
                <a:cubicBezTo>
                  <a:pt x="44" y="20"/>
                  <a:pt x="44" y="19"/>
                  <a:pt x="45" y="20"/>
                </a:cubicBezTo>
                <a:cubicBezTo>
                  <a:pt x="46" y="21"/>
                  <a:pt x="50" y="22"/>
                  <a:pt x="52" y="23"/>
                </a:cubicBezTo>
                <a:cubicBezTo>
                  <a:pt x="53" y="24"/>
                  <a:pt x="57" y="29"/>
                  <a:pt x="57" y="30"/>
                </a:cubicBezTo>
                <a:cubicBezTo>
                  <a:pt x="57" y="31"/>
                  <a:pt x="55" y="30"/>
                  <a:pt x="53" y="28"/>
                </a:cubicBezTo>
                <a:cubicBezTo>
                  <a:pt x="51" y="26"/>
                  <a:pt x="49" y="24"/>
                  <a:pt x="48" y="24"/>
                </a:cubicBezTo>
                <a:cubicBezTo>
                  <a:pt x="47" y="24"/>
                  <a:pt x="43" y="23"/>
                  <a:pt x="41" y="23"/>
                </a:cubicBezTo>
                <a:cubicBezTo>
                  <a:pt x="40" y="23"/>
                  <a:pt x="40" y="24"/>
                  <a:pt x="40" y="26"/>
                </a:cubicBezTo>
                <a:cubicBezTo>
                  <a:pt x="39" y="28"/>
                  <a:pt x="40" y="28"/>
                  <a:pt x="40" y="30"/>
                </a:cubicBezTo>
                <a:cubicBezTo>
                  <a:pt x="40" y="32"/>
                  <a:pt x="39" y="33"/>
                  <a:pt x="38" y="34"/>
                </a:cubicBezTo>
                <a:cubicBezTo>
                  <a:pt x="37" y="35"/>
                  <a:pt x="37" y="33"/>
                  <a:pt x="38" y="31"/>
                </a:cubicBezTo>
                <a:cubicBezTo>
                  <a:pt x="38" y="30"/>
                  <a:pt x="38" y="29"/>
                  <a:pt x="37" y="28"/>
                </a:cubicBezTo>
                <a:cubicBezTo>
                  <a:pt x="36" y="28"/>
                  <a:pt x="36" y="29"/>
                  <a:pt x="35" y="30"/>
                </a:cubicBezTo>
                <a:cubicBezTo>
                  <a:pt x="35" y="32"/>
                  <a:pt x="35" y="33"/>
                  <a:pt x="33" y="32"/>
                </a:cubicBezTo>
                <a:cubicBezTo>
                  <a:pt x="32" y="32"/>
                  <a:pt x="32" y="31"/>
                  <a:pt x="32" y="30"/>
                </a:cubicBezTo>
                <a:cubicBezTo>
                  <a:pt x="32" y="30"/>
                  <a:pt x="32" y="29"/>
                  <a:pt x="31" y="28"/>
                </a:cubicBezTo>
                <a:cubicBezTo>
                  <a:pt x="30" y="27"/>
                  <a:pt x="28" y="27"/>
                  <a:pt x="26" y="27"/>
                </a:cubicBezTo>
                <a:cubicBezTo>
                  <a:pt x="25" y="28"/>
                  <a:pt x="19" y="28"/>
                  <a:pt x="18" y="29"/>
                </a:cubicBezTo>
                <a:cubicBezTo>
                  <a:pt x="17" y="29"/>
                  <a:pt x="18" y="31"/>
                  <a:pt x="18" y="32"/>
                </a:cubicBezTo>
                <a:cubicBezTo>
                  <a:pt x="18" y="33"/>
                  <a:pt x="20" y="32"/>
                  <a:pt x="20" y="33"/>
                </a:cubicBezTo>
                <a:close/>
              </a:path>
            </a:pathLst>
          </a:custGeom>
          <a:gradFill>
            <a:gsLst>
              <a:gs pos="30000">
                <a:schemeClr val="accent2"/>
              </a:gs>
              <a:gs pos="80000">
                <a:schemeClr val="accent6"/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60" name="Freeform 137"/>
          <p:cNvSpPr>
            <a:spLocks/>
          </p:cNvSpPr>
          <p:nvPr/>
        </p:nvSpPr>
        <p:spPr bwMode="auto">
          <a:xfrm>
            <a:off x="1887662" y="4049713"/>
            <a:ext cx="600075" cy="323850"/>
          </a:xfrm>
          <a:custGeom>
            <a:avLst/>
            <a:gdLst>
              <a:gd name="T0" fmla="*/ 62 w 63"/>
              <a:gd name="T1" fmla="*/ 16 h 34"/>
              <a:gd name="T2" fmla="*/ 62 w 63"/>
              <a:gd name="T3" fmla="*/ 15 h 34"/>
              <a:gd name="T4" fmla="*/ 61 w 63"/>
              <a:gd name="T5" fmla="*/ 15 h 34"/>
              <a:gd name="T6" fmla="*/ 56 w 63"/>
              <a:gd name="T7" fmla="*/ 17 h 34"/>
              <a:gd name="T8" fmla="*/ 49 w 63"/>
              <a:gd name="T9" fmla="*/ 12 h 34"/>
              <a:gd name="T10" fmla="*/ 49 w 63"/>
              <a:gd name="T11" fmla="*/ 8 h 34"/>
              <a:gd name="T12" fmla="*/ 45 w 63"/>
              <a:gd name="T13" fmla="*/ 2 h 34"/>
              <a:gd name="T14" fmla="*/ 39 w 63"/>
              <a:gd name="T15" fmla="*/ 3 h 34"/>
              <a:gd name="T16" fmla="*/ 38 w 63"/>
              <a:gd name="T17" fmla="*/ 1 h 34"/>
              <a:gd name="T18" fmla="*/ 35 w 63"/>
              <a:gd name="T19" fmla="*/ 2 h 34"/>
              <a:gd name="T20" fmla="*/ 31 w 63"/>
              <a:gd name="T21" fmla="*/ 4 h 34"/>
              <a:gd name="T22" fmla="*/ 26 w 63"/>
              <a:gd name="T23" fmla="*/ 4 h 34"/>
              <a:gd name="T24" fmla="*/ 21 w 63"/>
              <a:gd name="T25" fmla="*/ 5 h 34"/>
              <a:gd name="T26" fmla="*/ 15 w 63"/>
              <a:gd name="T27" fmla="*/ 7 h 34"/>
              <a:gd name="T28" fmla="*/ 13 w 63"/>
              <a:gd name="T29" fmla="*/ 7 h 34"/>
              <a:gd name="T30" fmla="*/ 9 w 63"/>
              <a:gd name="T31" fmla="*/ 12 h 34"/>
              <a:gd name="T32" fmla="*/ 6 w 63"/>
              <a:gd name="T33" fmla="*/ 16 h 34"/>
              <a:gd name="T34" fmla="*/ 4 w 63"/>
              <a:gd name="T35" fmla="*/ 19 h 34"/>
              <a:gd name="T36" fmla="*/ 0 w 63"/>
              <a:gd name="T37" fmla="*/ 27 h 34"/>
              <a:gd name="T38" fmla="*/ 0 w 63"/>
              <a:gd name="T39" fmla="*/ 27 h 34"/>
              <a:gd name="T40" fmla="*/ 1 w 63"/>
              <a:gd name="T41" fmla="*/ 26 h 34"/>
              <a:gd name="T42" fmla="*/ 7 w 63"/>
              <a:gd name="T43" fmla="*/ 23 h 34"/>
              <a:gd name="T44" fmla="*/ 11 w 63"/>
              <a:gd name="T45" fmla="*/ 27 h 34"/>
              <a:gd name="T46" fmla="*/ 13 w 63"/>
              <a:gd name="T47" fmla="*/ 30 h 34"/>
              <a:gd name="T48" fmla="*/ 16 w 63"/>
              <a:gd name="T49" fmla="*/ 32 h 34"/>
              <a:gd name="T50" fmla="*/ 20 w 63"/>
              <a:gd name="T51" fmla="*/ 31 h 34"/>
              <a:gd name="T52" fmla="*/ 22 w 63"/>
              <a:gd name="T53" fmla="*/ 31 h 34"/>
              <a:gd name="T54" fmla="*/ 25 w 63"/>
              <a:gd name="T55" fmla="*/ 33 h 34"/>
              <a:gd name="T56" fmla="*/ 26 w 63"/>
              <a:gd name="T57" fmla="*/ 32 h 34"/>
              <a:gd name="T58" fmla="*/ 28 w 63"/>
              <a:gd name="T59" fmla="*/ 29 h 34"/>
              <a:gd name="T60" fmla="*/ 31 w 63"/>
              <a:gd name="T61" fmla="*/ 25 h 34"/>
              <a:gd name="T62" fmla="*/ 32 w 63"/>
              <a:gd name="T63" fmla="*/ 23 h 34"/>
              <a:gd name="T64" fmla="*/ 35 w 63"/>
              <a:gd name="T65" fmla="*/ 26 h 34"/>
              <a:gd name="T66" fmla="*/ 38 w 63"/>
              <a:gd name="T67" fmla="*/ 29 h 34"/>
              <a:gd name="T68" fmla="*/ 41 w 63"/>
              <a:gd name="T69" fmla="*/ 32 h 34"/>
              <a:gd name="T70" fmla="*/ 42 w 63"/>
              <a:gd name="T71" fmla="*/ 30 h 34"/>
              <a:gd name="T72" fmla="*/ 44 w 63"/>
              <a:gd name="T73" fmla="*/ 26 h 34"/>
              <a:gd name="T74" fmla="*/ 46 w 63"/>
              <a:gd name="T75" fmla="*/ 22 h 34"/>
              <a:gd name="T76" fmla="*/ 52 w 63"/>
              <a:gd name="T77" fmla="*/ 25 h 34"/>
              <a:gd name="T78" fmla="*/ 56 w 63"/>
              <a:gd name="T79" fmla="*/ 27 h 34"/>
              <a:gd name="T80" fmla="*/ 57 w 63"/>
              <a:gd name="T81" fmla="*/ 22 h 34"/>
              <a:gd name="T82" fmla="*/ 62 w 63"/>
              <a:gd name="T83" fmla="*/ 21 h 34"/>
              <a:gd name="T84" fmla="*/ 62 w 63"/>
              <a:gd name="T85" fmla="*/ 19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3" h="34">
                <a:moveTo>
                  <a:pt x="63" y="17"/>
                </a:moveTo>
                <a:cubicBezTo>
                  <a:pt x="63" y="16"/>
                  <a:pt x="62" y="16"/>
                  <a:pt x="62" y="16"/>
                </a:cubicBezTo>
                <a:cubicBezTo>
                  <a:pt x="62" y="16"/>
                  <a:pt x="62" y="16"/>
                  <a:pt x="62" y="16"/>
                </a:cubicBezTo>
                <a:cubicBezTo>
                  <a:pt x="62" y="16"/>
                  <a:pt x="62" y="16"/>
                  <a:pt x="62" y="15"/>
                </a:cubicBezTo>
                <a:cubicBezTo>
                  <a:pt x="62" y="15"/>
                  <a:pt x="62" y="15"/>
                  <a:pt x="62" y="15"/>
                </a:cubicBezTo>
                <a:cubicBezTo>
                  <a:pt x="62" y="15"/>
                  <a:pt x="62" y="15"/>
                  <a:pt x="61" y="15"/>
                </a:cubicBezTo>
                <a:cubicBezTo>
                  <a:pt x="60" y="16"/>
                  <a:pt x="59" y="16"/>
                  <a:pt x="59" y="16"/>
                </a:cubicBezTo>
                <a:cubicBezTo>
                  <a:pt x="58" y="17"/>
                  <a:pt x="57" y="18"/>
                  <a:pt x="56" y="17"/>
                </a:cubicBezTo>
                <a:cubicBezTo>
                  <a:pt x="55" y="16"/>
                  <a:pt x="54" y="16"/>
                  <a:pt x="53" y="15"/>
                </a:cubicBezTo>
                <a:cubicBezTo>
                  <a:pt x="51" y="14"/>
                  <a:pt x="49" y="13"/>
                  <a:pt x="49" y="12"/>
                </a:cubicBezTo>
                <a:cubicBezTo>
                  <a:pt x="47" y="11"/>
                  <a:pt x="48" y="10"/>
                  <a:pt x="49" y="9"/>
                </a:cubicBezTo>
                <a:cubicBezTo>
                  <a:pt x="49" y="8"/>
                  <a:pt x="49" y="8"/>
                  <a:pt x="49" y="8"/>
                </a:cubicBezTo>
                <a:cubicBezTo>
                  <a:pt x="50" y="7"/>
                  <a:pt x="50" y="5"/>
                  <a:pt x="50" y="4"/>
                </a:cubicBezTo>
                <a:cubicBezTo>
                  <a:pt x="49" y="3"/>
                  <a:pt x="47" y="2"/>
                  <a:pt x="45" y="2"/>
                </a:cubicBezTo>
                <a:cubicBezTo>
                  <a:pt x="44" y="2"/>
                  <a:pt x="43" y="2"/>
                  <a:pt x="42" y="3"/>
                </a:cubicBezTo>
                <a:cubicBezTo>
                  <a:pt x="41" y="3"/>
                  <a:pt x="40" y="3"/>
                  <a:pt x="39" y="3"/>
                </a:cubicBezTo>
                <a:cubicBezTo>
                  <a:pt x="39" y="3"/>
                  <a:pt x="39" y="3"/>
                  <a:pt x="39" y="3"/>
                </a:cubicBezTo>
                <a:cubicBezTo>
                  <a:pt x="39" y="2"/>
                  <a:pt x="38" y="2"/>
                  <a:pt x="38" y="1"/>
                </a:cubicBezTo>
                <a:cubicBezTo>
                  <a:pt x="37" y="1"/>
                  <a:pt x="36" y="0"/>
                  <a:pt x="36" y="0"/>
                </a:cubicBezTo>
                <a:cubicBezTo>
                  <a:pt x="36" y="0"/>
                  <a:pt x="36" y="1"/>
                  <a:pt x="35" y="2"/>
                </a:cubicBezTo>
                <a:cubicBezTo>
                  <a:pt x="35" y="3"/>
                  <a:pt x="35" y="4"/>
                  <a:pt x="34" y="4"/>
                </a:cubicBezTo>
                <a:cubicBezTo>
                  <a:pt x="33" y="4"/>
                  <a:pt x="32" y="4"/>
                  <a:pt x="31" y="4"/>
                </a:cubicBezTo>
                <a:cubicBezTo>
                  <a:pt x="30" y="4"/>
                  <a:pt x="29" y="3"/>
                  <a:pt x="29" y="3"/>
                </a:cubicBezTo>
                <a:cubicBezTo>
                  <a:pt x="28" y="3"/>
                  <a:pt x="27" y="4"/>
                  <a:pt x="26" y="4"/>
                </a:cubicBezTo>
                <a:cubicBezTo>
                  <a:pt x="25" y="4"/>
                  <a:pt x="23" y="4"/>
                  <a:pt x="23" y="4"/>
                </a:cubicBezTo>
                <a:cubicBezTo>
                  <a:pt x="22" y="5"/>
                  <a:pt x="22" y="5"/>
                  <a:pt x="21" y="5"/>
                </a:cubicBezTo>
                <a:cubicBezTo>
                  <a:pt x="20" y="6"/>
                  <a:pt x="20" y="6"/>
                  <a:pt x="18" y="7"/>
                </a:cubicBezTo>
                <a:cubicBezTo>
                  <a:pt x="17" y="7"/>
                  <a:pt x="16" y="7"/>
                  <a:pt x="15" y="7"/>
                </a:cubicBezTo>
                <a:cubicBezTo>
                  <a:pt x="15" y="6"/>
                  <a:pt x="14" y="6"/>
                  <a:pt x="14" y="6"/>
                </a:cubicBezTo>
                <a:cubicBezTo>
                  <a:pt x="13" y="6"/>
                  <a:pt x="13" y="7"/>
                  <a:pt x="13" y="7"/>
                </a:cubicBezTo>
                <a:cubicBezTo>
                  <a:pt x="13" y="8"/>
                  <a:pt x="13" y="9"/>
                  <a:pt x="13" y="9"/>
                </a:cubicBezTo>
                <a:cubicBezTo>
                  <a:pt x="13" y="10"/>
                  <a:pt x="11" y="11"/>
                  <a:pt x="9" y="12"/>
                </a:cubicBezTo>
                <a:cubicBezTo>
                  <a:pt x="8" y="13"/>
                  <a:pt x="7" y="14"/>
                  <a:pt x="7" y="14"/>
                </a:cubicBezTo>
                <a:cubicBezTo>
                  <a:pt x="6" y="15"/>
                  <a:pt x="6" y="15"/>
                  <a:pt x="6" y="16"/>
                </a:cubicBezTo>
                <a:cubicBezTo>
                  <a:pt x="6" y="16"/>
                  <a:pt x="6" y="17"/>
                  <a:pt x="6" y="17"/>
                </a:cubicBezTo>
                <a:cubicBezTo>
                  <a:pt x="6" y="17"/>
                  <a:pt x="5" y="18"/>
                  <a:pt x="4" y="19"/>
                </a:cubicBezTo>
                <a:cubicBezTo>
                  <a:pt x="2" y="21"/>
                  <a:pt x="0" y="24"/>
                  <a:pt x="0" y="24"/>
                </a:cubicBezTo>
                <a:cubicBezTo>
                  <a:pt x="0" y="25"/>
                  <a:pt x="0" y="26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7"/>
                  <a:pt x="0" y="27"/>
                  <a:pt x="0" y="27"/>
                </a:cubicBezTo>
                <a:cubicBezTo>
                  <a:pt x="0" y="26"/>
                  <a:pt x="1" y="26"/>
                  <a:pt x="1" y="26"/>
                </a:cubicBezTo>
                <a:cubicBezTo>
                  <a:pt x="1" y="26"/>
                  <a:pt x="1" y="26"/>
                  <a:pt x="1" y="26"/>
                </a:cubicBezTo>
                <a:cubicBezTo>
                  <a:pt x="2" y="26"/>
                  <a:pt x="4" y="25"/>
                  <a:pt x="4" y="24"/>
                </a:cubicBezTo>
                <a:cubicBezTo>
                  <a:pt x="5" y="24"/>
                  <a:pt x="6" y="24"/>
                  <a:pt x="7" y="23"/>
                </a:cubicBezTo>
                <a:cubicBezTo>
                  <a:pt x="8" y="23"/>
                  <a:pt x="9" y="24"/>
                  <a:pt x="10" y="24"/>
                </a:cubicBezTo>
                <a:cubicBezTo>
                  <a:pt x="10" y="25"/>
                  <a:pt x="10" y="26"/>
                  <a:pt x="11" y="27"/>
                </a:cubicBezTo>
                <a:cubicBezTo>
                  <a:pt x="11" y="27"/>
                  <a:pt x="11" y="28"/>
                  <a:pt x="11" y="28"/>
                </a:cubicBezTo>
                <a:cubicBezTo>
                  <a:pt x="11" y="29"/>
                  <a:pt x="12" y="29"/>
                  <a:pt x="13" y="30"/>
                </a:cubicBezTo>
                <a:cubicBezTo>
                  <a:pt x="13" y="30"/>
                  <a:pt x="14" y="31"/>
                  <a:pt x="14" y="31"/>
                </a:cubicBezTo>
                <a:cubicBezTo>
                  <a:pt x="15" y="31"/>
                  <a:pt x="15" y="32"/>
                  <a:pt x="16" y="32"/>
                </a:cubicBezTo>
                <a:cubicBezTo>
                  <a:pt x="17" y="32"/>
                  <a:pt x="18" y="32"/>
                  <a:pt x="19" y="32"/>
                </a:cubicBezTo>
                <a:cubicBezTo>
                  <a:pt x="19" y="32"/>
                  <a:pt x="19" y="31"/>
                  <a:pt x="20" y="31"/>
                </a:cubicBezTo>
                <a:cubicBezTo>
                  <a:pt x="20" y="31"/>
                  <a:pt x="20" y="31"/>
                  <a:pt x="20" y="31"/>
                </a:cubicBezTo>
                <a:cubicBezTo>
                  <a:pt x="20" y="31"/>
                  <a:pt x="21" y="30"/>
                  <a:pt x="22" y="31"/>
                </a:cubicBezTo>
                <a:cubicBezTo>
                  <a:pt x="23" y="31"/>
                  <a:pt x="24" y="32"/>
                  <a:pt x="24" y="32"/>
                </a:cubicBezTo>
                <a:cubicBezTo>
                  <a:pt x="24" y="33"/>
                  <a:pt x="24" y="33"/>
                  <a:pt x="25" y="33"/>
                </a:cubicBezTo>
                <a:cubicBezTo>
                  <a:pt x="25" y="33"/>
                  <a:pt x="25" y="33"/>
                  <a:pt x="25" y="33"/>
                </a:cubicBezTo>
                <a:cubicBezTo>
                  <a:pt x="25" y="33"/>
                  <a:pt x="26" y="32"/>
                  <a:pt x="26" y="32"/>
                </a:cubicBezTo>
                <a:cubicBezTo>
                  <a:pt x="27" y="31"/>
                  <a:pt x="27" y="30"/>
                  <a:pt x="28" y="29"/>
                </a:cubicBezTo>
                <a:cubicBezTo>
                  <a:pt x="28" y="29"/>
                  <a:pt x="28" y="29"/>
                  <a:pt x="28" y="29"/>
                </a:cubicBezTo>
                <a:cubicBezTo>
                  <a:pt x="28" y="28"/>
                  <a:pt x="29" y="28"/>
                  <a:pt x="29" y="27"/>
                </a:cubicBezTo>
                <a:cubicBezTo>
                  <a:pt x="30" y="26"/>
                  <a:pt x="30" y="25"/>
                  <a:pt x="31" y="25"/>
                </a:cubicBezTo>
                <a:cubicBezTo>
                  <a:pt x="31" y="25"/>
                  <a:pt x="31" y="25"/>
                  <a:pt x="31" y="24"/>
                </a:cubicBezTo>
                <a:cubicBezTo>
                  <a:pt x="31" y="24"/>
                  <a:pt x="32" y="24"/>
                  <a:pt x="32" y="23"/>
                </a:cubicBezTo>
                <a:cubicBezTo>
                  <a:pt x="33" y="23"/>
                  <a:pt x="34" y="22"/>
                  <a:pt x="34" y="23"/>
                </a:cubicBezTo>
                <a:cubicBezTo>
                  <a:pt x="35" y="24"/>
                  <a:pt x="35" y="25"/>
                  <a:pt x="35" y="26"/>
                </a:cubicBezTo>
                <a:cubicBezTo>
                  <a:pt x="36" y="27"/>
                  <a:pt x="36" y="28"/>
                  <a:pt x="36" y="29"/>
                </a:cubicBezTo>
                <a:cubicBezTo>
                  <a:pt x="36" y="29"/>
                  <a:pt x="37" y="29"/>
                  <a:pt x="38" y="29"/>
                </a:cubicBezTo>
                <a:cubicBezTo>
                  <a:pt x="39" y="29"/>
                  <a:pt x="40" y="30"/>
                  <a:pt x="41" y="31"/>
                </a:cubicBezTo>
                <a:cubicBezTo>
                  <a:pt x="41" y="31"/>
                  <a:pt x="41" y="32"/>
                  <a:pt x="41" y="32"/>
                </a:cubicBezTo>
                <a:cubicBezTo>
                  <a:pt x="41" y="33"/>
                  <a:pt x="40" y="34"/>
                  <a:pt x="41" y="34"/>
                </a:cubicBezTo>
                <a:cubicBezTo>
                  <a:pt x="41" y="34"/>
                  <a:pt x="42" y="32"/>
                  <a:pt x="42" y="30"/>
                </a:cubicBezTo>
                <a:cubicBezTo>
                  <a:pt x="43" y="29"/>
                  <a:pt x="43" y="28"/>
                  <a:pt x="43" y="28"/>
                </a:cubicBezTo>
                <a:cubicBezTo>
                  <a:pt x="43" y="28"/>
                  <a:pt x="44" y="27"/>
                  <a:pt x="44" y="26"/>
                </a:cubicBezTo>
                <a:cubicBezTo>
                  <a:pt x="45" y="25"/>
                  <a:pt x="45" y="23"/>
                  <a:pt x="45" y="23"/>
                </a:cubicBezTo>
                <a:cubicBezTo>
                  <a:pt x="45" y="22"/>
                  <a:pt x="46" y="22"/>
                  <a:pt x="46" y="22"/>
                </a:cubicBezTo>
                <a:cubicBezTo>
                  <a:pt x="47" y="22"/>
                  <a:pt x="48" y="23"/>
                  <a:pt x="49" y="23"/>
                </a:cubicBezTo>
                <a:cubicBezTo>
                  <a:pt x="50" y="24"/>
                  <a:pt x="51" y="25"/>
                  <a:pt x="52" y="25"/>
                </a:cubicBezTo>
                <a:cubicBezTo>
                  <a:pt x="53" y="25"/>
                  <a:pt x="53" y="26"/>
                  <a:pt x="54" y="26"/>
                </a:cubicBezTo>
                <a:cubicBezTo>
                  <a:pt x="55" y="27"/>
                  <a:pt x="56" y="27"/>
                  <a:pt x="56" y="27"/>
                </a:cubicBezTo>
                <a:cubicBezTo>
                  <a:pt x="56" y="27"/>
                  <a:pt x="56" y="26"/>
                  <a:pt x="56" y="26"/>
                </a:cubicBezTo>
                <a:cubicBezTo>
                  <a:pt x="56" y="24"/>
                  <a:pt x="56" y="22"/>
                  <a:pt x="57" y="22"/>
                </a:cubicBezTo>
                <a:cubicBezTo>
                  <a:pt x="58" y="21"/>
                  <a:pt x="59" y="22"/>
                  <a:pt x="60" y="22"/>
                </a:cubicBezTo>
                <a:cubicBezTo>
                  <a:pt x="61" y="22"/>
                  <a:pt x="61" y="22"/>
                  <a:pt x="62" y="21"/>
                </a:cubicBezTo>
                <a:cubicBezTo>
                  <a:pt x="62" y="21"/>
                  <a:pt x="62" y="20"/>
                  <a:pt x="62" y="20"/>
                </a:cubicBezTo>
                <a:cubicBezTo>
                  <a:pt x="62" y="19"/>
                  <a:pt x="62" y="19"/>
                  <a:pt x="62" y="19"/>
                </a:cubicBezTo>
                <a:cubicBezTo>
                  <a:pt x="62" y="18"/>
                  <a:pt x="63" y="17"/>
                  <a:pt x="63" y="17"/>
                </a:cubicBezTo>
                <a:close/>
              </a:path>
            </a:pathLst>
          </a:custGeom>
          <a:gradFill>
            <a:gsLst>
              <a:gs pos="30000">
                <a:schemeClr val="accent2"/>
              </a:gs>
              <a:gs pos="80000">
                <a:schemeClr val="accent6"/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161" name="Freeform 138"/>
          <p:cNvSpPr>
            <a:spLocks/>
          </p:cNvSpPr>
          <p:nvPr/>
        </p:nvSpPr>
        <p:spPr bwMode="auto">
          <a:xfrm>
            <a:off x="2354387" y="3849688"/>
            <a:ext cx="1047750" cy="419100"/>
          </a:xfrm>
          <a:custGeom>
            <a:avLst/>
            <a:gdLst>
              <a:gd name="T0" fmla="*/ 40 w 110"/>
              <a:gd name="T1" fmla="*/ 37 h 44"/>
              <a:gd name="T2" fmla="*/ 55 w 110"/>
              <a:gd name="T3" fmla="*/ 41 h 44"/>
              <a:gd name="T4" fmla="*/ 73 w 110"/>
              <a:gd name="T5" fmla="*/ 44 h 44"/>
              <a:gd name="T6" fmla="*/ 82 w 110"/>
              <a:gd name="T7" fmla="*/ 41 h 44"/>
              <a:gd name="T8" fmla="*/ 88 w 110"/>
              <a:gd name="T9" fmla="*/ 39 h 44"/>
              <a:gd name="T10" fmla="*/ 92 w 110"/>
              <a:gd name="T11" fmla="*/ 38 h 44"/>
              <a:gd name="T12" fmla="*/ 95 w 110"/>
              <a:gd name="T13" fmla="*/ 35 h 44"/>
              <a:gd name="T14" fmla="*/ 99 w 110"/>
              <a:gd name="T15" fmla="*/ 33 h 44"/>
              <a:gd name="T16" fmla="*/ 100 w 110"/>
              <a:gd name="T17" fmla="*/ 28 h 44"/>
              <a:gd name="T18" fmla="*/ 100 w 110"/>
              <a:gd name="T19" fmla="*/ 26 h 44"/>
              <a:gd name="T20" fmla="*/ 101 w 110"/>
              <a:gd name="T21" fmla="*/ 20 h 44"/>
              <a:gd name="T22" fmla="*/ 108 w 110"/>
              <a:gd name="T23" fmla="*/ 21 h 44"/>
              <a:gd name="T24" fmla="*/ 109 w 110"/>
              <a:gd name="T25" fmla="*/ 19 h 44"/>
              <a:gd name="T26" fmla="*/ 107 w 110"/>
              <a:gd name="T27" fmla="*/ 14 h 44"/>
              <a:gd name="T28" fmla="*/ 107 w 110"/>
              <a:gd name="T29" fmla="*/ 12 h 44"/>
              <a:gd name="T30" fmla="*/ 105 w 110"/>
              <a:gd name="T31" fmla="*/ 8 h 44"/>
              <a:gd name="T32" fmla="*/ 101 w 110"/>
              <a:gd name="T33" fmla="*/ 3 h 44"/>
              <a:gd name="T34" fmla="*/ 91 w 110"/>
              <a:gd name="T35" fmla="*/ 2 h 44"/>
              <a:gd name="T36" fmla="*/ 80 w 110"/>
              <a:gd name="T37" fmla="*/ 0 h 44"/>
              <a:gd name="T38" fmla="*/ 78 w 110"/>
              <a:gd name="T39" fmla="*/ 4 h 44"/>
              <a:gd name="T40" fmla="*/ 71 w 110"/>
              <a:gd name="T41" fmla="*/ 7 h 44"/>
              <a:gd name="T42" fmla="*/ 62 w 110"/>
              <a:gd name="T43" fmla="*/ 4 h 44"/>
              <a:gd name="T44" fmla="*/ 61 w 110"/>
              <a:gd name="T45" fmla="*/ 7 h 44"/>
              <a:gd name="T46" fmla="*/ 56 w 110"/>
              <a:gd name="T47" fmla="*/ 9 h 44"/>
              <a:gd name="T48" fmla="*/ 50 w 110"/>
              <a:gd name="T49" fmla="*/ 13 h 44"/>
              <a:gd name="T50" fmla="*/ 49 w 110"/>
              <a:gd name="T51" fmla="*/ 14 h 44"/>
              <a:gd name="T52" fmla="*/ 51 w 110"/>
              <a:gd name="T53" fmla="*/ 20 h 44"/>
              <a:gd name="T54" fmla="*/ 48 w 110"/>
              <a:gd name="T55" fmla="*/ 26 h 44"/>
              <a:gd name="T56" fmla="*/ 41 w 110"/>
              <a:gd name="T57" fmla="*/ 24 h 44"/>
              <a:gd name="T58" fmla="*/ 36 w 110"/>
              <a:gd name="T59" fmla="*/ 25 h 44"/>
              <a:gd name="T60" fmla="*/ 29 w 110"/>
              <a:gd name="T61" fmla="*/ 26 h 44"/>
              <a:gd name="T62" fmla="*/ 20 w 110"/>
              <a:gd name="T63" fmla="*/ 28 h 44"/>
              <a:gd name="T64" fmla="*/ 19 w 110"/>
              <a:gd name="T65" fmla="*/ 26 h 44"/>
              <a:gd name="T66" fmla="*/ 14 w 110"/>
              <a:gd name="T67" fmla="*/ 27 h 44"/>
              <a:gd name="T68" fmla="*/ 14 w 110"/>
              <a:gd name="T69" fmla="*/ 29 h 44"/>
              <a:gd name="T70" fmla="*/ 9 w 110"/>
              <a:gd name="T71" fmla="*/ 30 h 44"/>
              <a:gd name="T72" fmla="*/ 9 w 110"/>
              <a:gd name="T73" fmla="*/ 27 h 44"/>
              <a:gd name="T74" fmla="*/ 3 w 110"/>
              <a:gd name="T75" fmla="*/ 26 h 44"/>
              <a:gd name="T76" fmla="*/ 1 w 110"/>
              <a:gd name="T77" fmla="*/ 32 h 44"/>
              <a:gd name="T78" fmla="*/ 9 w 110"/>
              <a:gd name="T79" fmla="*/ 36 h 44"/>
              <a:gd name="T80" fmla="*/ 15 w 110"/>
              <a:gd name="T81" fmla="*/ 36 h 44"/>
              <a:gd name="T82" fmla="*/ 15 w 110"/>
              <a:gd name="T83" fmla="*/ 37 h 44"/>
              <a:gd name="T84" fmla="*/ 22 w 110"/>
              <a:gd name="T85" fmla="*/ 37 h 44"/>
              <a:gd name="T86" fmla="*/ 32 w 110"/>
              <a:gd name="T87" fmla="*/ 3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0" h="44">
                <a:moveTo>
                  <a:pt x="40" y="35"/>
                </a:moveTo>
                <a:cubicBezTo>
                  <a:pt x="40" y="35"/>
                  <a:pt x="40" y="36"/>
                  <a:pt x="40" y="36"/>
                </a:cubicBezTo>
                <a:cubicBezTo>
                  <a:pt x="40" y="36"/>
                  <a:pt x="40" y="36"/>
                  <a:pt x="40" y="37"/>
                </a:cubicBezTo>
                <a:cubicBezTo>
                  <a:pt x="40" y="37"/>
                  <a:pt x="42" y="38"/>
                  <a:pt x="43" y="39"/>
                </a:cubicBezTo>
                <a:cubicBezTo>
                  <a:pt x="44" y="40"/>
                  <a:pt x="45" y="40"/>
                  <a:pt x="45" y="40"/>
                </a:cubicBezTo>
                <a:cubicBezTo>
                  <a:pt x="46" y="41"/>
                  <a:pt x="51" y="41"/>
                  <a:pt x="55" y="41"/>
                </a:cubicBezTo>
                <a:cubicBezTo>
                  <a:pt x="59" y="42"/>
                  <a:pt x="63" y="42"/>
                  <a:pt x="65" y="42"/>
                </a:cubicBezTo>
                <a:cubicBezTo>
                  <a:pt x="66" y="43"/>
                  <a:pt x="68" y="43"/>
                  <a:pt x="70" y="44"/>
                </a:cubicBezTo>
                <a:cubicBezTo>
                  <a:pt x="71" y="44"/>
                  <a:pt x="72" y="44"/>
                  <a:pt x="73" y="44"/>
                </a:cubicBezTo>
                <a:cubicBezTo>
                  <a:pt x="73" y="44"/>
                  <a:pt x="74" y="43"/>
                  <a:pt x="75" y="42"/>
                </a:cubicBezTo>
                <a:cubicBezTo>
                  <a:pt x="76" y="41"/>
                  <a:pt x="77" y="41"/>
                  <a:pt x="77" y="40"/>
                </a:cubicBezTo>
                <a:cubicBezTo>
                  <a:pt x="78" y="40"/>
                  <a:pt x="80" y="40"/>
                  <a:pt x="82" y="41"/>
                </a:cubicBezTo>
                <a:cubicBezTo>
                  <a:pt x="83" y="41"/>
                  <a:pt x="83" y="41"/>
                  <a:pt x="84" y="41"/>
                </a:cubicBezTo>
                <a:cubicBezTo>
                  <a:pt x="85" y="41"/>
                  <a:pt x="85" y="41"/>
                  <a:pt x="86" y="41"/>
                </a:cubicBezTo>
                <a:cubicBezTo>
                  <a:pt x="86" y="40"/>
                  <a:pt x="87" y="40"/>
                  <a:pt x="88" y="39"/>
                </a:cubicBezTo>
                <a:cubicBezTo>
                  <a:pt x="89" y="39"/>
                  <a:pt x="90" y="39"/>
                  <a:pt x="90" y="39"/>
                </a:cubicBezTo>
                <a:cubicBezTo>
                  <a:pt x="90" y="39"/>
                  <a:pt x="90" y="39"/>
                  <a:pt x="90" y="39"/>
                </a:cubicBezTo>
                <a:cubicBezTo>
                  <a:pt x="91" y="38"/>
                  <a:pt x="92" y="38"/>
                  <a:pt x="92" y="38"/>
                </a:cubicBezTo>
                <a:cubicBezTo>
                  <a:pt x="93" y="37"/>
                  <a:pt x="94" y="35"/>
                  <a:pt x="95" y="35"/>
                </a:cubicBezTo>
                <a:cubicBezTo>
                  <a:pt x="95" y="35"/>
                  <a:pt x="95" y="35"/>
                  <a:pt x="95" y="35"/>
                </a:cubicBezTo>
                <a:cubicBezTo>
                  <a:pt x="95" y="35"/>
                  <a:pt x="95" y="35"/>
                  <a:pt x="95" y="35"/>
                </a:cubicBezTo>
                <a:cubicBezTo>
                  <a:pt x="96" y="34"/>
                  <a:pt x="97" y="34"/>
                  <a:pt x="98" y="34"/>
                </a:cubicBezTo>
                <a:cubicBezTo>
                  <a:pt x="98" y="34"/>
                  <a:pt x="99" y="34"/>
                  <a:pt x="99" y="34"/>
                </a:cubicBezTo>
                <a:cubicBezTo>
                  <a:pt x="99" y="34"/>
                  <a:pt x="99" y="34"/>
                  <a:pt x="99" y="33"/>
                </a:cubicBezTo>
                <a:cubicBezTo>
                  <a:pt x="99" y="33"/>
                  <a:pt x="99" y="32"/>
                  <a:pt x="99" y="32"/>
                </a:cubicBezTo>
                <a:cubicBezTo>
                  <a:pt x="98" y="31"/>
                  <a:pt x="98" y="30"/>
                  <a:pt x="98" y="30"/>
                </a:cubicBezTo>
                <a:cubicBezTo>
                  <a:pt x="98" y="29"/>
                  <a:pt x="99" y="28"/>
                  <a:pt x="100" y="28"/>
                </a:cubicBezTo>
                <a:cubicBezTo>
                  <a:pt x="100" y="28"/>
                  <a:pt x="100" y="28"/>
                  <a:pt x="100" y="28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27"/>
                  <a:pt x="101" y="27"/>
                  <a:pt x="100" y="26"/>
                </a:cubicBezTo>
                <a:cubicBezTo>
                  <a:pt x="99" y="25"/>
                  <a:pt x="98" y="25"/>
                  <a:pt x="98" y="24"/>
                </a:cubicBezTo>
                <a:cubicBezTo>
                  <a:pt x="98" y="23"/>
                  <a:pt x="98" y="22"/>
                  <a:pt x="99" y="21"/>
                </a:cubicBezTo>
                <a:cubicBezTo>
                  <a:pt x="100" y="21"/>
                  <a:pt x="101" y="20"/>
                  <a:pt x="101" y="20"/>
                </a:cubicBezTo>
                <a:cubicBezTo>
                  <a:pt x="103" y="20"/>
                  <a:pt x="104" y="20"/>
                  <a:pt x="105" y="21"/>
                </a:cubicBezTo>
                <a:cubicBezTo>
                  <a:pt x="106" y="21"/>
                  <a:pt x="107" y="22"/>
                  <a:pt x="108" y="22"/>
                </a:cubicBezTo>
                <a:cubicBezTo>
                  <a:pt x="108" y="22"/>
                  <a:pt x="108" y="21"/>
                  <a:pt x="108" y="21"/>
                </a:cubicBezTo>
                <a:cubicBezTo>
                  <a:pt x="108" y="20"/>
                  <a:pt x="108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19"/>
                  <a:pt x="109" y="19"/>
                  <a:pt x="109" y="19"/>
                </a:cubicBezTo>
                <a:cubicBezTo>
                  <a:pt x="109" y="18"/>
                  <a:pt x="109" y="17"/>
                  <a:pt x="110" y="16"/>
                </a:cubicBezTo>
                <a:cubicBezTo>
                  <a:pt x="109" y="16"/>
                  <a:pt x="109" y="16"/>
                  <a:pt x="109" y="16"/>
                </a:cubicBezTo>
                <a:cubicBezTo>
                  <a:pt x="108" y="15"/>
                  <a:pt x="107" y="14"/>
                  <a:pt x="107" y="14"/>
                </a:cubicBezTo>
                <a:cubicBezTo>
                  <a:pt x="107" y="14"/>
                  <a:pt x="107" y="13"/>
                  <a:pt x="107" y="12"/>
                </a:cubicBezTo>
                <a:cubicBezTo>
                  <a:pt x="107" y="12"/>
                  <a:pt x="107" y="12"/>
                  <a:pt x="107" y="12"/>
                </a:cubicBezTo>
                <a:cubicBezTo>
                  <a:pt x="107" y="12"/>
                  <a:pt x="107" y="12"/>
                  <a:pt x="107" y="12"/>
                </a:cubicBezTo>
                <a:cubicBezTo>
                  <a:pt x="106" y="12"/>
                  <a:pt x="106" y="11"/>
                  <a:pt x="105" y="11"/>
                </a:cubicBezTo>
                <a:cubicBezTo>
                  <a:pt x="105" y="10"/>
                  <a:pt x="105" y="10"/>
                  <a:pt x="105" y="9"/>
                </a:cubicBezTo>
                <a:cubicBezTo>
                  <a:pt x="105" y="9"/>
                  <a:pt x="105" y="8"/>
                  <a:pt x="105" y="8"/>
                </a:cubicBezTo>
                <a:cubicBezTo>
                  <a:pt x="105" y="7"/>
                  <a:pt x="106" y="5"/>
                  <a:pt x="106" y="5"/>
                </a:cubicBezTo>
                <a:cubicBezTo>
                  <a:pt x="105" y="5"/>
                  <a:pt x="104" y="4"/>
                  <a:pt x="103" y="4"/>
                </a:cubicBezTo>
                <a:cubicBezTo>
                  <a:pt x="103" y="3"/>
                  <a:pt x="102" y="3"/>
                  <a:pt x="101" y="3"/>
                </a:cubicBezTo>
                <a:cubicBezTo>
                  <a:pt x="101" y="3"/>
                  <a:pt x="101" y="3"/>
                  <a:pt x="100" y="4"/>
                </a:cubicBezTo>
                <a:cubicBezTo>
                  <a:pt x="99" y="4"/>
                  <a:pt x="98" y="5"/>
                  <a:pt x="96" y="4"/>
                </a:cubicBezTo>
                <a:cubicBezTo>
                  <a:pt x="95" y="4"/>
                  <a:pt x="93" y="3"/>
                  <a:pt x="91" y="2"/>
                </a:cubicBezTo>
                <a:cubicBezTo>
                  <a:pt x="90" y="1"/>
                  <a:pt x="88" y="1"/>
                  <a:pt x="87" y="1"/>
                </a:cubicBezTo>
                <a:cubicBezTo>
                  <a:pt x="86" y="1"/>
                  <a:pt x="86" y="1"/>
                  <a:pt x="84" y="0"/>
                </a:cubicBezTo>
                <a:cubicBezTo>
                  <a:pt x="83" y="0"/>
                  <a:pt x="82" y="0"/>
                  <a:pt x="80" y="0"/>
                </a:cubicBezTo>
                <a:cubicBezTo>
                  <a:pt x="78" y="0"/>
                  <a:pt x="78" y="1"/>
                  <a:pt x="78" y="2"/>
                </a:cubicBezTo>
                <a:cubicBezTo>
                  <a:pt x="78" y="3"/>
                  <a:pt x="78" y="3"/>
                  <a:pt x="78" y="4"/>
                </a:cubicBezTo>
                <a:cubicBezTo>
                  <a:pt x="78" y="4"/>
                  <a:pt x="78" y="4"/>
                  <a:pt x="78" y="4"/>
                </a:cubicBezTo>
                <a:cubicBezTo>
                  <a:pt x="77" y="4"/>
                  <a:pt x="77" y="5"/>
                  <a:pt x="76" y="5"/>
                </a:cubicBezTo>
                <a:cubicBezTo>
                  <a:pt x="75" y="6"/>
                  <a:pt x="75" y="6"/>
                  <a:pt x="74" y="6"/>
                </a:cubicBezTo>
                <a:cubicBezTo>
                  <a:pt x="74" y="7"/>
                  <a:pt x="72" y="7"/>
                  <a:pt x="71" y="7"/>
                </a:cubicBezTo>
                <a:cubicBezTo>
                  <a:pt x="70" y="7"/>
                  <a:pt x="69" y="6"/>
                  <a:pt x="68" y="6"/>
                </a:cubicBezTo>
                <a:cubicBezTo>
                  <a:pt x="67" y="6"/>
                  <a:pt x="66" y="5"/>
                  <a:pt x="64" y="5"/>
                </a:cubicBezTo>
                <a:cubicBezTo>
                  <a:pt x="63" y="4"/>
                  <a:pt x="63" y="4"/>
                  <a:pt x="62" y="4"/>
                </a:cubicBezTo>
                <a:cubicBezTo>
                  <a:pt x="62" y="4"/>
                  <a:pt x="62" y="4"/>
                  <a:pt x="62" y="4"/>
                </a:cubicBezTo>
                <a:cubicBezTo>
                  <a:pt x="62" y="5"/>
                  <a:pt x="62" y="7"/>
                  <a:pt x="61" y="7"/>
                </a:cubicBezTo>
                <a:cubicBezTo>
                  <a:pt x="61" y="7"/>
                  <a:pt x="61" y="7"/>
                  <a:pt x="61" y="7"/>
                </a:cubicBezTo>
                <a:cubicBezTo>
                  <a:pt x="60" y="8"/>
                  <a:pt x="59" y="8"/>
                  <a:pt x="58" y="8"/>
                </a:cubicBezTo>
                <a:cubicBezTo>
                  <a:pt x="58" y="7"/>
                  <a:pt x="57" y="7"/>
                  <a:pt x="57" y="7"/>
                </a:cubicBezTo>
                <a:cubicBezTo>
                  <a:pt x="57" y="8"/>
                  <a:pt x="57" y="8"/>
                  <a:pt x="56" y="9"/>
                </a:cubicBezTo>
                <a:cubicBezTo>
                  <a:pt x="56" y="10"/>
                  <a:pt x="56" y="11"/>
                  <a:pt x="55" y="11"/>
                </a:cubicBezTo>
                <a:cubicBezTo>
                  <a:pt x="54" y="12"/>
                  <a:pt x="53" y="12"/>
                  <a:pt x="52" y="13"/>
                </a:cubicBezTo>
                <a:cubicBezTo>
                  <a:pt x="51" y="13"/>
                  <a:pt x="50" y="13"/>
                  <a:pt x="50" y="13"/>
                </a:cubicBezTo>
                <a:cubicBezTo>
                  <a:pt x="50" y="13"/>
                  <a:pt x="50" y="13"/>
                  <a:pt x="50" y="13"/>
                </a:cubicBezTo>
                <a:cubicBezTo>
                  <a:pt x="49" y="14"/>
                  <a:pt x="49" y="14"/>
                  <a:pt x="49" y="14"/>
                </a:cubicBezTo>
                <a:cubicBezTo>
                  <a:pt x="49" y="14"/>
                  <a:pt x="49" y="14"/>
                  <a:pt x="49" y="14"/>
                </a:cubicBezTo>
                <a:cubicBezTo>
                  <a:pt x="48" y="14"/>
                  <a:pt x="48" y="14"/>
                  <a:pt x="48" y="15"/>
                </a:cubicBezTo>
                <a:cubicBezTo>
                  <a:pt x="48" y="15"/>
                  <a:pt x="49" y="16"/>
                  <a:pt x="49" y="17"/>
                </a:cubicBezTo>
                <a:cubicBezTo>
                  <a:pt x="50" y="18"/>
                  <a:pt x="51" y="19"/>
                  <a:pt x="51" y="20"/>
                </a:cubicBezTo>
                <a:cubicBezTo>
                  <a:pt x="51" y="21"/>
                  <a:pt x="51" y="22"/>
                  <a:pt x="51" y="23"/>
                </a:cubicBezTo>
                <a:cubicBezTo>
                  <a:pt x="51" y="25"/>
                  <a:pt x="51" y="27"/>
                  <a:pt x="50" y="27"/>
                </a:cubicBezTo>
                <a:cubicBezTo>
                  <a:pt x="50" y="27"/>
                  <a:pt x="49" y="27"/>
                  <a:pt x="48" y="26"/>
                </a:cubicBezTo>
                <a:cubicBezTo>
                  <a:pt x="48" y="25"/>
                  <a:pt x="47" y="24"/>
                  <a:pt x="46" y="24"/>
                </a:cubicBezTo>
                <a:cubicBezTo>
                  <a:pt x="45" y="24"/>
                  <a:pt x="44" y="24"/>
                  <a:pt x="43" y="24"/>
                </a:cubicBezTo>
                <a:cubicBezTo>
                  <a:pt x="42" y="24"/>
                  <a:pt x="41" y="24"/>
                  <a:pt x="41" y="24"/>
                </a:cubicBezTo>
                <a:cubicBezTo>
                  <a:pt x="41" y="24"/>
                  <a:pt x="41" y="24"/>
                  <a:pt x="41" y="24"/>
                </a:cubicBezTo>
                <a:cubicBezTo>
                  <a:pt x="41" y="24"/>
                  <a:pt x="39" y="24"/>
                  <a:pt x="37" y="24"/>
                </a:cubicBezTo>
                <a:cubicBezTo>
                  <a:pt x="36" y="25"/>
                  <a:pt x="36" y="25"/>
                  <a:pt x="36" y="25"/>
                </a:cubicBezTo>
                <a:cubicBezTo>
                  <a:pt x="35" y="25"/>
                  <a:pt x="34" y="25"/>
                  <a:pt x="33" y="25"/>
                </a:cubicBezTo>
                <a:cubicBezTo>
                  <a:pt x="32" y="25"/>
                  <a:pt x="31" y="24"/>
                  <a:pt x="31" y="25"/>
                </a:cubicBezTo>
                <a:cubicBezTo>
                  <a:pt x="30" y="25"/>
                  <a:pt x="29" y="26"/>
                  <a:pt x="29" y="26"/>
                </a:cubicBezTo>
                <a:cubicBezTo>
                  <a:pt x="28" y="27"/>
                  <a:pt x="27" y="28"/>
                  <a:pt x="26" y="28"/>
                </a:cubicBezTo>
                <a:cubicBezTo>
                  <a:pt x="25" y="28"/>
                  <a:pt x="21" y="28"/>
                  <a:pt x="21" y="28"/>
                </a:cubicBezTo>
                <a:cubicBezTo>
                  <a:pt x="20" y="28"/>
                  <a:pt x="20" y="28"/>
                  <a:pt x="20" y="28"/>
                </a:cubicBezTo>
                <a:cubicBezTo>
                  <a:pt x="20" y="28"/>
                  <a:pt x="20" y="28"/>
                  <a:pt x="20" y="28"/>
                </a:cubicBezTo>
                <a:cubicBezTo>
                  <a:pt x="20" y="28"/>
                  <a:pt x="19" y="26"/>
                  <a:pt x="19" y="26"/>
                </a:cubicBezTo>
                <a:cubicBezTo>
                  <a:pt x="19" y="26"/>
                  <a:pt x="19" y="26"/>
                  <a:pt x="19" y="26"/>
                </a:cubicBezTo>
                <a:cubicBezTo>
                  <a:pt x="18" y="26"/>
                  <a:pt x="18" y="26"/>
                  <a:pt x="18" y="26"/>
                </a:cubicBezTo>
                <a:cubicBezTo>
                  <a:pt x="17" y="25"/>
                  <a:pt x="14" y="25"/>
                  <a:pt x="14" y="25"/>
                </a:cubicBezTo>
                <a:cubicBezTo>
                  <a:pt x="14" y="25"/>
                  <a:pt x="14" y="26"/>
                  <a:pt x="14" y="27"/>
                </a:cubicBezTo>
                <a:cubicBezTo>
                  <a:pt x="14" y="27"/>
                  <a:pt x="14" y="27"/>
                  <a:pt x="14" y="28"/>
                </a:cubicBezTo>
                <a:cubicBezTo>
                  <a:pt x="14" y="28"/>
                  <a:pt x="14" y="28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3" y="29"/>
                  <a:pt x="13" y="29"/>
                  <a:pt x="12" y="30"/>
                </a:cubicBezTo>
                <a:cubicBezTo>
                  <a:pt x="11" y="30"/>
                  <a:pt x="10" y="30"/>
                  <a:pt x="10" y="30"/>
                </a:cubicBezTo>
                <a:cubicBezTo>
                  <a:pt x="10" y="30"/>
                  <a:pt x="9" y="30"/>
                  <a:pt x="9" y="30"/>
                </a:cubicBezTo>
                <a:cubicBezTo>
                  <a:pt x="9" y="30"/>
                  <a:pt x="9" y="30"/>
                  <a:pt x="9" y="30"/>
                </a:cubicBezTo>
                <a:cubicBezTo>
                  <a:pt x="9" y="30"/>
                  <a:pt x="9" y="29"/>
                  <a:pt x="9" y="28"/>
                </a:cubicBezTo>
                <a:cubicBezTo>
                  <a:pt x="9" y="28"/>
                  <a:pt x="9" y="27"/>
                  <a:pt x="9" y="27"/>
                </a:cubicBezTo>
                <a:cubicBezTo>
                  <a:pt x="9" y="27"/>
                  <a:pt x="8" y="27"/>
                  <a:pt x="7" y="27"/>
                </a:cubicBezTo>
                <a:cubicBezTo>
                  <a:pt x="5" y="26"/>
                  <a:pt x="4" y="26"/>
                  <a:pt x="3" y="26"/>
                </a:cubicBezTo>
                <a:cubicBezTo>
                  <a:pt x="3" y="26"/>
                  <a:pt x="3" y="26"/>
                  <a:pt x="3" y="26"/>
                </a:cubicBezTo>
                <a:cubicBezTo>
                  <a:pt x="2" y="27"/>
                  <a:pt x="2" y="28"/>
                  <a:pt x="1" y="29"/>
                </a:cubicBezTo>
                <a:cubicBezTo>
                  <a:pt x="1" y="29"/>
                  <a:pt x="1" y="30"/>
                  <a:pt x="1" y="30"/>
                </a:cubicBezTo>
                <a:cubicBezTo>
                  <a:pt x="0" y="31"/>
                  <a:pt x="0" y="32"/>
                  <a:pt x="1" y="32"/>
                </a:cubicBezTo>
                <a:cubicBezTo>
                  <a:pt x="1" y="33"/>
                  <a:pt x="3" y="34"/>
                  <a:pt x="5" y="35"/>
                </a:cubicBezTo>
                <a:cubicBezTo>
                  <a:pt x="6" y="35"/>
                  <a:pt x="7" y="36"/>
                  <a:pt x="8" y="37"/>
                </a:cubicBezTo>
                <a:cubicBezTo>
                  <a:pt x="8" y="37"/>
                  <a:pt x="9" y="37"/>
                  <a:pt x="9" y="36"/>
                </a:cubicBezTo>
                <a:cubicBezTo>
                  <a:pt x="10" y="36"/>
                  <a:pt x="10" y="35"/>
                  <a:pt x="11" y="35"/>
                </a:cubicBezTo>
                <a:cubicBezTo>
                  <a:pt x="13" y="34"/>
                  <a:pt x="14" y="35"/>
                  <a:pt x="15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5" y="36"/>
                  <a:pt x="15" y="36"/>
                  <a:pt x="15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5" y="37"/>
                  <a:pt x="15" y="37"/>
                </a:cubicBezTo>
                <a:cubicBezTo>
                  <a:pt x="15" y="37"/>
                  <a:pt x="16" y="37"/>
                  <a:pt x="17" y="38"/>
                </a:cubicBezTo>
                <a:cubicBezTo>
                  <a:pt x="19" y="38"/>
                  <a:pt x="20" y="38"/>
                  <a:pt x="21" y="38"/>
                </a:cubicBezTo>
                <a:cubicBezTo>
                  <a:pt x="21" y="38"/>
                  <a:pt x="22" y="38"/>
                  <a:pt x="22" y="37"/>
                </a:cubicBezTo>
                <a:cubicBezTo>
                  <a:pt x="23" y="36"/>
                  <a:pt x="23" y="35"/>
                  <a:pt x="24" y="35"/>
                </a:cubicBezTo>
                <a:cubicBezTo>
                  <a:pt x="24" y="35"/>
                  <a:pt x="24" y="35"/>
                  <a:pt x="24" y="35"/>
                </a:cubicBezTo>
                <a:cubicBezTo>
                  <a:pt x="25" y="34"/>
                  <a:pt x="29" y="34"/>
                  <a:pt x="32" y="33"/>
                </a:cubicBezTo>
                <a:cubicBezTo>
                  <a:pt x="35" y="33"/>
                  <a:pt x="37" y="33"/>
                  <a:pt x="38" y="33"/>
                </a:cubicBezTo>
                <a:cubicBezTo>
                  <a:pt x="40" y="33"/>
                  <a:pt x="40" y="34"/>
                  <a:pt x="40" y="3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162" name="Gruppieren 161"/>
          <p:cNvGrpSpPr/>
          <p:nvPr/>
        </p:nvGrpSpPr>
        <p:grpSpPr>
          <a:xfrm>
            <a:off x="1506662" y="2992438"/>
            <a:ext cx="533400" cy="457200"/>
            <a:chOff x="1506662" y="2992438"/>
            <a:chExt cx="533400" cy="457200"/>
          </a:xfrm>
          <a:solidFill>
            <a:schemeClr val="tx2"/>
          </a:solidFill>
        </p:grpSpPr>
        <p:sp>
          <p:nvSpPr>
            <p:cNvPr id="163" name="Freeform 139"/>
            <p:cNvSpPr>
              <a:spLocks/>
            </p:cNvSpPr>
            <p:nvPr/>
          </p:nvSpPr>
          <p:spPr bwMode="auto">
            <a:xfrm>
              <a:off x="1506662" y="3354388"/>
              <a:ext cx="104775" cy="38100"/>
            </a:xfrm>
            <a:custGeom>
              <a:avLst/>
              <a:gdLst>
                <a:gd name="T0" fmla="*/ 1 w 11"/>
                <a:gd name="T1" fmla="*/ 3 h 4"/>
                <a:gd name="T2" fmla="*/ 4 w 11"/>
                <a:gd name="T3" fmla="*/ 4 h 4"/>
                <a:gd name="T4" fmla="*/ 8 w 11"/>
                <a:gd name="T5" fmla="*/ 4 h 4"/>
                <a:gd name="T6" fmla="*/ 10 w 11"/>
                <a:gd name="T7" fmla="*/ 3 h 4"/>
                <a:gd name="T8" fmla="*/ 7 w 11"/>
                <a:gd name="T9" fmla="*/ 1 h 4"/>
                <a:gd name="T10" fmla="*/ 2 w 11"/>
                <a:gd name="T11" fmla="*/ 1 h 4"/>
                <a:gd name="T12" fmla="*/ 1 w 11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1" y="3"/>
                  </a:moveTo>
                  <a:cubicBezTo>
                    <a:pt x="2" y="4"/>
                    <a:pt x="2" y="4"/>
                    <a:pt x="4" y="4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10" y="4"/>
                    <a:pt x="11" y="4"/>
                    <a:pt x="10" y="3"/>
                  </a:cubicBezTo>
                  <a:cubicBezTo>
                    <a:pt x="10" y="2"/>
                    <a:pt x="9" y="2"/>
                    <a:pt x="7" y="1"/>
                  </a:cubicBezTo>
                  <a:cubicBezTo>
                    <a:pt x="6" y="0"/>
                    <a:pt x="3" y="0"/>
                    <a:pt x="2" y="1"/>
                  </a:cubicBezTo>
                  <a:cubicBezTo>
                    <a:pt x="2" y="1"/>
                    <a:pt x="0" y="2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4" name="Freeform 140"/>
            <p:cNvSpPr>
              <a:spLocks/>
            </p:cNvSpPr>
            <p:nvPr/>
          </p:nvSpPr>
          <p:spPr bwMode="auto">
            <a:xfrm>
              <a:off x="1554287" y="3325813"/>
              <a:ext cx="76200" cy="38100"/>
            </a:xfrm>
            <a:custGeom>
              <a:avLst/>
              <a:gdLst>
                <a:gd name="T0" fmla="*/ 3 w 8"/>
                <a:gd name="T1" fmla="*/ 2 h 4"/>
                <a:gd name="T2" fmla="*/ 6 w 8"/>
                <a:gd name="T3" fmla="*/ 3 h 4"/>
                <a:gd name="T4" fmla="*/ 7 w 8"/>
                <a:gd name="T5" fmla="*/ 2 h 4"/>
                <a:gd name="T6" fmla="*/ 3 w 8"/>
                <a:gd name="T7" fmla="*/ 0 h 4"/>
                <a:gd name="T8" fmla="*/ 1 w 8"/>
                <a:gd name="T9" fmla="*/ 1 h 4"/>
                <a:gd name="T10" fmla="*/ 3 w 8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3" y="2"/>
                  </a:moveTo>
                  <a:cubicBezTo>
                    <a:pt x="5" y="2"/>
                    <a:pt x="5" y="3"/>
                    <a:pt x="6" y="3"/>
                  </a:cubicBezTo>
                  <a:cubicBezTo>
                    <a:pt x="7" y="4"/>
                    <a:pt x="8" y="3"/>
                    <a:pt x="7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1" y="2"/>
                    <a:pt x="1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5" name="Freeform 141"/>
            <p:cNvSpPr>
              <a:spLocks/>
            </p:cNvSpPr>
            <p:nvPr/>
          </p:nvSpPr>
          <p:spPr bwMode="auto">
            <a:xfrm>
              <a:off x="1697162" y="3049588"/>
              <a:ext cx="47625" cy="57150"/>
            </a:xfrm>
            <a:custGeom>
              <a:avLst/>
              <a:gdLst>
                <a:gd name="T0" fmla="*/ 2 w 5"/>
                <a:gd name="T1" fmla="*/ 5 h 6"/>
                <a:gd name="T2" fmla="*/ 3 w 5"/>
                <a:gd name="T3" fmla="*/ 3 h 6"/>
                <a:gd name="T4" fmla="*/ 4 w 5"/>
                <a:gd name="T5" fmla="*/ 1 h 6"/>
                <a:gd name="T6" fmla="*/ 2 w 5"/>
                <a:gd name="T7" fmla="*/ 1 h 6"/>
                <a:gd name="T8" fmla="*/ 2 w 5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2" y="5"/>
                  </a:moveTo>
                  <a:cubicBezTo>
                    <a:pt x="2" y="4"/>
                    <a:pt x="3" y="3"/>
                    <a:pt x="3" y="3"/>
                  </a:cubicBezTo>
                  <a:cubicBezTo>
                    <a:pt x="4" y="3"/>
                    <a:pt x="5" y="2"/>
                    <a:pt x="4" y="1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1" y="2"/>
                    <a:pt x="0" y="6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6" name="Freeform 142"/>
            <p:cNvSpPr>
              <a:spLocks/>
            </p:cNvSpPr>
            <p:nvPr/>
          </p:nvSpPr>
          <p:spPr bwMode="auto">
            <a:xfrm>
              <a:off x="1754312" y="3001963"/>
              <a:ext cx="66675" cy="38100"/>
            </a:xfrm>
            <a:custGeom>
              <a:avLst/>
              <a:gdLst>
                <a:gd name="T0" fmla="*/ 1 w 7"/>
                <a:gd name="T1" fmla="*/ 4 h 4"/>
                <a:gd name="T2" fmla="*/ 4 w 7"/>
                <a:gd name="T3" fmla="*/ 2 h 4"/>
                <a:gd name="T4" fmla="*/ 7 w 7"/>
                <a:gd name="T5" fmla="*/ 1 h 4"/>
                <a:gd name="T6" fmla="*/ 3 w 7"/>
                <a:gd name="T7" fmla="*/ 1 h 4"/>
                <a:gd name="T8" fmla="*/ 0 w 7"/>
                <a:gd name="T9" fmla="*/ 3 h 4"/>
                <a:gd name="T10" fmla="*/ 1 w 7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4">
                  <a:moveTo>
                    <a:pt x="1" y="4"/>
                  </a:moveTo>
                  <a:cubicBezTo>
                    <a:pt x="2" y="3"/>
                    <a:pt x="3" y="2"/>
                    <a:pt x="4" y="2"/>
                  </a:cubicBezTo>
                  <a:cubicBezTo>
                    <a:pt x="6" y="2"/>
                    <a:pt x="7" y="2"/>
                    <a:pt x="7" y="1"/>
                  </a:cubicBezTo>
                  <a:cubicBezTo>
                    <a:pt x="7" y="0"/>
                    <a:pt x="4" y="0"/>
                    <a:pt x="3" y="1"/>
                  </a:cubicBezTo>
                  <a:cubicBezTo>
                    <a:pt x="2" y="1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7" name="Freeform 143"/>
            <p:cNvSpPr>
              <a:spLocks/>
            </p:cNvSpPr>
            <p:nvPr/>
          </p:nvSpPr>
          <p:spPr bwMode="auto">
            <a:xfrm>
              <a:off x="1859087" y="2992438"/>
              <a:ext cx="57150" cy="9525"/>
            </a:xfrm>
            <a:custGeom>
              <a:avLst/>
              <a:gdLst>
                <a:gd name="T0" fmla="*/ 1 w 6"/>
                <a:gd name="T1" fmla="*/ 1 h 1"/>
                <a:gd name="T2" fmla="*/ 4 w 6"/>
                <a:gd name="T3" fmla="*/ 1 h 1"/>
                <a:gd name="T4" fmla="*/ 5 w 6"/>
                <a:gd name="T5" fmla="*/ 0 h 1"/>
                <a:gd name="T6" fmla="*/ 1 w 6"/>
                <a:gd name="T7" fmla="*/ 0 h 1"/>
                <a:gd name="T8" fmla="*/ 1 w 6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">
                  <a:moveTo>
                    <a:pt x="1" y="1"/>
                  </a:move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6" y="1"/>
                    <a:pt x="5" y="0"/>
                  </a:cubicBezTo>
                  <a:cubicBezTo>
                    <a:pt x="3" y="0"/>
                    <a:pt x="1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8" name="Freeform 144"/>
            <p:cNvSpPr>
              <a:spLocks/>
            </p:cNvSpPr>
            <p:nvPr/>
          </p:nvSpPr>
          <p:spPr bwMode="auto">
            <a:xfrm>
              <a:off x="1601912" y="3021013"/>
              <a:ext cx="438150" cy="428625"/>
            </a:xfrm>
            <a:custGeom>
              <a:avLst/>
              <a:gdLst>
                <a:gd name="T0" fmla="*/ 11 w 46"/>
                <a:gd name="T1" fmla="*/ 31 h 45"/>
                <a:gd name="T2" fmla="*/ 12 w 46"/>
                <a:gd name="T3" fmla="*/ 34 h 45"/>
                <a:gd name="T4" fmla="*/ 5 w 46"/>
                <a:gd name="T5" fmla="*/ 36 h 45"/>
                <a:gd name="T6" fmla="*/ 3 w 46"/>
                <a:gd name="T7" fmla="*/ 39 h 45"/>
                <a:gd name="T8" fmla="*/ 6 w 46"/>
                <a:gd name="T9" fmla="*/ 39 h 45"/>
                <a:gd name="T10" fmla="*/ 10 w 46"/>
                <a:gd name="T11" fmla="*/ 38 h 45"/>
                <a:gd name="T12" fmla="*/ 11 w 46"/>
                <a:gd name="T13" fmla="*/ 38 h 45"/>
                <a:gd name="T14" fmla="*/ 17 w 46"/>
                <a:gd name="T15" fmla="*/ 41 h 45"/>
                <a:gd name="T16" fmla="*/ 19 w 46"/>
                <a:gd name="T17" fmla="*/ 41 h 45"/>
                <a:gd name="T18" fmla="*/ 26 w 46"/>
                <a:gd name="T19" fmla="*/ 44 h 45"/>
                <a:gd name="T20" fmla="*/ 27 w 46"/>
                <a:gd name="T21" fmla="*/ 44 h 45"/>
                <a:gd name="T22" fmla="*/ 30 w 46"/>
                <a:gd name="T23" fmla="*/ 42 h 45"/>
                <a:gd name="T24" fmla="*/ 28 w 46"/>
                <a:gd name="T25" fmla="*/ 36 h 45"/>
                <a:gd name="T26" fmla="*/ 27 w 46"/>
                <a:gd name="T27" fmla="*/ 31 h 45"/>
                <a:gd name="T28" fmla="*/ 32 w 46"/>
                <a:gd name="T29" fmla="*/ 30 h 45"/>
                <a:gd name="T30" fmla="*/ 37 w 46"/>
                <a:gd name="T31" fmla="*/ 29 h 45"/>
                <a:gd name="T32" fmla="*/ 39 w 46"/>
                <a:gd name="T33" fmla="*/ 28 h 45"/>
                <a:gd name="T34" fmla="*/ 41 w 46"/>
                <a:gd name="T35" fmla="*/ 24 h 45"/>
                <a:gd name="T36" fmla="*/ 42 w 46"/>
                <a:gd name="T37" fmla="*/ 21 h 45"/>
                <a:gd name="T38" fmla="*/ 39 w 46"/>
                <a:gd name="T39" fmla="*/ 18 h 45"/>
                <a:gd name="T40" fmla="*/ 41 w 46"/>
                <a:gd name="T41" fmla="*/ 15 h 45"/>
                <a:gd name="T42" fmla="*/ 43 w 46"/>
                <a:gd name="T43" fmla="*/ 12 h 45"/>
                <a:gd name="T44" fmla="*/ 45 w 46"/>
                <a:gd name="T45" fmla="*/ 7 h 45"/>
                <a:gd name="T46" fmla="*/ 45 w 46"/>
                <a:gd name="T47" fmla="*/ 4 h 45"/>
                <a:gd name="T48" fmla="*/ 38 w 46"/>
                <a:gd name="T49" fmla="*/ 0 h 45"/>
                <a:gd name="T50" fmla="*/ 25 w 46"/>
                <a:gd name="T51" fmla="*/ 2 h 45"/>
                <a:gd name="T52" fmla="*/ 17 w 46"/>
                <a:gd name="T53" fmla="*/ 8 h 45"/>
                <a:gd name="T54" fmla="*/ 21 w 46"/>
                <a:gd name="T55" fmla="*/ 10 h 45"/>
                <a:gd name="T56" fmla="*/ 25 w 46"/>
                <a:gd name="T57" fmla="*/ 12 h 45"/>
                <a:gd name="T58" fmla="*/ 27 w 46"/>
                <a:gd name="T59" fmla="*/ 17 h 45"/>
                <a:gd name="T60" fmla="*/ 22 w 46"/>
                <a:gd name="T61" fmla="*/ 22 h 45"/>
                <a:gd name="T62" fmla="*/ 17 w 46"/>
                <a:gd name="T63" fmla="*/ 23 h 45"/>
                <a:gd name="T64" fmla="*/ 15 w 46"/>
                <a:gd name="T65" fmla="*/ 19 h 45"/>
                <a:gd name="T66" fmla="*/ 16 w 46"/>
                <a:gd name="T67" fmla="*/ 15 h 45"/>
                <a:gd name="T68" fmla="*/ 15 w 46"/>
                <a:gd name="T69" fmla="*/ 11 h 45"/>
                <a:gd name="T70" fmla="*/ 11 w 46"/>
                <a:gd name="T71" fmla="*/ 12 h 45"/>
                <a:gd name="T72" fmla="*/ 5 w 46"/>
                <a:gd name="T73" fmla="*/ 26 h 45"/>
                <a:gd name="T74" fmla="*/ 7 w 46"/>
                <a:gd name="T75" fmla="*/ 3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6" h="45">
                  <a:moveTo>
                    <a:pt x="7" y="32"/>
                  </a:moveTo>
                  <a:cubicBezTo>
                    <a:pt x="8" y="33"/>
                    <a:pt x="10" y="31"/>
                    <a:pt x="11" y="31"/>
                  </a:cubicBezTo>
                  <a:cubicBezTo>
                    <a:pt x="12" y="32"/>
                    <a:pt x="11" y="32"/>
                    <a:pt x="11" y="33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12" y="34"/>
                    <a:pt x="9" y="34"/>
                    <a:pt x="8" y="34"/>
                  </a:cubicBezTo>
                  <a:cubicBezTo>
                    <a:pt x="6" y="34"/>
                    <a:pt x="6" y="35"/>
                    <a:pt x="5" y="36"/>
                  </a:cubicBezTo>
                  <a:cubicBezTo>
                    <a:pt x="3" y="36"/>
                    <a:pt x="3" y="37"/>
                    <a:pt x="3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4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7" y="38"/>
                    <a:pt x="7" y="38"/>
                    <a:pt x="10" y="38"/>
                  </a:cubicBezTo>
                  <a:cubicBezTo>
                    <a:pt x="10" y="38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4" y="38"/>
                    <a:pt x="16" y="38"/>
                    <a:pt x="17" y="40"/>
                  </a:cubicBezTo>
                  <a:cubicBezTo>
                    <a:pt x="17" y="40"/>
                    <a:pt x="17" y="41"/>
                    <a:pt x="17" y="41"/>
                  </a:cubicBezTo>
                  <a:cubicBezTo>
                    <a:pt x="17" y="42"/>
                    <a:pt x="18" y="42"/>
                    <a:pt x="18" y="42"/>
                  </a:cubicBezTo>
                  <a:cubicBezTo>
                    <a:pt x="19" y="42"/>
                    <a:pt x="19" y="42"/>
                    <a:pt x="19" y="41"/>
                  </a:cubicBezTo>
                  <a:cubicBezTo>
                    <a:pt x="20" y="41"/>
                    <a:pt x="20" y="40"/>
                    <a:pt x="23" y="42"/>
                  </a:cubicBezTo>
                  <a:cubicBezTo>
                    <a:pt x="25" y="43"/>
                    <a:pt x="26" y="43"/>
                    <a:pt x="26" y="44"/>
                  </a:cubicBezTo>
                  <a:cubicBezTo>
                    <a:pt x="26" y="44"/>
                    <a:pt x="27" y="44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8" y="44"/>
                    <a:pt x="29" y="43"/>
                    <a:pt x="29" y="43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1"/>
                    <a:pt x="31" y="40"/>
                    <a:pt x="31" y="39"/>
                  </a:cubicBezTo>
                  <a:cubicBezTo>
                    <a:pt x="31" y="38"/>
                    <a:pt x="29" y="37"/>
                    <a:pt x="28" y="36"/>
                  </a:cubicBezTo>
                  <a:cubicBezTo>
                    <a:pt x="27" y="35"/>
                    <a:pt x="26" y="34"/>
                    <a:pt x="26" y="34"/>
                  </a:cubicBezTo>
                  <a:cubicBezTo>
                    <a:pt x="26" y="33"/>
                    <a:pt x="26" y="32"/>
                    <a:pt x="27" y="31"/>
                  </a:cubicBezTo>
                  <a:cubicBezTo>
                    <a:pt x="27" y="31"/>
                    <a:pt x="27" y="30"/>
                    <a:pt x="28" y="30"/>
                  </a:cubicBezTo>
                  <a:cubicBezTo>
                    <a:pt x="29" y="29"/>
                    <a:pt x="30" y="29"/>
                    <a:pt x="32" y="30"/>
                  </a:cubicBezTo>
                  <a:cubicBezTo>
                    <a:pt x="32" y="30"/>
                    <a:pt x="33" y="30"/>
                    <a:pt x="34" y="30"/>
                  </a:cubicBezTo>
                  <a:cubicBezTo>
                    <a:pt x="35" y="30"/>
                    <a:pt x="36" y="30"/>
                    <a:pt x="37" y="29"/>
                  </a:cubicBezTo>
                  <a:cubicBezTo>
                    <a:pt x="38" y="29"/>
                    <a:pt x="39" y="29"/>
                    <a:pt x="39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8" y="28"/>
                    <a:pt x="38" y="27"/>
                    <a:pt x="39" y="26"/>
                  </a:cubicBezTo>
                  <a:cubicBezTo>
                    <a:pt x="39" y="25"/>
                    <a:pt x="40" y="25"/>
                    <a:pt x="41" y="24"/>
                  </a:cubicBezTo>
                  <a:cubicBezTo>
                    <a:pt x="42" y="23"/>
                    <a:pt x="44" y="22"/>
                    <a:pt x="44" y="22"/>
                  </a:cubicBezTo>
                  <a:cubicBezTo>
                    <a:pt x="43" y="22"/>
                    <a:pt x="43" y="21"/>
                    <a:pt x="42" y="21"/>
                  </a:cubicBezTo>
                  <a:cubicBezTo>
                    <a:pt x="40" y="20"/>
                    <a:pt x="38" y="19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6"/>
                    <a:pt x="38" y="16"/>
                    <a:pt x="40" y="15"/>
                  </a:cubicBezTo>
                  <a:cubicBezTo>
                    <a:pt x="40" y="15"/>
                    <a:pt x="41" y="15"/>
                    <a:pt x="41" y="15"/>
                  </a:cubicBezTo>
                  <a:cubicBezTo>
                    <a:pt x="42" y="14"/>
                    <a:pt x="43" y="14"/>
                    <a:pt x="43" y="14"/>
                  </a:cubicBezTo>
                  <a:cubicBezTo>
                    <a:pt x="43" y="13"/>
                    <a:pt x="43" y="12"/>
                    <a:pt x="43" y="12"/>
                  </a:cubicBezTo>
                  <a:cubicBezTo>
                    <a:pt x="44" y="10"/>
                    <a:pt x="44" y="9"/>
                    <a:pt x="44" y="8"/>
                  </a:cubicBezTo>
                  <a:cubicBezTo>
                    <a:pt x="45" y="8"/>
                    <a:pt x="45" y="7"/>
                    <a:pt x="45" y="7"/>
                  </a:cubicBezTo>
                  <a:cubicBezTo>
                    <a:pt x="46" y="6"/>
                    <a:pt x="46" y="6"/>
                    <a:pt x="46" y="5"/>
                  </a:cubicBezTo>
                  <a:cubicBezTo>
                    <a:pt x="46" y="5"/>
                    <a:pt x="45" y="4"/>
                    <a:pt x="45" y="4"/>
                  </a:cubicBezTo>
                  <a:cubicBezTo>
                    <a:pt x="44" y="5"/>
                    <a:pt x="43" y="3"/>
                    <a:pt x="42" y="2"/>
                  </a:cubicBezTo>
                  <a:cubicBezTo>
                    <a:pt x="40" y="1"/>
                    <a:pt x="40" y="1"/>
                    <a:pt x="38" y="0"/>
                  </a:cubicBezTo>
                  <a:cubicBezTo>
                    <a:pt x="36" y="0"/>
                    <a:pt x="35" y="0"/>
                    <a:pt x="33" y="0"/>
                  </a:cubicBezTo>
                  <a:cubicBezTo>
                    <a:pt x="30" y="0"/>
                    <a:pt x="28" y="1"/>
                    <a:pt x="25" y="2"/>
                  </a:cubicBezTo>
                  <a:cubicBezTo>
                    <a:pt x="23" y="3"/>
                    <a:pt x="21" y="3"/>
                    <a:pt x="20" y="5"/>
                  </a:cubicBezTo>
                  <a:cubicBezTo>
                    <a:pt x="19" y="7"/>
                    <a:pt x="18" y="7"/>
                    <a:pt x="17" y="8"/>
                  </a:cubicBezTo>
                  <a:cubicBezTo>
                    <a:pt x="17" y="9"/>
                    <a:pt x="18" y="8"/>
                    <a:pt x="19" y="8"/>
                  </a:cubicBezTo>
                  <a:cubicBezTo>
                    <a:pt x="20" y="8"/>
                    <a:pt x="20" y="8"/>
                    <a:pt x="21" y="10"/>
                  </a:cubicBezTo>
                  <a:cubicBezTo>
                    <a:pt x="21" y="11"/>
                    <a:pt x="21" y="11"/>
                    <a:pt x="22" y="11"/>
                  </a:cubicBezTo>
                  <a:cubicBezTo>
                    <a:pt x="23" y="11"/>
                    <a:pt x="24" y="11"/>
                    <a:pt x="25" y="12"/>
                  </a:cubicBezTo>
                  <a:cubicBezTo>
                    <a:pt x="25" y="13"/>
                    <a:pt x="24" y="14"/>
                    <a:pt x="24" y="15"/>
                  </a:cubicBezTo>
                  <a:cubicBezTo>
                    <a:pt x="24" y="17"/>
                    <a:pt x="26" y="16"/>
                    <a:pt x="27" y="17"/>
                  </a:cubicBezTo>
                  <a:cubicBezTo>
                    <a:pt x="27" y="18"/>
                    <a:pt x="27" y="19"/>
                    <a:pt x="26" y="20"/>
                  </a:cubicBezTo>
                  <a:cubicBezTo>
                    <a:pt x="25" y="21"/>
                    <a:pt x="24" y="21"/>
                    <a:pt x="22" y="22"/>
                  </a:cubicBezTo>
                  <a:cubicBezTo>
                    <a:pt x="20" y="22"/>
                    <a:pt x="21" y="23"/>
                    <a:pt x="21" y="24"/>
                  </a:cubicBezTo>
                  <a:cubicBezTo>
                    <a:pt x="20" y="24"/>
                    <a:pt x="19" y="23"/>
                    <a:pt x="17" y="23"/>
                  </a:cubicBezTo>
                  <a:cubicBezTo>
                    <a:pt x="15" y="22"/>
                    <a:pt x="14" y="22"/>
                    <a:pt x="14" y="21"/>
                  </a:cubicBezTo>
                  <a:cubicBezTo>
                    <a:pt x="13" y="21"/>
                    <a:pt x="14" y="20"/>
                    <a:pt x="15" y="19"/>
                  </a:cubicBezTo>
                  <a:cubicBezTo>
                    <a:pt x="15" y="18"/>
                    <a:pt x="15" y="18"/>
                    <a:pt x="15" y="17"/>
                  </a:cubicBezTo>
                  <a:cubicBezTo>
                    <a:pt x="14" y="16"/>
                    <a:pt x="15" y="15"/>
                    <a:pt x="16" y="15"/>
                  </a:cubicBezTo>
                  <a:cubicBezTo>
                    <a:pt x="17" y="15"/>
                    <a:pt x="18" y="14"/>
                    <a:pt x="17" y="13"/>
                  </a:cubicBezTo>
                  <a:cubicBezTo>
                    <a:pt x="16" y="12"/>
                    <a:pt x="15" y="12"/>
                    <a:pt x="15" y="11"/>
                  </a:cubicBezTo>
                  <a:cubicBezTo>
                    <a:pt x="15" y="10"/>
                    <a:pt x="16" y="9"/>
                    <a:pt x="14" y="10"/>
                  </a:cubicBezTo>
                  <a:cubicBezTo>
                    <a:pt x="11" y="10"/>
                    <a:pt x="11" y="10"/>
                    <a:pt x="11" y="12"/>
                  </a:cubicBezTo>
                  <a:cubicBezTo>
                    <a:pt x="10" y="13"/>
                    <a:pt x="9" y="16"/>
                    <a:pt x="8" y="19"/>
                  </a:cubicBezTo>
                  <a:cubicBezTo>
                    <a:pt x="7" y="22"/>
                    <a:pt x="6" y="24"/>
                    <a:pt x="5" y="26"/>
                  </a:cubicBezTo>
                  <a:cubicBezTo>
                    <a:pt x="4" y="27"/>
                    <a:pt x="2" y="29"/>
                    <a:pt x="1" y="30"/>
                  </a:cubicBezTo>
                  <a:cubicBezTo>
                    <a:pt x="0" y="31"/>
                    <a:pt x="5" y="32"/>
                    <a:pt x="7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69" name="Freeform 145"/>
            <p:cNvSpPr>
              <a:spLocks/>
            </p:cNvSpPr>
            <p:nvPr/>
          </p:nvSpPr>
          <p:spPr bwMode="auto">
            <a:xfrm>
              <a:off x="1763837" y="3182938"/>
              <a:ext cx="76200" cy="38100"/>
            </a:xfrm>
            <a:custGeom>
              <a:avLst/>
              <a:gdLst>
                <a:gd name="T0" fmla="*/ 2 w 8"/>
                <a:gd name="T1" fmla="*/ 4 h 4"/>
                <a:gd name="T2" fmla="*/ 7 w 8"/>
                <a:gd name="T3" fmla="*/ 2 h 4"/>
                <a:gd name="T4" fmla="*/ 6 w 8"/>
                <a:gd name="T5" fmla="*/ 1 h 4"/>
                <a:gd name="T6" fmla="*/ 4 w 8"/>
                <a:gd name="T7" fmla="*/ 0 h 4"/>
                <a:gd name="T8" fmla="*/ 2 w 8"/>
                <a:gd name="T9" fmla="*/ 1 h 4"/>
                <a:gd name="T10" fmla="*/ 0 w 8"/>
                <a:gd name="T11" fmla="*/ 3 h 4"/>
                <a:gd name="T12" fmla="*/ 2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2" y="4"/>
                  </a:moveTo>
                  <a:cubicBezTo>
                    <a:pt x="3" y="4"/>
                    <a:pt x="5" y="3"/>
                    <a:pt x="7" y="2"/>
                  </a:cubicBezTo>
                  <a:cubicBezTo>
                    <a:pt x="8" y="1"/>
                    <a:pt x="6" y="1"/>
                    <a:pt x="6" y="1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4"/>
                    <a:pt x="1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170" name="Freeform 147"/>
          <p:cNvSpPr>
            <a:spLocks/>
          </p:cNvSpPr>
          <p:nvPr/>
        </p:nvSpPr>
        <p:spPr bwMode="auto">
          <a:xfrm>
            <a:off x="3049712" y="2668588"/>
            <a:ext cx="76200" cy="57150"/>
          </a:xfrm>
          <a:custGeom>
            <a:avLst/>
            <a:gdLst>
              <a:gd name="T0" fmla="*/ 1 w 8"/>
              <a:gd name="T1" fmla="*/ 4 h 6"/>
              <a:gd name="T2" fmla="*/ 5 w 8"/>
              <a:gd name="T3" fmla="*/ 6 h 6"/>
              <a:gd name="T4" fmla="*/ 7 w 8"/>
              <a:gd name="T5" fmla="*/ 5 h 6"/>
              <a:gd name="T6" fmla="*/ 7 w 8"/>
              <a:gd name="T7" fmla="*/ 2 h 6"/>
              <a:gd name="T8" fmla="*/ 2 w 8"/>
              <a:gd name="T9" fmla="*/ 1 h 6"/>
              <a:gd name="T10" fmla="*/ 1 w 8"/>
              <a:gd name="T1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6">
                <a:moveTo>
                  <a:pt x="1" y="4"/>
                </a:moveTo>
                <a:cubicBezTo>
                  <a:pt x="2" y="5"/>
                  <a:pt x="3" y="5"/>
                  <a:pt x="5" y="6"/>
                </a:cubicBezTo>
                <a:cubicBezTo>
                  <a:pt x="6" y="6"/>
                  <a:pt x="6" y="6"/>
                  <a:pt x="7" y="5"/>
                </a:cubicBezTo>
                <a:cubicBezTo>
                  <a:pt x="7" y="3"/>
                  <a:pt x="8" y="3"/>
                  <a:pt x="7" y="2"/>
                </a:cubicBezTo>
                <a:cubicBezTo>
                  <a:pt x="5" y="1"/>
                  <a:pt x="4" y="0"/>
                  <a:pt x="2" y="1"/>
                </a:cubicBezTo>
                <a:cubicBezTo>
                  <a:pt x="1" y="3"/>
                  <a:pt x="0" y="3"/>
                  <a:pt x="1" y="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171" name="Gruppieren 170"/>
          <p:cNvGrpSpPr/>
          <p:nvPr/>
        </p:nvGrpSpPr>
        <p:grpSpPr>
          <a:xfrm>
            <a:off x="2144837" y="2182813"/>
            <a:ext cx="800100" cy="685800"/>
            <a:chOff x="2144837" y="2182813"/>
            <a:chExt cx="800100" cy="685800"/>
          </a:xfrm>
          <a:solidFill>
            <a:schemeClr val="tx2"/>
          </a:solidFill>
        </p:grpSpPr>
        <p:sp>
          <p:nvSpPr>
            <p:cNvPr id="172" name="Freeform 135"/>
            <p:cNvSpPr>
              <a:spLocks/>
            </p:cNvSpPr>
            <p:nvPr/>
          </p:nvSpPr>
          <p:spPr bwMode="auto">
            <a:xfrm>
              <a:off x="2849687" y="2782888"/>
              <a:ext cx="95250" cy="85725"/>
            </a:xfrm>
            <a:custGeom>
              <a:avLst/>
              <a:gdLst>
                <a:gd name="T0" fmla="*/ 5 w 10"/>
                <a:gd name="T1" fmla="*/ 7 h 9"/>
                <a:gd name="T2" fmla="*/ 9 w 10"/>
                <a:gd name="T3" fmla="*/ 7 h 9"/>
                <a:gd name="T4" fmla="*/ 8 w 10"/>
                <a:gd name="T5" fmla="*/ 4 h 9"/>
                <a:gd name="T6" fmla="*/ 8 w 10"/>
                <a:gd name="T7" fmla="*/ 2 h 9"/>
                <a:gd name="T8" fmla="*/ 5 w 10"/>
                <a:gd name="T9" fmla="*/ 0 h 9"/>
                <a:gd name="T10" fmla="*/ 2 w 10"/>
                <a:gd name="T11" fmla="*/ 2 h 9"/>
                <a:gd name="T12" fmla="*/ 2 w 10"/>
                <a:gd name="T13" fmla="*/ 5 h 9"/>
                <a:gd name="T14" fmla="*/ 5 w 10"/>
                <a:gd name="T1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9">
                  <a:moveTo>
                    <a:pt x="5" y="7"/>
                  </a:moveTo>
                  <a:cubicBezTo>
                    <a:pt x="7" y="7"/>
                    <a:pt x="9" y="9"/>
                    <a:pt x="9" y="7"/>
                  </a:cubicBezTo>
                  <a:cubicBezTo>
                    <a:pt x="10" y="5"/>
                    <a:pt x="7" y="6"/>
                    <a:pt x="8" y="4"/>
                  </a:cubicBezTo>
                  <a:cubicBezTo>
                    <a:pt x="9" y="3"/>
                    <a:pt x="9" y="2"/>
                    <a:pt x="8" y="2"/>
                  </a:cubicBezTo>
                  <a:cubicBezTo>
                    <a:pt x="8" y="2"/>
                    <a:pt x="8" y="0"/>
                    <a:pt x="5" y="0"/>
                  </a:cubicBezTo>
                  <a:cubicBezTo>
                    <a:pt x="4" y="0"/>
                    <a:pt x="2" y="1"/>
                    <a:pt x="2" y="2"/>
                  </a:cubicBezTo>
                  <a:cubicBezTo>
                    <a:pt x="1" y="2"/>
                    <a:pt x="0" y="4"/>
                    <a:pt x="2" y="5"/>
                  </a:cubicBezTo>
                  <a:cubicBezTo>
                    <a:pt x="3" y="6"/>
                    <a:pt x="3" y="7"/>
                    <a:pt x="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3" name="Freeform 146"/>
            <p:cNvSpPr>
              <a:spLocks/>
            </p:cNvSpPr>
            <p:nvPr/>
          </p:nvSpPr>
          <p:spPr bwMode="auto">
            <a:xfrm>
              <a:off x="2382962" y="2601913"/>
              <a:ext cx="152400" cy="114300"/>
            </a:xfrm>
            <a:custGeom>
              <a:avLst/>
              <a:gdLst>
                <a:gd name="T0" fmla="*/ 10 w 16"/>
                <a:gd name="T1" fmla="*/ 1 h 12"/>
                <a:gd name="T2" fmla="*/ 5 w 16"/>
                <a:gd name="T3" fmla="*/ 2 h 12"/>
                <a:gd name="T4" fmla="*/ 1 w 16"/>
                <a:gd name="T5" fmla="*/ 3 h 12"/>
                <a:gd name="T6" fmla="*/ 3 w 16"/>
                <a:gd name="T7" fmla="*/ 6 h 12"/>
                <a:gd name="T8" fmla="*/ 4 w 16"/>
                <a:gd name="T9" fmla="*/ 9 h 12"/>
                <a:gd name="T10" fmla="*/ 8 w 16"/>
                <a:gd name="T11" fmla="*/ 11 h 12"/>
                <a:gd name="T12" fmla="*/ 13 w 16"/>
                <a:gd name="T13" fmla="*/ 11 h 12"/>
                <a:gd name="T14" fmla="*/ 16 w 16"/>
                <a:gd name="T15" fmla="*/ 8 h 12"/>
                <a:gd name="T16" fmla="*/ 14 w 16"/>
                <a:gd name="T17" fmla="*/ 5 h 12"/>
                <a:gd name="T18" fmla="*/ 11 w 16"/>
                <a:gd name="T19" fmla="*/ 4 h 12"/>
                <a:gd name="T20" fmla="*/ 10 w 16"/>
                <a:gd name="T21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12">
                  <a:moveTo>
                    <a:pt x="10" y="1"/>
                  </a:moveTo>
                  <a:cubicBezTo>
                    <a:pt x="8" y="0"/>
                    <a:pt x="7" y="1"/>
                    <a:pt x="5" y="2"/>
                  </a:cubicBezTo>
                  <a:cubicBezTo>
                    <a:pt x="4" y="2"/>
                    <a:pt x="2" y="2"/>
                    <a:pt x="1" y="3"/>
                  </a:cubicBezTo>
                  <a:cubicBezTo>
                    <a:pt x="0" y="4"/>
                    <a:pt x="2" y="5"/>
                    <a:pt x="3" y="6"/>
                  </a:cubicBezTo>
                  <a:cubicBezTo>
                    <a:pt x="4" y="7"/>
                    <a:pt x="3" y="8"/>
                    <a:pt x="4" y="9"/>
                  </a:cubicBezTo>
                  <a:cubicBezTo>
                    <a:pt x="5" y="9"/>
                    <a:pt x="7" y="10"/>
                    <a:pt x="8" y="11"/>
                  </a:cubicBezTo>
                  <a:cubicBezTo>
                    <a:pt x="9" y="12"/>
                    <a:pt x="12" y="12"/>
                    <a:pt x="13" y="11"/>
                  </a:cubicBezTo>
                  <a:cubicBezTo>
                    <a:pt x="14" y="11"/>
                    <a:pt x="16" y="10"/>
                    <a:pt x="16" y="8"/>
                  </a:cubicBezTo>
                  <a:cubicBezTo>
                    <a:pt x="16" y="7"/>
                    <a:pt x="15" y="6"/>
                    <a:pt x="14" y="5"/>
                  </a:cubicBezTo>
                  <a:cubicBezTo>
                    <a:pt x="12" y="3"/>
                    <a:pt x="12" y="5"/>
                    <a:pt x="11" y="4"/>
                  </a:cubicBezTo>
                  <a:cubicBezTo>
                    <a:pt x="9" y="3"/>
                    <a:pt x="11" y="3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4" name="Freeform 148"/>
            <p:cNvSpPr>
              <a:spLocks/>
            </p:cNvSpPr>
            <p:nvPr/>
          </p:nvSpPr>
          <p:spPr bwMode="auto">
            <a:xfrm>
              <a:off x="2144837" y="2335213"/>
              <a:ext cx="409575" cy="428625"/>
            </a:xfrm>
            <a:custGeom>
              <a:avLst/>
              <a:gdLst>
                <a:gd name="T0" fmla="*/ 5 w 43"/>
                <a:gd name="T1" fmla="*/ 32 h 45"/>
                <a:gd name="T2" fmla="*/ 5 w 43"/>
                <a:gd name="T3" fmla="*/ 29 h 45"/>
                <a:gd name="T4" fmla="*/ 8 w 43"/>
                <a:gd name="T5" fmla="*/ 31 h 45"/>
                <a:gd name="T6" fmla="*/ 10 w 43"/>
                <a:gd name="T7" fmla="*/ 34 h 45"/>
                <a:gd name="T8" fmla="*/ 8 w 43"/>
                <a:gd name="T9" fmla="*/ 37 h 45"/>
                <a:gd name="T10" fmla="*/ 9 w 43"/>
                <a:gd name="T11" fmla="*/ 39 h 45"/>
                <a:gd name="T12" fmla="*/ 8 w 43"/>
                <a:gd name="T13" fmla="*/ 40 h 45"/>
                <a:gd name="T14" fmla="*/ 11 w 43"/>
                <a:gd name="T15" fmla="*/ 41 h 45"/>
                <a:gd name="T16" fmla="*/ 15 w 43"/>
                <a:gd name="T17" fmla="*/ 43 h 45"/>
                <a:gd name="T18" fmla="*/ 22 w 43"/>
                <a:gd name="T19" fmla="*/ 44 h 45"/>
                <a:gd name="T20" fmla="*/ 25 w 43"/>
                <a:gd name="T21" fmla="*/ 45 h 45"/>
                <a:gd name="T22" fmla="*/ 24 w 43"/>
                <a:gd name="T23" fmla="*/ 43 h 45"/>
                <a:gd name="T24" fmla="*/ 25 w 43"/>
                <a:gd name="T25" fmla="*/ 41 h 45"/>
                <a:gd name="T26" fmla="*/ 21 w 43"/>
                <a:gd name="T27" fmla="*/ 39 h 45"/>
                <a:gd name="T28" fmla="*/ 24 w 43"/>
                <a:gd name="T29" fmla="*/ 37 h 45"/>
                <a:gd name="T30" fmla="*/ 23 w 43"/>
                <a:gd name="T31" fmla="*/ 30 h 45"/>
                <a:gd name="T32" fmla="*/ 25 w 43"/>
                <a:gd name="T33" fmla="*/ 29 h 45"/>
                <a:gd name="T34" fmla="*/ 24 w 43"/>
                <a:gd name="T35" fmla="*/ 26 h 45"/>
                <a:gd name="T36" fmla="*/ 29 w 43"/>
                <a:gd name="T37" fmla="*/ 26 h 45"/>
                <a:gd name="T38" fmla="*/ 29 w 43"/>
                <a:gd name="T39" fmla="*/ 24 h 45"/>
                <a:gd name="T40" fmla="*/ 32 w 43"/>
                <a:gd name="T41" fmla="*/ 23 h 45"/>
                <a:gd name="T42" fmla="*/ 31 w 43"/>
                <a:gd name="T43" fmla="*/ 21 h 45"/>
                <a:gd name="T44" fmla="*/ 33 w 43"/>
                <a:gd name="T45" fmla="*/ 19 h 45"/>
                <a:gd name="T46" fmla="*/ 34 w 43"/>
                <a:gd name="T47" fmla="*/ 15 h 45"/>
                <a:gd name="T48" fmla="*/ 37 w 43"/>
                <a:gd name="T49" fmla="*/ 15 h 45"/>
                <a:gd name="T50" fmla="*/ 37 w 43"/>
                <a:gd name="T51" fmla="*/ 18 h 45"/>
                <a:gd name="T52" fmla="*/ 41 w 43"/>
                <a:gd name="T53" fmla="*/ 15 h 45"/>
                <a:gd name="T54" fmla="*/ 43 w 43"/>
                <a:gd name="T55" fmla="*/ 11 h 45"/>
                <a:gd name="T56" fmla="*/ 39 w 43"/>
                <a:gd name="T57" fmla="*/ 11 h 45"/>
                <a:gd name="T58" fmla="*/ 35 w 43"/>
                <a:gd name="T59" fmla="*/ 9 h 45"/>
                <a:gd name="T60" fmla="*/ 32 w 43"/>
                <a:gd name="T61" fmla="*/ 11 h 45"/>
                <a:gd name="T62" fmla="*/ 31 w 43"/>
                <a:gd name="T63" fmla="*/ 11 h 45"/>
                <a:gd name="T64" fmla="*/ 33 w 43"/>
                <a:gd name="T65" fmla="*/ 7 h 45"/>
                <a:gd name="T66" fmla="*/ 30 w 43"/>
                <a:gd name="T67" fmla="*/ 7 h 45"/>
                <a:gd name="T68" fmla="*/ 27 w 43"/>
                <a:gd name="T69" fmla="*/ 8 h 45"/>
                <a:gd name="T70" fmla="*/ 29 w 43"/>
                <a:gd name="T71" fmla="*/ 6 h 45"/>
                <a:gd name="T72" fmla="*/ 33 w 43"/>
                <a:gd name="T73" fmla="*/ 5 h 45"/>
                <a:gd name="T74" fmla="*/ 32 w 43"/>
                <a:gd name="T75" fmla="*/ 3 h 45"/>
                <a:gd name="T76" fmla="*/ 32 w 43"/>
                <a:gd name="T77" fmla="*/ 0 h 45"/>
                <a:gd name="T78" fmla="*/ 28 w 43"/>
                <a:gd name="T79" fmla="*/ 0 h 45"/>
                <a:gd name="T80" fmla="*/ 24 w 43"/>
                <a:gd name="T81" fmla="*/ 0 h 45"/>
                <a:gd name="T82" fmla="*/ 19 w 43"/>
                <a:gd name="T83" fmla="*/ 1 h 45"/>
                <a:gd name="T84" fmla="*/ 18 w 43"/>
                <a:gd name="T85" fmla="*/ 5 h 45"/>
                <a:gd name="T86" fmla="*/ 19 w 43"/>
                <a:gd name="T87" fmla="*/ 6 h 45"/>
                <a:gd name="T88" fmla="*/ 19 w 43"/>
                <a:gd name="T89" fmla="*/ 9 h 45"/>
                <a:gd name="T90" fmla="*/ 16 w 43"/>
                <a:gd name="T91" fmla="*/ 9 h 45"/>
                <a:gd name="T92" fmla="*/ 16 w 43"/>
                <a:gd name="T93" fmla="*/ 7 h 45"/>
                <a:gd name="T94" fmla="*/ 14 w 43"/>
                <a:gd name="T95" fmla="*/ 5 h 45"/>
                <a:gd name="T96" fmla="*/ 13 w 43"/>
                <a:gd name="T97" fmla="*/ 6 h 45"/>
                <a:gd name="T98" fmla="*/ 11 w 43"/>
                <a:gd name="T99" fmla="*/ 8 h 45"/>
                <a:gd name="T100" fmla="*/ 11 w 43"/>
                <a:gd name="T101" fmla="*/ 10 h 45"/>
                <a:gd name="T102" fmla="*/ 10 w 43"/>
                <a:gd name="T103" fmla="*/ 10 h 45"/>
                <a:gd name="T104" fmla="*/ 7 w 43"/>
                <a:gd name="T105" fmla="*/ 9 h 45"/>
                <a:gd name="T106" fmla="*/ 3 w 43"/>
                <a:gd name="T107" fmla="*/ 8 h 45"/>
                <a:gd name="T108" fmla="*/ 2 w 43"/>
                <a:gd name="T109" fmla="*/ 11 h 45"/>
                <a:gd name="T110" fmla="*/ 2 w 43"/>
                <a:gd name="T111" fmla="*/ 17 h 45"/>
                <a:gd name="T112" fmla="*/ 4 w 43"/>
                <a:gd name="T113" fmla="*/ 19 h 45"/>
                <a:gd name="T114" fmla="*/ 5 w 43"/>
                <a:gd name="T115" fmla="*/ 21 h 45"/>
                <a:gd name="T116" fmla="*/ 2 w 43"/>
                <a:gd name="T117" fmla="*/ 20 h 45"/>
                <a:gd name="T118" fmla="*/ 3 w 43"/>
                <a:gd name="T119" fmla="*/ 26 h 45"/>
                <a:gd name="T120" fmla="*/ 1 w 43"/>
                <a:gd name="T121" fmla="*/ 29 h 45"/>
                <a:gd name="T122" fmla="*/ 5 w 43"/>
                <a:gd name="T123" fmla="*/ 3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" h="45">
                  <a:moveTo>
                    <a:pt x="5" y="32"/>
                  </a:moveTo>
                  <a:cubicBezTo>
                    <a:pt x="6" y="32"/>
                    <a:pt x="5" y="31"/>
                    <a:pt x="5" y="29"/>
                  </a:cubicBezTo>
                  <a:cubicBezTo>
                    <a:pt x="5" y="28"/>
                    <a:pt x="8" y="31"/>
                    <a:pt x="8" y="31"/>
                  </a:cubicBezTo>
                  <a:cubicBezTo>
                    <a:pt x="9" y="32"/>
                    <a:pt x="9" y="33"/>
                    <a:pt x="10" y="34"/>
                  </a:cubicBezTo>
                  <a:cubicBezTo>
                    <a:pt x="10" y="36"/>
                    <a:pt x="9" y="36"/>
                    <a:pt x="8" y="37"/>
                  </a:cubicBezTo>
                  <a:cubicBezTo>
                    <a:pt x="8" y="39"/>
                    <a:pt x="9" y="38"/>
                    <a:pt x="9" y="39"/>
                  </a:cubicBezTo>
                  <a:cubicBezTo>
                    <a:pt x="9" y="39"/>
                    <a:pt x="8" y="39"/>
                    <a:pt x="8" y="40"/>
                  </a:cubicBezTo>
                  <a:cubicBezTo>
                    <a:pt x="9" y="40"/>
                    <a:pt x="11" y="41"/>
                    <a:pt x="11" y="41"/>
                  </a:cubicBezTo>
                  <a:cubicBezTo>
                    <a:pt x="12" y="42"/>
                    <a:pt x="14" y="42"/>
                    <a:pt x="15" y="43"/>
                  </a:cubicBezTo>
                  <a:cubicBezTo>
                    <a:pt x="17" y="43"/>
                    <a:pt x="20" y="44"/>
                    <a:pt x="22" y="44"/>
                  </a:cubicBezTo>
                  <a:cubicBezTo>
                    <a:pt x="23" y="44"/>
                    <a:pt x="24" y="45"/>
                    <a:pt x="25" y="45"/>
                  </a:cubicBezTo>
                  <a:cubicBezTo>
                    <a:pt x="24" y="44"/>
                    <a:pt x="24" y="44"/>
                    <a:pt x="24" y="43"/>
                  </a:cubicBezTo>
                  <a:cubicBezTo>
                    <a:pt x="24" y="42"/>
                    <a:pt x="25" y="42"/>
                    <a:pt x="25" y="41"/>
                  </a:cubicBezTo>
                  <a:cubicBezTo>
                    <a:pt x="24" y="40"/>
                    <a:pt x="21" y="40"/>
                    <a:pt x="21" y="39"/>
                  </a:cubicBezTo>
                  <a:cubicBezTo>
                    <a:pt x="21" y="39"/>
                    <a:pt x="23" y="38"/>
                    <a:pt x="24" y="37"/>
                  </a:cubicBezTo>
                  <a:cubicBezTo>
                    <a:pt x="26" y="35"/>
                    <a:pt x="23" y="31"/>
                    <a:pt x="23" y="30"/>
                  </a:cubicBezTo>
                  <a:cubicBezTo>
                    <a:pt x="24" y="29"/>
                    <a:pt x="25" y="29"/>
                    <a:pt x="25" y="29"/>
                  </a:cubicBezTo>
                  <a:cubicBezTo>
                    <a:pt x="25" y="28"/>
                    <a:pt x="24" y="27"/>
                    <a:pt x="24" y="26"/>
                  </a:cubicBezTo>
                  <a:cubicBezTo>
                    <a:pt x="25" y="26"/>
                    <a:pt x="28" y="27"/>
                    <a:pt x="29" y="26"/>
                  </a:cubicBezTo>
                  <a:cubicBezTo>
                    <a:pt x="30" y="26"/>
                    <a:pt x="29" y="25"/>
                    <a:pt x="29" y="24"/>
                  </a:cubicBezTo>
                  <a:cubicBezTo>
                    <a:pt x="29" y="22"/>
                    <a:pt x="31" y="24"/>
                    <a:pt x="32" y="23"/>
                  </a:cubicBezTo>
                  <a:cubicBezTo>
                    <a:pt x="33" y="23"/>
                    <a:pt x="31" y="23"/>
                    <a:pt x="31" y="21"/>
                  </a:cubicBezTo>
                  <a:cubicBezTo>
                    <a:pt x="31" y="20"/>
                    <a:pt x="32" y="20"/>
                    <a:pt x="33" y="19"/>
                  </a:cubicBezTo>
                  <a:cubicBezTo>
                    <a:pt x="34" y="17"/>
                    <a:pt x="34" y="15"/>
                    <a:pt x="34" y="15"/>
                  </a:cubicBezTo>
                  <a:cubicBezTo>
                    <a:pt x="35" y="14"/>
                    <a:pt x="36" y="14"/>
                    <a:pt x="37" y="15"/>
                  </a:cubicBezTo>
                  <a:cubicBezTo>
                    <a:pt x="38" y="16"/>
                    <a:pt x="36" y="17"/>
                    <a:pt x="37" y="18"/>
                  </a:cubicBezTo>
                  <a:cubicBezTo>
                    <a:pt x="38" y="18"/>
                    <a:pt x="39" y="17"/>
                    <a:pt x="41" y="15"/>
                  </a:cubicBezTo>
                  <a:cubicBezTo>
                    <a:pt x="42" y="13"/>
                    <a:pt x="43" y="13"/>
                    <a:pt x="43" y="11"/>
                  </a:cubicBezTo>
                  <a:cubicBezTo>
                    <a:pt x="43" y="10"/>
                    <a:pt x="40" y="11"/>
                    <a:pt x="39" y="11"/>
                  </a:cubicBezTo>
                  <a:cubicBezTo>
                    <a:pt x="38" y="11"/>
                    <a:pt x="36" y="9"/>
                    <a:pt x="35" y="9"/>
                  </a:cubicBezTo>
                  <a:cubicBezTo>
                    <a:pt x="33" y="9"/>
                    <a:pt x="33" y="11"/>
                    <a:pt x="32" y="11"/>
                  </a:cubicBezTo>
                  <a:cubicBezTo>
                    <a:pt x="31" y="12"/>
                    <a:pt x="31" y="11"/>
                    <a:pt x="31" y="11"/>
                  </a:cubicBezTo>
                  <a:cubicBezTo>
                    <a:pt x="31" y="11"/>
                    <a:pt x="33" y="8"/>
                    <a:pt x="33" y="7"/>
                  </a:cubicBezTo>
                  <a:cubicBezTo>
                    <a:pt x="34" y="6"/>
                    <a:pt x="31" y="7"/>
                    <a:pt x="30" y="7"/>
                  </a:cubicBezTo>
                  <a:cubicBezTo>
                    <a:pt x="29" y="7"/>
                    <a:pt x="27" y="8"/>
                    <a:pt x="27" y="8"/>
                  </a:cubicBezTo>
                  <a:cubicBezTo>
                    <a:pt x="26" y="7"/>
                    <a:pt x="28" y="6"/>
                    <a:pt x="29" y="6"/>
                  </a:cubicBezTo>
                  <a:cubicBezTo>
                    <a:pt x="30" y="5"/>
                    <a:pt x="33" y="6"/>
                    <a:pt x="33" y="5"/>
                  </a:cubicBezTo>
                  <a:cubicBezTo>
                    <a:pt x="33" y="4"/>
                    <a:pt x="33" y="4"/>
                    <a:pt x="32" y="3"/>
                  </a:cubicBezTo>
                  <a:cubicBezTo>
                    <a:pt x="32" y="1"/>
                    <a:pt x="33" y="1"/>
                    <a:pt x="32" y="0"/>
                  </a:cubicBezTo>
                  <a:cubicBezTo>
                    <a:pt x="32" y="0"/>
                    <a:pt x="30" y="0"/>
                    <a:pt x="28" y="0"/>
                  </a:cubicBezTo>
                  <a:cubicBezTo>
                    <a:pt x="26" y="0"/>
                    <a:pt x="26" y="0"/>
                    <a:pt x="24" y="0"/>
                  </a:cubicBezTo>
                  <a:cubicBezTo>
                    <a:pt x="23" y="1"/>
                    <a:pt x="20" y="1"/>
                    <a:pt x="19" y="1"/>
                  </a:cubicBezTo>
                  <a:cubicBezTo>
                    <a:pt x="18" y="2"/>
                    <a:pt x="18" y="4"/>
                    <a:pt x="18" y="5"/>
                  </a:cubicBezTo>
                  <a:cubicBezTo>
                    <a:pt x="17" y="6"/>
                    <a:pt x="19" y="6"/>
                    <a:pt x="19" y="6"/>
                  </a:cubicBezTo>
                  <a:cubicBezTo>
                    <a:pt x="20" y="7"/>
                    <a:pt x="20" y="9"/>
                    <a:pt x="19" y="9"/>
                  </a:cubicBezTo>
                  <a:cubicBezTo>
                    <a:pt x="19" y="10"/>
                    <a:pt x="17" y="9"/>
                    <a:pt x="16" y="9"/>
                  </a:cubicBezTo>
                  <a:cubicBezTo>
                    <a:pt x="15" y="8"/>
                    <a:pt x="15" y="8"/>
                    <a:pt x="16" y="7"/>
                  </a:cubicBezTo>
                  <a:cubicBezTo>
                    <a:pt x="16" y="5"/>
                    <a:pt x="15" y="5"/>
                    <a:pt x="14" y="5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9"/>
                    <a:pt x="11" y="9"/>
                    <a:pt x="11" y="10"/>
                  </a:cubicBezTo>
                  <a:cubicBezTo>
                    <a:pt x="11" y="12"/>
                    <a:pt x="11" y="10"/>
                    <a:pt x="10" y="10"/>
                  </a:cubicBezTo>
                  <a:cubicBezTo>
                    <a:pt x="9" y="10"/>
                    <a:pt x="8" y="10"/>
                    <a:pt x="7" y="9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3" y="12"/>
                    <a:pt x="2" y="15"/>
                    <a:pt x="2" y="17"/>
                  </a:cubicBezTo>
                  <a:cubicBezTo>
                    <a:pt x="3" y="18"/>
                    <a:pt x="3" y="18"/>
                    <a:pt x="4" y="19"/>
                  </a:cubicBezTo>
                  <a:cubicBezTo>
                    <a:pt x="5" y="20"/>
                    <a:pt x="6" y="21"/>
                    <a:pt x="5" y="21"/>
                  </a:cubicBezTo>
                  <a:cubicBezTo>
                    <a:pt x="4" y="22"/>
                    <a:pt x="2" y="20"/>
                    <a:pt x="2" y="20"/>
                  </a:cubicBezTo>
                  <a:cubicBezTo>
                    <a:pt x="2" y="21"/>
                    <a:pt x="3" y="24"/>
                    <a:pt x="3" y="26"/>
                  </a:cubicBezTo>
                  <a:cubicBezTo>
                    <a:pt x="4" y="28"/>
                    <a:pt x="2" y="28"/>
                    <a:pt x="1" y="29"/>
                  </a:cubicBezTo>
                  <a:cubicBezTo>
                    <a:pt x="0" y="31"/>
                    <a:pt x="4" y="31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5" name="Freeform 149"/>
            <p:cNvSpPr>
              <a:spLocks/>
            </p:cNvSpPr>
            <p:nvPr/>
          </p:nvSpPr>
          <p:spPr bwMode="auto">
            <a:xfrm>
              <a:off x="2544887" y="2506663"/>
              <a:ext cx="228600" cy="228600"/>
            </a:xfrm>
            <a:custGeom>
              <a:avLst/>
              <a:gdLst>
                <a:gd name="T0" fmla="*/ 1 w 24"/>
                <a:gd name="T1" fmla="*/ 9 h 24"/>
                <a:gd name="T2" fmla="*/ 3 w 24"/>
                <a:gd name="T3" fmla="*/ 12 h 24"/>
                <a:gd name="T4" fmla="*/ 4 w 24"/>
                <a:gd name="T5" fmla="*/ 15 h 24"/>
                <a:gd name="T6" fmla="*/ 3 w 24"/>
                <a:gd name="T7" fmla="*/ 17 h 24"/>
                <a:gd name="T8" fmla="*/ 8 w 24"/>
                <a:gd name="T9" fmla="*/ 19 h 24"/>
                <a:gd name="T10" fmla="*/ 12 w 24"/>
                <a:gd name="T11" fmla="*/ 20 h 24"/>
                <a:gd name="T12" fmla="*/ 11 w 24"/>
                <a:gd name="T13" fmla="*/ 21 h 24"/>
                <a:gd name="T14" fmla="*/ 15 w 24"/>
                <a:gd name="T15" fmla="*/ 23 h 24"/>
                <a:gd name="T16" fmla="*/ 17 w 24"/>
                <a:gd name="T17" fmla="*/ 22 h 24"/>
                <a:gd name="T18" fmla="*/ 16 w 24"/>
                <a:gd name="T19" fmla="*/ 19 h 24"/>
                <a:gd name="T20" fmla="*/ 21 w 24"/>
                <a:gd name="T21" fmla="*/ 18 h 24"/>
                <a:gd name="T22" fmla="*/ 22 w 24"/>
                <a:gd name="T23" fmla="*/ 16 h 24"/>
                <a:gd name="T24" fmla="*/ 18 w 24"/>
                <a:gd name="T25" fmla="*/ 13 h 24"/>
                <a:gd name="T26" fmla="*/ 22 w 24"/>
                <a:gd name="T27" fmla="*/ 11 h 24"/>
                <a:gd name="T28" fmla="*/ 24 w 24"/>
                <a:gd name="T29" fmla="*/ 8 h 24"/>
                <a:gd name="T30" fmla="*/ 23 w 24"/>
                <a:gd name="T31" fmla="*/ 4 h 24"/>
                <a:gd name="T32" fmla="*/ 22 w 24"/>
                <a:gd name="T33" fmla="*/ 1 h 24"/>
                <a:gd name="T34" fmla="*/ 16 w 24"/>
                <a:gd name="T35" fmla="*/ 2 h 24"/>
                <a:gd name="T36" fmla="*/ 17 w 24"/>
                <a:gd name="T37" fmla="*/ 6 h 24"/>
                <a:gd name="T38" fmla="*/ 16 w 24"/>
                <a:gd name="T39" fmla="*/ 9 h 24"/>
                <a:gd name="T40" fmla="*/ 13 w 24"/>
                <a:gd name="T41" fmla="*/ 8 h 24"/>
                <a:gd name="T42" fmla="*/ 14 w 24"/>
                <a:gd name="T43" fmla="*/ 6 h 24"/>
                <a:gd name="T44" fmla="*/ 11 w 24"/>
                <a:gd name="T45" fmla="*/ 7 h 24"/>
                <a:gd name="T46" fmla="*/ 10 w 24"/>
                <a:gd name="T47" fmla="*/ 3 h 24"/>
                <a:gd name="T48" fmla="*/ 7 w 24"/>
                <a:gd name="T49" fmla="*/ 7 h 24"/>
                <a:gd name="T50" fmla="*/ 3 w 24"/>
                <a:gd name="T51" fmla="*/ 8 h 24"/>
                <a:gd name="T52" fmla="*/ 1 w 24"/>
                <a:gd name="T5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24">
                  <a:moveTo>
                    <a:pt x="1" y="9"/>
                  </a:moveTo>
                  <a:cubicBezTo>
                    <a:pt x="2" y="10"/>
                    <a:pt x="3" y="10"/>
                    <a:pt x="3" y="12"/>
                  </a:cubicBezTo>
                  <a:cubicBezTo>
                    <a:pt x="4" y="13"/>
                    <a:pt x="5" y="14"/>
                    <a:pt x="4" y="15"/>
                  </a:cubicBezTo>
                  <a:cubicBezTo>
                    <a:pt x="3" y="15"/>
                    <a:pt x="0" y="15"/>
                    <a:pt x="3" y="17"/>
                  </a:cubicBezTo>
                  <a:cubicBezTo>
                    <a:pt x="6" y="18"/>
                    <a:pt x="7" y="18"/>
                    <a:pt x="8" y="19"/>
                  </a:cubicBezTo>
                  <a:cubicBezTo>
                    <a:pt x="10" y="19"/>
                    <a:pt x="12" y="19"/>
                    <a:pt x="12" y="20"/>
                  </a:cubicBezTo>
                  <a:cubicBezTo>
                    <a:pt x="12" y="20"/>
                    <a:pt x="10" y="20"/>
                    <a:pt x="11" y="21"/>
                  </a:cubicBezTo>
                  <a:cubicBezTo>
                    <a:pt x="12" y="22"/>
                    <a:pt x="13" y="22"/>
                    <a:pt x="15" y="23"/>
                  </a:cubicBezTo>
                  <a:cubicBezTo>
                    <a:pt x="16" y="24"/>
                    <a:pt x="17" y="24"/>
                    <a:pt x="17" y="22"/>
                  </a:cubicBezTo>
                  <a:cubicBezTo>
                    <a:pt x="17" y="21"/>
                    <a:pt x="14" y="21"/>
                    <a:pt x="16" y="19"/>
                  </a:cubicBezTo>
                  <a:cubicBezTo>
                    <a:pt x="17" y="18"/>
                    <a:pt x="19" y="18"/>
                    <a:pt x="21" y="18"/>
                  </a:cubicBezTo>
                  <a:cubicBezTo>
                    <a:pt x="23" y="17"/>
                    <a:pt x="24" y="17"/>
                    <a:pt x="22" y="16"/>
                  </a:cubicBezTo>
                  <a:cubicBezTo>
                    <a:pt x="21" y="14"/>
                    <a:pt x="16" y="15"/>
                    <a:pt x="18" y="13"/>
                  </a:cubicBezTo>
                  <a:cubicBezTo>
                    <a:pt x="20" y="11"/>
                    <a:pt x="21" y="11"/>
                    <a:pt x="22" y="11"/>
                  </a:cubicBezTo>
                  <a:cubicBezTo>
                    <a:pt x="23" y="11"/>
                    <a:pt x="24" y="9"/>
                    <a:pt x="24" y="8"/>
                  </a:cubicBezTo>
                  <a:cubicBezTo>
                    <a:pt x="24" y="7"/>
                    <a:pt x="22" y="6"/>
                    <a:pt x="23" y="4"/>
                  </a:cubicBezTo>
                  <a:cubicBezTo>
                    <a:pt x="24" y="2"/>
                    <a:pt x="23" y="1"/>
                    <a:pt x="22" y="1"/>
                  </a:cubicBezTo>
                  <a:cubicBezTo>
                    <a:pt x="20" y="1"/>
                    <a:pt x="16" y="0"/>
                    <a:pt x="16" y="2"/>
                  </a:cubicBezTo>
                  <a:cubicBezTo>
                    <a:pt x="16" y="3"/>
                    <a:pt x="16" y="5"/>
                    <a:pt x="17" y="6"/>
                  </a:cubicBezTo>
                  <a:cubicBezTo>
                    <a:pt x="17" y="7"/>
                    <a:pt x="17" y="9"/>
                    <a:pt x="16" y="9"/>
                  </a:cubicBezTo>
                  <a:cubicBezTo>
                    <a:pt x="15" y="9"/>
                    <a:pt x="13" y="9"/>
                    <a:pt x="13" y="8"/>
                  </a:cubicBezTo>
                  <a:cubicBezTo>
                    <a:pt x="14" y="8"/>
                    <a:pt x="15" y="6"/>
                    <a:pt x="14" y="6"/>
                  </a:cubicBezTo>
                  <a:cubicBezTo>
                    <a:pt x="12" y="7"/>
                    <a:pt x="11" y="9"/>
                    <a:pt x="11" y="7"/>
                  </a:cubicBezTo>
                  <a:cubicBezTo>
                    <a:pt x="11" y="5"/>
                    <a:pt x="11" y="2"/>
                    <a:pt x="10" y="3"/>
                  </a:cubicBezTo>
                  <a:cubicBezTo>
                    <a:pt x="9" y="5"/>
                    <a:pt x="8" y="5"/>
                    <a:pt x="7" y="7"/>
                  </a:cubicBezTo>
                  <a:cubicBezTo>
                    <a:pt x="5" y="8"/>
                    <a:pt x="5" y="8"/>
                    <a:pt x="3" y="8"/>
                  </a:cubicBezTo>
                  <a:cubicBezTo>
                    <a:pt x="2" y="8"/>
                    <a:pt x="0" y="8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6" name="Freeform 150"/>
            <p:cNvSpPr>
              <a:spLocks/>
            </p:cNvSpPr>
            <p:nvPr/>
          </p:nvSpPr>
          <p:spPr bwMode="auto">
            <a:xfrm>
              <a:off x="2182937" y="2182813"/>
              <a:ext cx="323850" cy="219075"/>
            </a:xfrm>
            <a:custGeom>
              <a:avLst/>
              <a:gdLst>
                <a:gd name="T0" fmla="*/ 3 w 34"/>
                <a:gd name="T1" fmla="*/ 22 h 23"/>
                <a:gd name="T2" fmla="*/ 6 w 34"/>
                <a:gd name="T3" fmla="*/ 19 h 23"/>
                <a:gd name="T4" fmla="*/ 10 w 34"/>
                <a:gd name="T5" fmla="*/ 17 h 23"/>
                <a:gd name="T6" fmla="*/ 12 w 34"/>
                <a:gd name="T7" fmla="*/ 15 h 23"/>
                <a:gd name="T8" fmla="*/ 15 w 34"/>
                <a:gd name="T9" fmla="*/ 15 h 23"/>
                <a:gd name="T10" fmla="*/ 19 w 34"/>
                <a:gd name="T11" fmla="*/ 15 h 23"/>
                <a:gd name="T12" fmla="*/ 22 w 34"/>
                <a:gd name="T13" fmla="*/ 13 h 23"/>
                <a:gd name="T14" fmla="*/ 28 w 34"/>
                <a:gd name="T15" fmla="*/ 14 h 23"/>
                <a:gd name="T16" fmla="*/ 31 w 34"/>
                <a:gd name="T17" fmla="*/ 13 h 23"/>
                <a:gd name="T18" fmla="*/ 33 w 34"/>
                <a:gd name="T19" fmla="*/ 8 h 23"/>
                <a:gd name="T20" fmla="*/ 31 w 34"/>
                <a:gd name="T21" fmla="*/ 4 h 23"/>
                <a:gd name="T22" fmla="*/ 34 w 34"/>
                <a:gd name="T23" fmla="*/ 1 h 23"/>
                <a:gd name="T24" fmla="*/ 28 w 34"/>
                <a:gd name="T25" fmla="*/ 3 h 23"/>
                <a:gd name="T26" fmla="*/ 23 w 34"/>
                <a:gd name="T27" fmla="*/ 6 h 23"/>
                <a:gd name="T28" fmla="*/ 20 w 34"/>
                <a:gd name="T29" fmla="*/ 10 h 23"/>
                <a:gd name="T30" fmla="*/ 17 w 34"/>
                <a:gd name="T31" fmla="*/ 12 h 23"/>
                <a:gd name="T32" fmla="*/ 11 w 34"/>
                <a:gd name="T33" fmla="*/ 13 h 23"/>
                <a:gd name="T34" fmla="*/ 6 w 34"/>
                <a:gd name="T35" fmla="*/ 13 h 23"/>
                <a:gd name="T36" fmla="*/ 2 w 34"/>
                <a:gd name="T37" fmla="*/ 16 h 23"/>
                <a:gd name="T38" fmla="*/ 0 w 34"/>
                <a:gd name="T39" fmla="*/ 21 h 23"/>
                <a:gd name="T40" fmla="*/ 3 w 34"/>
                <a:gd name="T4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4" h="23">
                  <a:moveTo>
                    <a:pt x="3" y="22"/>
                  </a:moveTo>
                  <a:cubicBezTo>
                    <a:pt x="4" y="20"/>
                    <a:pt x="4" y="20"/>
                    <a:pt x="6" y="19"/>
                  </a:cubicBezTo>
                  <a:cubicBezTo>
                    <a:pt x="8" y="18"/>
                    <a:pt x="8" y="17"/>
                    <a:pt x="10" y="17"/>
                  </a:cubicBezTo>
                  <a:cubicBezTo>
                    <a:pt x="11" y="16"/>
                    <a:pt x="10" y="15"/>
                    <a:pt x="12" y="15"/>
                  </a:cubicBezTo>
                  <a:cubicBezTo>
                    <a:pt x="14" y="15"/>
                    <a:pt x="14" y="15"/>
                    <a:pt x="15" y="15"/>
                  </a:cubicBezTo>
                  <a:cubicBezTo>
                    <a:pt x="17" y="15"/>
                    <a:pt x="17" y="15"/>
                    <a:pt x="19" y="15"/>
                  </a:cubicBezTo>
                  <a:cubicBezTo>
                    <a:pt x="20" y="14"/>
                    <a:pt x="20" y="13"/>
                    <a:pt x="22" y="13"/>
                  </a:cubicBezTo>
                  <a:cubicBezTo>
                    <a:pt x="24" y="13"/>
                    <a:pt x="25" y="14"/>
                    <a:pt x="28" y="14"/>
                  </a:cubicBezTo>
                  <a:cubicBezTo>
                    <a:pt x="30" y="14"/>
                    <a:pt x="30" y="15"/>
                    <a:pt x="31" y="13"/>
                  </a:cubicBezTo>
                  <a:cubicBezTo>
                    <a:pt x="32" y="11"/>
                    <a:pt x="33" y="10"/>
                    <a:pt x="33" y="8"/>
                  </a:cubicBezTo>
                  <a:cubicBezTo>
                    <a:pt x="32" y="6"/>
                    <a:pt x="29" y="6"/>
                    <a:pt x="31" y="4"/>
                  </a:cubicBezTo>
                  <a:cubicBezTo>
                    <a:pt x="33" y="3"/>
                    <a:pt x="34" y="2"/>
                    <a:pt x="34" y="1"/>
                  </a:cubicBezTo>
                  <a:cubicBezTo>
                    <a:pt x="34" y="0"/>
                    <a:pt x="29" y="1"/>
                    <a:pt x="28" y="3"/>
                  </a:cubicBezTo>
                  <a:cubicBezTo>
                    <a:pt x="27" y="4"/>
                    <a:pt x="24" y="5"/>
                    <a:pt x="23" y="6"/>
                  </a:cubicBezTo>
                  <a:cubicBezTo>
                    <a:pt x="21" y="7"/>
                    <a:pt x="21" y="9"/>
                    <a:pt x="20" y="10"/>
                  </a:cubicBezTo>
                  <a:cubicBezTo>
                    <a:pt x="19" y="11"/>
                    <a:pt x="19" y="12"/>
                    <a:pt x="17" y="12"/>
                  </a:cubicBezTo>
                  <a:cubicBezTo>
                    <a:pt x="15" y="12"/>
                    <a:pt x="14" y="13"/>
                    <a:pt x="11" y="13"/>
                  </a:cubicBezTo>
                  <a:cubicBezTo>
                    <a:pt x="8" y="12"/>
                    <a:pt x="8" y="13"/>
                    <a:pt x="6" y="13"/>
                  </a:cubicBezTo>
                  <a:cubicBezTo>
                    <a:pt x="4" y="13"/>
                    <a:pt x="3" y="14"/>
                    <a:pt x="2" y="16"/>
                  </a:cubicBezTo>
                  <a:cubicBezTo>
                    <a:pt x="1" y="18"/>
                    <a:pt x="1" y="19"/>
                    <a:pt x="0" y="21"/>
                  </a:cubicBezTo>
                  <a:cubicBezTo>
                    <a:pt x="0" y="22"/>
                    <a:pt x="1" y="23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7" name="Freeform 151"/>
            <p:cNvSpPr>
              <a:spLocks/>
            </p:cNvSpPr>
            <p:nvPr/>
          </p:nvSpPr>
          <p:spPr bwMode="auto">
            <a:xfrm>
              <a:off x="2554412" y="2744788"/>
              <a:ext cx="114300" cy="57150"/>
            </a:xfrm>
            <a:custGeom>
              <a:avLst/>
              <a:gdLst>
                <a:gd name="T0" fmla="*/ 8 w 12"/>
                <a:gd name="T1" fmla="*/ 1 h 6"/>
                <a:gd name="T2" fmla="*/ 4 w 12"/>
                <a:gd name="T3" fmla="*/ 0 h 6"/>
                <a:gd name="T4" fmla="*/ 1 w 12"/>
                <a:gd name="T5" fmla="*/ 3 h 6"/>
                <a:gd name="T6" fmla="*/ 5 w 12"/>
                <a:gd name="T7" fmla="*/ 5 h 6"/>
                <a:gd name="T8" fmla="*/ 10 w 12"/>
                <a:gd name="T9" fmla="*/ 5 h 6"/>
                <a:gd name="T10" fmla="*/ 12 w 12"/>
                <a:gd name="T11" fmla="*/ 2 h 6"/>
                <a:gd name="T12" fmla="*/ 8 w 12"/>
                <a:gd name="T13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">
                  <a:moveTo>
                    <a:pt x="8" y="1"/>
                  </a:moveTo>
                  <a:cubicBezTo>
                    <a:pt x="6" y="1"/>
                    <a:pt x="7" y="0"/>
                    <a:pt x="4" y="0"/>
                  </a:cubicBezTo>
                  <a:cubicBezTo>
                    <a:pt x="1" y="0"/>
                    <a:pt x="0" y="2"/>
                    <a:pt x="1" y="3"/>
                  </a:cubicBezTo>
                  <a:cubicBezTo>
                    <a:pt x="2" y="4"/>
                    <a:pt x="3" y="3"/>
                    <a:pt x="5" y="5"/>
                  </a:cubicBezTo>
                  <a:cubicBezTo>
                    <a:pt x="6" y="6"/>
                    <a:pt x="8" y="5"/>
                    <a:pt x="10" y="5"/>
                  </a:cubicBezTo>
                  <a:cubicBezTo>
                    <a:pt x="12" y="4"/>
                    <a:pt x="12" y="3"/>
                    <a:pt x="12" y="2"/>
                  </a:cubicBezTo>
                  <a:cubicBezTo>
                    <a:pt x="11" y="1"/>
                    <a:pt x="10" y="2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78" name="Freeform 152"/>
            <p:cNvSpPr>
              <a:spLocks/>
            </p:cNvSpPr>
            <p:nvPr/>
          </p:nvSpPr>
          <p:spPr bwMode="auto">
            <a:xfrm>
              <a:off x="2687762" y="2754313"/>
              <a:ext cx="38100" cy="57150"/>
            </a:xfrm>
            <a:custGeom>
              <a:avLst/>
              <a:gdLst>
                <a:gd name="T0" fmla="*/ 0 w 4"/>
                <a:gd name="T1" fmla="*/ 4 h 6"/>
                <a:gd name="T2" fmla="*/ 2 w 4"/>
                <a:gd name="T3" fmla="*/ 6 h 6"/>
                <a:gd name="T4" fmla="*/ 4 w 4"/>
                <a:gd name="T5" fmla="*/ 3 h 6"/>
                <a:gd name="T6" fmla="*/ 2 w 4"/>
                <a:gd name="T7" fmla="*/ 0 h 6"/>
                <a:gd name="T8" fmla="*/ 0 w 4"/>
                <a:gd name="T9" fmla="*/ 1 h 6"/>
                <a:gd name="T10" fmla="*/ 0 w 4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cubicBezTo>
                    <a:pt x="1" y="5"/>
                    <a:pt x="0" y="6"/>
                    <a:pt x="2" y="6"/>
                  </a:cubicBezTo>
                  <a:cubicBezTo>
                    <a:pt x="3" y="6"/>
                    <a:pt x="3" y="4"/>
                    <a:pt x="4" y="3"/>
                  </a:cubicBezTo>
                  <a:cubicBezTo>
                    <a:pt x="4" y="1"/>
                    <a:pt x="4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179" name="Freeform 153"/>
          <p:cNvSpPr>
            <a:spLocks/>
          </p:cNvSpPr>
          <p:nvPr/>
        </p:nvSpPr>
        <p:spPr bwMode="auto">
          <a:xfrm>
            <a:off x="2963987" y="2754313"/>
            <a:ext cx="1381125" cy="1076325"/>
          </a:xfrm>
          <a:custGeom>
            <a:avLst/>
            <a:gdLst>
              <a:gd name="T0" fmla="*/ 9 w 145"/>
              <a:gd name="T1" fmla="*/ 24 h 113"/>
              <a:gd name="T2" fmla="*/ 7 w 145"/>
              <a:gd name="T3" fmla="*/ 33 h 113"/>
              <a:gd name="T4" fmla="*/ 6 w 145"/>
              <a:gd name="T5" fmla="*/ 37 h 113"/>
              <a:gd name="T6" fmla="*/ 10 w 145"/>
              <a:gd name="T7" fmla="*/ 44 h 113"/>
              <a:gd name="T8" fmla="*/ 10 w 145"/>
              <a:gd name="T9" fmla="*/ 48 h 113"/>
              <a:gd name="T10" fmla="*/ 11 w 145"/>
              <a:gd name="T11" fmla="*/ 55 h 113"/>
              <a:gd name="T12" fmla="*/ 11 w 145"/>
              <a:gd name="T13" fmla="*/ 57 h 113"/>
              <a:gd name="T14" fmla="*/ 10 w 145"/>
              <a:gd name="T15" fmla="*/ 61 h 113"/>
              <a:gd name="T16" fmla="*/ 12 w 145"/>
              <a:gd name="T17" fmla="*/ 63 h 113"/>
              <a:gd name="T18" fmla="*/ 16 w 145"/>
              <a:gd name="T19" fmla="*/ 67 h 113"/>
              <a:gd name="T20" fmla="*/ 17 w 145"/>
              <a:gd name="T21" fmla="*/ 74 h 113"/>
              <a:gd name="T22" fmla="*/ 19 w 145"/>
              <a:gd name="T23" fmla="*/ 77 h 113"/>
              <a:gd name="T24" fmla="*/ 31 w 145"/>
              <a:gd name="T25" fmla="*/ 81 h 113"/>
              <a:gd name="T26" fmla="*/ 36 w 145"/>
              <a:gd name="T27" fmla="*/ 84 h 113"/>
              <a:gd name="T28" fmla="*/ 34 w 145"/>
              <a:gd name="T29" fmla="*/ 87 h 113"/>
              <a:gd name="T30" fmla="*/ 37 w 145"/>
              <a:gd name="T31" fmla="*/ 91 h 113"/>
              <a:gd name="T32" fmla="*/ 43 w 145"/>
              <a:gd name="T33" fmla="*/ 89 h 113"/>
              <a:gd name="T34" fmla="*/ 42 w 145"/>
              <a:gd name="T35" fmla="*/ 87 h 113"/>
              <a:gd name="T36" fmla="*/ 47 w 145"/>
              <a:gd name="T37" fmla="*/ 86 h 113"/>
              <a:gd name="T38" fmla="*/ 54 w 145"/>
              <a:gd name="T39" fmla="*/ 91 h 113"/>
              <a:gd name="T40" fmla="*/ 56 w 145"/>
              <a:gd name="T41" fmla="*/ 95 h 113"/>
              <a:gd name="T42" fmla="*/ 59 w 145"/>
              <a:gd name="T43" fmla="*/ 93 h 113"/>
              <a:gd name="T44" fmla="*/ 70 w 145"/>
              <a:gd name="T45" fmla="*/ 100 h 113"/>
              <a:gd name="T46" fmla="*/ 75 w 145"/>
              <a:gd name="T47" fmla="*/ 105 h 113"/>
              <a:gd name="T48" fmla="*/ 81 w 145"/>
              <a:gd name="T49" fmla="*/ 103 h 113"/>
              <a:gd name="T50" fmla="*/ 82 w 145"/>
              <a:gd name="T51" fmla="*/ 105 h 113"/>
              <a:gd name="T52" fmla="*/ 85 w 145"/>
              <a:gd name="T53" fmla="*/ 107 h 113"/>
              <a:gd name="T54" fmla="*/ 90 w 145"/>
              <a:gd name="T55" fmla="*/ 106 h 113"/>
              <a:gd name="T56" fmla="*/ 101 w 145"/>
              <a:gd name="T57" fmla="*/ 106 h 113"/>
              <a:gd name="T58" fmla="*/ 109 w 145"/>
              <a:gd name="T59" fmla="*/ 105 h 113"/>
              <a:gd name="T60" fmla="*/ 118 w 145"/>
              <a:gd name="T61" fmla="*/ 109 h 113"/>
              <a:gd name="T62" fmla="*/ 126 w 145"/>
              <a:gd name="T63" fmla="*/ 112 h 113"/>
              <a:gd name="T64" fmla="*/ 127 w 145"/>
              <a:gd name="T65" fmla="*/ 111 h 113"/>
              <a:gd name="T66" fmla="*/ 126 w 145"/>
              <a:gd name="T67" fmla="*/ 101 h 113"/>
              <a:gd name="T68" fmla="*/ 140 w 145"/>
              <a:gd name="T69" fmla="*/ 88 h 113"/>
              <a:gd name="T70" fmla="*/ 144 w 145"/>
              <a:gd name="T71" fmla="*/ 83 h 113"/>
              <a:gd name="T72" fmla="*/ 143 w 145"/>
              <a:gd name="T73" fmla="*/ 78 h 113"/>
              <a:gd name="T74" fmla="*/ 144 w 145"/>
              <a:gd name="T75" fmla="*/ 76 h 113"/>
              <a:gd name="T76" fmla="*/ 137 w 145"/>
              <a:gd name="T77" fmla="*/ 63 h 113"/>
              <a:gd name="T78" fmla="*/ 137 w 145"/>
              <a:gd name="T79" fmla="*/ 55 h 113"/>
              <a:gd name="T80" fmla="*/ 132 w 145"/>
              <a:gd name="T81" fmla="*/ 50 h 113"/>
              <a:gd name="T82" fmla="*/ 142 w 145"/>
              <a:gd name="T83" fmla="*/ 35 h 113"/>
              <a:gd name="T84" fmla="*/ 138 w 145"/>
              <a:gd name="T85" fmla="*/ 22 h 113"/>
              <a:gd name="T86" fmla="*/ 135 w 145"/>
              <a:gd name="T87" fmla="*/ 13 h 113"/>
              <a:gd name="T88" fmla="*/ 127 w 145"/>
              <a:gd name="T89" fmla="*/ 10 h 113"/>
              <a:gd name="T90" fmla="*/ 97 w 145"/>
              <a:gd name="T91" fmla="*/ 11 h 113"/>
              <a:gd name="T92" fmla="*/ 85 w 145"/>
              <a:gd name="T93" fmla="*/ 8 h 113"/>
              <a:gd name="T94" fmla="*/ 78 w 145"/>
              <a:gd name="T95" fmla="*/ 10 h 113"/>
              <a:gd name="T96" fmla="*/ 74 w 145"/>
              <a:gd name="T97" fmla="*/ 10 h 113"/>
              <a:gd name="T98" fmla="*/ 70 w 145"/>
              <a:gd name="T99" fmla="*/ 4 h 113"/>
              <a:gd name="T100" fmla="*/ 44 w 145"/>
              <a:gd name="T101" fmla="*/ 4 h 113"/>
              <a:gd name="T102" fmla="*/ 23 w 145"/>
              <a:gd name="T103" fmla="*/ 13 h 113"/>
              <a:gd name="T104" fmla="*/ 2 w 145"/>
              <a:gd name="T105" fmla="*/ 2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5" h="113">
                <a:moveTo>
                  <a:pt x="2" y="20"/>
                </a:moveTo>
                <a:cubicBezTo>
                  <a:pt x="3" y="20"/>
                  <a:pt x="8" y="20"/>
                  <a:pt x="9" y="20"/>
                </a:cubicBezTo>
                <a:cubicBezTo>
                  <a:pt x="10" y="20"/>
                  <a:pt x="9" y="23"/>
                  <a:pt x="9" y="24"/>
                </a:cubicBezTo>
                <a:cubicBezTo>
                  <a:pt x="9" y="25"/>
                  <a:pt x="7" y="24"/>
                  <a:pt x="5" y="23"/>
                </a:cubicBezTo>
                <a:cubicBezTo>
                  <a:pt x="6" y="26"/>
                  <a:pt x="6" y="29"/>
                  <a:pt x="6" y="29"/>
                </a:cubicBezTo>
                <a:cubicBezTo>
                  <a:pt x="6" y="29"/>
                  <a:pt x="7" y="31"/>
                  <a:pt x="7" y="33"/>
                </a:cubicBezTo>
                <a:cubicBezTo>
                  <a:pt x="7" y="34"/>
                  <a:pt x="7" y="35"/>
                  <a:pt x="7" y="35"/>
                </a:cubicBezTo>
                <a:cubicBezTo>
                  <a:pt x="7" y="35"/>
                  <a:pt x="7" y="35"/>
                  <a:pt x="7" y="35"/>
                </a:cubicBezTo>
                <a:cubicBezTo>
                  <a:pt x="7" y="36"/>
                  <a:pt x="7" y="36"/>
                  <a:pt x="6" y="37"/>
                </a:cubicBezTo>
                <a:cubicBezTo>
                  <a:pt x="5" y="38"/>
                  <a:pt x="4" y="39"/>
                  <a:pt x="4" y="39"/>
                </a:cubicBezTo>
                <a:cubicBezTo>
                  <a:pt x="4" y="39"/>
                  <a:pt x="8" y="42"/>
                  <a:pt x="9" y="43"/>
                </a:cubicBezTo>
                <a:cubicBezTo>
                  <a:pt x="10" y="43"/>
                  <a:pt x="10" y="44"/>
                  <a:pt x="10" y="44"/>
                </a:cubicBezTo>
                <a:cubicBezTo>
                  <a:pt x="11" y="45"/>
                  <a:pt x="11" y="46"/>
                  <a:pt x="10" y="47"/>
                </a:cubicBezTo>
                <a:cubicBezTo>
                  <a:pt x="10" y="47"/>
                  <a:pt x="10" y="47"/>
                  <a:pt x="10" y="47"/>
                </a:cubicBezTo>
                <a:cubicBezTo>
                  <a:pt x="10" y="47"/>
                  <a:pt x="10" y="48"/>
                  <a:pt x="10" y="48"/>
                </a:cubicBezTo>
                <a:cubicBezTo>
                  <a:pt x="9" y="49"/>
                  <a:pt x="10" y="49"/>
                  <a:pt x="10" y="50"/>
                </a:cubicBezTo>
                <a:cubicBezTo>
                  <a:pt x="11" y="50"/>
                  <a:pt x="11" y="50"/>
                  <a:pt x="11" y="51"/>
                </a:cubicBezTo>
                <a:cubicBezTo>
                  <a:pt x="12" y="52"/>
                  <a:pt x="11" y="54"/>
                  <a:pt x="11" y="55"/>
                </a:cubicBezTo>
                <a:cubicBezTo>
                  <a:pt x="11" y="55"/>
                  <a:pt x="11" y="55"/>
                  <a:pt x="11" y="55"/>
                </a:cubicBezTo>
                <a:cubicBezTo>
                  <a:pt x="11" y="55"/>
                  <a:pt x="11" y="55"/>
                  <a:pt x="11" y="55"/>
                </a:cubicBezTo>
                <a:cubicBezTo>
                  <a:pt x="11" y="56"/>
                  <a:pt x="11" y="56"/>
                  <a:pt x="11" y="57"/>
                </a:cubicBezTo>
                <a:cubicBezTo>
                  <a:pt x="10" y="58"/>
                  <a:pt x="10" y="59"/>
                  <a:pt x="10" y="60"/>
                </a:cubicBezTo>
                <a:cubicBezTo>
                  <a:pt x="9" y="60"/>
                  <a:pt x="10" y="60"/>
                  <a:pt x="10" y="61"/>
                </a:cubicBezTo>
                <a:cubicBezTo>
                  <a:pt x="10" y="61"/>
                  <a:pt x="10" y="61"/>
                  <a:pt x="10" y="61"/>
                </a:cubicBezTo>
                <a:cubicBezTo>
                  <a:pt x="10" y="61"/>
                  <a:pt x="10" y="61"/>
                  <a:pt x="10" y="61"/>
                </a:cubicBezTo>
                <a:cubicBezTo>
                  <a:pt x="11" y="61"/>
                  <a:pt x="11" y="61"/>
                  <a:pt x="11" y="61"/>
                </a:cubicBezTo>
                <a:cubicBezTo>
                  <a:pt x="12" y="62"/>
                  <a:pt x="12" y="62"/>
                  <a:pt x="12" y="63"/>
                </a:cubicBezTo>
                <a:cubicBezTo>
                  <a:pt x="12" y="63"/>
                  <a:pt x="12" y="64"/>
                  <a:pt x="12" y="65"/>
                </a:cubicBezTo>
                <a:cubicBezTo>
                  <a:pt x="12" y="65"/>
                  <a:pt x="13" y="65"/>
                  <a:pt x="14" y="66"/>
                </a:cubicBezTo>
                <a:cubicBezTo>
                  <a:pt x="14" y="66"/>
                  <a:pt x="15" y="67"/>
                  <a:pt x="16" y="67"/>
                </a:cubicBezTo>
                <a:cubicBezTo>
                  <a:pt x="16" y="68"/>
                  <a:pt x="16" y="69"/>
                  <a:pt x="16" y="71"/>
                </a:cubicBezTo>
                <a:cubicBezTo>
                  <a:pt x="16" y="71"/>
                  <a:pt x="16" y="72"/>
                  <a:pt x="15" y="72"/>
                </a:cubicBezTo>
                <a:cubicBezTo>
                  <a:pt x="16" y="73"/>
                  <a:pt x="17" y="73"/>
                  <a:pt x="17" y="74"/>
                </a:cubicBezTo>
                <a:cubicBezTo>
                  <a:pt x="17" y="74"/>
                  <a:pt x="17" y="74"/>
                  <a:pt x="17" y="74"/>
                </a:cubicBezTo>
                <a:cubicBezTo>
                  <a:pt x="17" y="74"/>
                  <a:pt x="18" y="74"/>
                  <a:pt x="18" y="75"/>
                </a:cubicBezTo>
                <a:cubicBezTo>
                  <a:pt x="18" y="75"/>
                  <a:pt x="19" y="76"/>
                  <a:pt x="19" y="77"/>
                </a:cubicBezTo>
                <a:cubicBezTo>
                  <a:pt x="20" y="78"/>
                  <a:pt x="20" y="78"/>
                  <a:pt x="21" y="79"/>
                </a:cubicBezTo>
                <a:cubicBezTo>
                  <a:pt x="21" y="79"/>
                  <a:pt x="21" y="79"/>
                  <a:pt x="22" y="79"/>
                </a:cubicBezTo>
                <a:cubicBezTo>
                  <a:pt x="22" y="79"/>
                  <a:pt x="27" y="80"/>
                  <a:pt x="31" y="81"/>
                </a:cubicBezTo>
                <a:cubicBezTo>
                  <a:pt x="32" y="81"/>
                  <a:pt x="34" y="81"/>
                  <a:pt x="34" y="81"/>
                </a:cubicBezTo>
                <a:cubicBezTo>
                  <a:pt x="36" y="82"/>
                  <a:pt x="36" y="82"/>
                  <a:pt x="36" y="83"/>
                </a:cubicBezTo>
                <a:cubicBezTo>
                  <a:pt x="36" y="83"/>
                  <a:pt x="36" y="83"/>
                  <a:pt x="36" y="84"/>
                </a:cubicBezTo>
                <a:cubicBezTo>
                  <a:pt x="36" y="84"/>
                  <a:pt x="36" y="84"/>
                  <a:pt x="36" y="84"/>
                </a:cubicBezTo>
                <a:cubicBezTo>
                  <a:pt x="36" y="85"/>
                  <a:pt x="35" y="86"/>
                  <a:pt x="35" y="86"/>
                </a:cubicBezTo>
                <a:cubicBezTo>
                  <a:pt x="34" y="86"/>
                  <a:pt x="34" y="87"/>
                  <a:pt x="34" y="87"/>
                </a:cubicBezTo>
                <a:cubicBezTo>
                  <a:pt x="34" y="87"/>
                  <a:pt x="34" y="88"/>
                  <a:pt x="35" y="89"/>
                </a:cubicBezTo>
                <a:cubicBezTo>
                  <a:pt x="36" y="90"/>
                  <a:pt x="37" y="91"/>
                  <a:pt x="37" y="91"/>
                </a:cubicBezTo>
                <a:cubicBezTo>
                  <a:pt x="37" y="91"/>
                  <a:pt x="37" y="91"/>
                  <a:pt x="37" y="91"/>
                </a:cubicBezTo>
                <a:cubicBezTo>
                  <a:pt x="37" y="91"/>
                  <a:pt x="37" y="91"/>
                  <a:pt x="37" y="91"/>
                </a:cubicBezTo>
                <a:cubicBezTo>
                  <a:pt x="38" y="91"/>
                  <a:pt x="40" y="90"/>
                  <a:pt x="41" y="90"/>
                </a:cubicBezTo>
                <a:cubicBezTo>
                  <a:pt x="42" y="89"/>
                  <a:pt x="42" y="89"/>
                  <a:pt x="43" y="89"/>
                </a:cubicBezTo>
                <a:cubicBezTo>
                  <a:pt x="43" y="89"/>
                  <a:pt x="43" y="89"/>
                  <a:pt x="43" y="89"/>
                </a:cubicBezTo>
                <a:cubicBezTo>
                  <a:pt x="43" y="89"/>
                  <a:pt x="43" y="89"/>
                  <a:pt x="43" y="88"/>
                </a:cubicBezTo>
                <a:cubicBezTo>
                  <a:pt x="42" y="88"/>
                  <a:pt x="42" y="87"/>
                  <a:pt x="42" y="87"/>
                </a:cubicBezTo>
                <a:cubicBezTo>
                  <a:pt x="42" y="87"/>
                  <a:pt x="42" y="87"/>
                  <a:pt x="42" y="86"/>
                </a:cubicBezTo>
                <a:cubicBezTo>
                  <a:pt x="42" y="86"/>
                  <a:pt x="43" y="86"/>
                  <a:pt x="44" y="86"/>
                </a:cubicBezTo>
                <a:cubicBezTo>
                  <a:pt x="45" y="86"/>
                  <a:pt x="46" y="86"/>
                  <a:pt x="47" y="86"/>
                </a:cubicBezTo>
                <a:cubicBezTo>
                  <a:pt x="50" y="87"/>
                  <a:pt x="54" y="88"/>
                  <a:pt x="54" y="88"/>
                </a:cubicBezTo>
                <a:cubicBezTo>
                  <a:pt x="54" y="88"/>
                  <a:pt x="54" y="88"/>
                  <a:pt x="54" y="88"/>
                </a:cubicBezTo>
                <a:cubicBezTo>
                  <a:pt x="55" y="88"/>
                  <a:pt x="55" y="90"/>
                  <a:pt x="54" y="91"/>
                </a:cubicBezTo>
                <a:cubicBezTo>
                  <a:pt x="54" y="92"/>
                  <a:pt x="53" y="93"/>
                  <a:pt x="53" y="93"/>
                </a:cubicBezTo>
                <a:cubicBezTo>
                  <a:pt x="53" y="93"/>
                  <a:pt x="54" y="93"/>
                  <a:pt x="54" y="93"/>
                </a:cubicBezTo>
                <a:cubicBezTo>
                  <a:pt x="55" y="94"/>
                  <a:pt x="56" y="94"/>
                  <a:pt x="56" y="95"/>
                </a:cubicBezTo>
                <a:cubicBezTo>
                  <a:pt x="56" y="95"/>
                  <a:pt x="56" y="95"/>
                  <a:pt x="56" y="95"/>
                </a:cubicBezTo>
                <a:cubicBezTo>
                  <a:pt x="57" y="95"/>
                  <a:pt x="57" y="94"/>
                  <a:pt x="58" y="94"/>
                </a:cubicBezTo>
                <a:cubicBezTo>
                  <a:pt x="58" y="94"/>
                  <a:pt x="58" y="94"/>
                  <a:pt x="59" y="93"/>
                </a:cubicBezTo>
                <a:cubicBezTo>
                  <a:pt x="59" y="93"/>
                  <a:pt x="61" y="94"/>
                  <a:pt x="62" y="95"/>
                </a:cubicBezTo>
                <a:cubicBezTo>
                  <a:pt x="64" y="96"/>
                  <a:pt x="67" y="97"/>
                  <a:pt x="67" y="98"/>
                </a:cubicBezTo>
                <a:cubicBezTo>
                  <a:pt x="68" y="99"/>
                  <a:pt x="69" y="99"/>
                  <a:pt x="70" y="100"/>
                </a:cubicBezTo>
                <a:cubicBezTo>
                  <a:pt x="71" y="101"/>
                  <a:pt x="71" y="102"/>
                  <a:pt x="72" y="103"/>
                </a:cubicBezTo>
                <a:cubicBezTo>
                  <a:pt x="72" y="104"/>
                  <a:pt x="74" y="104"/>
                  <a:pt x="75" y="104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6" y="105"/>
                  <a:pt x="76" y="104"/>
                  <a:pt x="77" y="103"/>
                </a:cubicBezTo>
                <a:cubicBezTo>
                  <a:pt x="78" y="103"/>
                  <a:pt x="79" y="102"/>
                  <a:pt x="80" y="102"/>
                </a:cubicBezTo>
                <a:cubicBezTo>
                  <a:pt x="81" y="101"/>
                  <a:pt x="81" y="102"/>
                  <a:pt x="81" y="103"/>
                </a:cubicBezTo>
                <a:cubicBezTo>
                  <a:pt x="82" y="103"/>
                  <a:pt x="82" y="104"/>
                  <a:pt x="82" y="104"/>
                </a:cubicBezTo>
                <a:cubicBezTo>
                  <a:pt x="82" y="104"/>
                  <a:pt x="82" y="105"/>
                  <a:pt x="82" y="105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83" y="105"/>
                  <a:pt x="83" y="105"/>
                  <a:pt x="84" y="105"/>
                </a:cubicBezTo>
                <a:cubicBezTo>
                  <a:pt x="85" y="105"/>
                  <a:pt x="85" y="106"/>
                  <a:pt x="85" y="107"/>
                </a:cubicBezTo>
                <a:cubicBezTo>
                  <a:pt x="85" y="107"/>
                  <a:pt x="85" y="107"/>
                  <a:pt x="85" y="107"/>
                </a:cubicBezTo>
                <a:cubicBezTo>
                  <a:pt x="85" y="107"/>
                  <a:pt x="85" y="107"/>
                  <a:pt x="85" y="108"/>
                </a:cubicBezTo>
                <a:cubicBezTo>
                  <a:pt x="85" y="108"/>
                  <a:pt x="85" y="109"/>
                  <a:pt x="85" y="109"/>
                </a:cubicBezTo>
                <a:cubicBezTo>
                  <a:pt x="85" y="109"/>
                  <a:pt x="88" y="107"/>
                  <a:pt x="90" y="106"/>
                </a:cubicBezTo>
                <a:cubicBezTo>
                  <a:pt x="92" y="105"/>
                  <a:pt x="93" y="104"/>
                  <a:pt x="94" y="104"/>
                </a:cubicBezTo>
                <a:cubicBezTo>
                  <a:pt x="94" y="104"/>
                  <a:pt x="96" y="105"/>
                  <a:pt x="98" y="105"/>
                </a:cubicBezTo>
                <a:cubicBezTo>
                  <a:pt x="99" y="106"/>
                  <a:pt x="100" y="106"/>
                  <a:pt x="101" y="106"/>
                </a:cubicBezTo>
                <a:cubicBezTo>
                  <a:pt x="101" y="106"/>
                  <a:pt x="102" y="106"/>
                  <a:pt x="103" y="105"/>
                </a:cubicBezTo>
                <a:cubicBezTo>
                  <a:pt x="105" y="105"/>
                  <a:pt x="106" y="105"/>
                  <a:pt x="106" y="105"/>
                </a:cubicBezTo>
                <a:cubicBezTo>
                  <a:pt x="107" y="105"/>
                  <a:pt x="108" y="105"/>
                  <a:pt x="109" y="105"/>
                </a:cubicBezTo>
                <a:cubicBezTo>
                  <a:pt x="110" y="105"/>
                  <a:pt x="112" y="105"/>
                  <a:pt x="112" y="106"/>
                </a:cubicBezTo>
                <a:cubicBezTo>
                  <a:pt x="113" y="106"/>
                  <a:pt x="115" y="107"/>
                  <a:pt x="116" y="108"/>
                </a:cubicBezTo>
                <a:cubicBezTo>
                  <a:pt x="117" y="108"/>
                  <a:pt x="118" y="109"/>
                  <a:pt x="118" y="109"/>
                </a:cubicBezTo>
                <a:cubicBezTo>
                  <a:pt x="118" y="109"/>
                  <a:pt x="119" y="109"/>
                  <a:pt x="119" y="109"/>
                </a:cubicBezTo>
                <a:cubicBezTo>
                  <a:pt x="120" y="110"/>
                  <a:pt x="122" y="111"/>
                  <a:pt x="123" y="112"/>
                </a:cubicBezTo>
                <a:cubicBezTo>
                  <a:pt x="124" y="112"/>
                  <a:pt x="125" y="112"/>
                  <a:pt x="126" y="112"/>
                </a:cubicBezTo>
                <a:cubicBezTo>
                  <a:pt x="126" y="112"/>
                  <a:pt x="126" y="112"/>
                  <a:pt x="127" y="112"/>
                </a:cubicBezTo>
                <a:cubicBezTo>
                  <a:pt x="127" y="112"/>
                  <a:pt x="128" y="113"/>
                  <a:pt x="128" y="113"/>
                </a:cubicBezTo>
                <a:cubicBezTo>
                  <a:pt x="128" y="112"/>
                  <a:pt x="127" y="111"/>
                  <a:pt x="127" y="111"/>
                </a:cubicBezTo>
                <a:cubicBezTo>
                  <a:pt x="126" y="110"/>
                  <a:pt x="125" y="108"/>
                  <a:pt x="125" y="107"/>
                </a:cubicBezTo>
                <a:cubicBezTo>
                  <a:pt x="125" y="106"/>
                  <a:pt x="125" y="106"/>
                  <a:pt x="125" y="105"/>
                </a:cubicBezTo>
                <a:cubicBezTo>
                  <a:pt x="125" y="104"/>
                  <a:pt x="124" y="102"/>
                  <a:pt x="126" y="101"/>
                </a:cubicBezTo>
                <a:cubicBezTo>
                  <a:pt x="126" y="100"/>
                  <a:pt x="130" y="96"/>
                  <a:pt x="133" y="93"/>
                </a:cubicBezTo>
                <a:cubicBezTo>
                  <a:pt x="134" y="91"/>
                  <a:pt x="136" y="89"/>
                  <a:pt x="137" y="89"/>
                </a:cubicBezTo>
                <a:cubicBezTo>
                  <a:pt x="138" y="89"/>
                  <a:pt x="139" y="89"/>
                  <a:pt x="140" y="88"/>
                </a:cubicBezTo>
                <a:cubicBezTo>
                  <a:pt x="142" y="88"/>
                  <a:pt x="144" y="87"/>
                  <a:pt x="144" y="86"/>
                </a:cubicBezTo>
                <a:cubicBezTo>
                  <a:pt x="144" y="86"/>
                  <a:pt x="144" y="85"/>
                  <a:pt x="144" y="85"/>
                </a:cubicBezTo>
                <a:cubicBezTo>
                  <a:pt x="144" y="84"/>
                  <a:pt x="145" y="83"/>
                  <a:pt x="144" y="83"/>
                </a:cubicBezTo>
                <a:cubicBezTo>
                  <a:pt x="144" y="82"/>
                  <a:pt x="144" y="82"/>
                  <a:pt x="144" y="81"/>
                </a:cubicBezTo>
                <a:cubicBezTo>
                  <a:pt x="144" y="81"/>
                  <a:pt x="144" y="81"/>
                  <a:pt x="144" y="81"/>
                </a:cubicBezTo>
                <a:cubicBezTo>
                  <a:pt x="143" y="80"/>
                  <a:pt x="142" y="79"/>
                  <a:pt x="143" y="78"/>
                </a:cubicBezTo>
                <a:cubicBezTo>
                  <a:pt x="143" y="78"/>
                  <a:pt x="144" y="78"/>
                  <a:pt x="145" y="77"/>
                </a:cubicBezTo>
                <a:cubicBezTo>
                  <a:pt x="145" y="77"/>
                  <a:pt x="145" y="77"/>
                  <a:pt x="145" y="77"/>
                </a:cubicBezTo>
                <a:cubicBezTo>
                  <a:pt x="145" y="77"/>
                  <a:pt x="145" y="76"/>
                  <a:pt x="144" y="76"/>
                </a:cubicBezTo>
                <a:cubicBezTo>
                  <a:pt x="143" y="75"/>
                  <a:pt x="142" y="74"/>
                  <a:pt x="142" y="73"/>
                </a:cubicBezTo>
                <a:cubicBezTo>
                  <a:pt x="141" y="73"/>
                  <a:pt x="141" y="71"/>
                  <a:pt x="140" y="70"/>
                </a:cubicBezTo>
                <a:cubicBezTo>
                  <a:pt x="138" y="67"/>
                  <a:pt x="137" y="63"/>
                  <a:pt x="137" y="63"/>
                </a:cubicBezTo>
                <a:cubicBezTo>
                  <a:pt x="137" y="63"/>
                  <a:pt x="137" y="63"/>
                  <a:pt x="137" y="63"/>
                </a:cubicBezTo>
                <a:cubicBezTo>
                  <a:pt x="137" y="63"/>
                  <a:pt x="137" y="62"/>
                  <a:pt x="137" y="62"/>
                </a:cubicBezTo>
                <a:cubicBezTo>
                  <a:pt x="137" y="60"/>
                  <a:pt x="138" y="55"/>
                  <a:pt x="137" y="55"/>
                </a:cubicBezTo>
                <a:cubicBezTo>
                  <a:pt x="137" y="54"/>
                  <a:pt x="136" y="54"/>
                  <a:pt x="135" y="54"/>
                </a:cubicBezTo>
                <a:cubicBezTo>
                  <a:pt x="134" y="53"/>
                  <a:pt x="133" y="53"/>
                  <a:pt x="133" y="52"/>
                </a:cubicBezTo>
                <a:cubicBezTo>
                  <a:pt x="132" y="52"/>
                  <a:pt x="131" y="51"/>
                  <a:pt x="132" y="50"/>
                </a:cubicBezTo>
                <a:cubicBezTo>
                  <a:pt x="132" y="50"/>
                  <a:pt x="134" y="48"/>
                  <a:pt x="136" y="46"/>
                </a:cubicBezTo>
                <a:cubicBezTo>
                  <a:pt x="138" y="44"/>
                  <a:pt x="141" y="42"/>
                  <a:pt x="142" y="41"/>
                </a:cubicBezTo>
                <a:cubicBezTo>
                  <a:pt x="142" y="40"/>
                  <a:pt x="142" y="37"/>
                  <a:pt x="142" y="35"/>
                </a:cubicBezTo>
                <a:cubicBezTo>
                  <a:pt x="142" y="35"/>
                  <a:pt x="142" y="34"/>
                  <a:pt x="142" y="33"/>
                </a:cubicBezTo>
                <a:cubicBezTo>
                  <a:pt x="142" y="31"/>
                  <a:pt x="139" y="26"/>
                  <a:pt x="138" y="23"/>
                </a:cubicBezTo>
                <a:cubicBezTo>
                  <a:pt x="138" y="22"/>
                  <a:pt x="138" y="22"/>
                  <a:pt x="138" y="22"/>
                </a:cubicBezTo>
                <a:cubicBezTo>
                  <a:pt x="138" y="22"/>
                  <a:pt x="138" y="22"/>
                  <a:pt x="138" y="22"/>
                </a:cubicBezTo>
                <a:cubicBezTo>
                  <a:pt x="137" y="21"/>
                  <a:pt x="137" y="19"/>
                  <a:pt x="136" y="17"/>
                </a:cubicBezTo>
                <a:cubicBezTo>
                  <a:pt x="136" y="15"/>
                  <a:pt x="135" y="14"/>
                  <a:pt x="135" y="13"/>
                </a:cubicBezTo>
                <a:cubicBezTo>
                  <a:pt x="134" y="13"/>
                  <a:pt x="133" y="12"/>
                  <a:pt x="132" y="11"/>
                </a:cubicBezTo>
                <a:cubicBezTo>
                  <a:pt x="131" y="10"/>
                  <a:pt x="130" y="10"/>
                  <a:pt x="130" y="10"/>
                </a:cubicBezTo>
                <a:cubicBezTo>
                  <a:pt x="129" y="10"/>
                  <a:pt x="128" y="10"/>
                  <a:pt x="127" y="10"/>
                </a:cubicBezTo>
                <a:cubicBezTo>
                  <a:pt x="125" y="10"/>
                  <a:pt x="123" y="11"/>
                  <a:pt x="120" y="11"/>
                </a:cubicBezTo>
                <a:cubicBezTo>
                  <a:pt x="119" y="11"/>
                  <a:pt x="118" y="11"/>
                  <a:pt x="117" y="11"/>
                </a:cubicBezTo>
                <a:cubicBezTo>
                  <a:pt x="111" y="11"/>
                  <a:pt x="102" y="12"/>
                  <a:pt x="97" y="11"/>
                </a:cubicBezTo>
                <a:cubicBezTo>
                  <a:pt x="93" y="10"/>
                  <a:pt x="91" y="10"/>
                  <a:pt x="89" y="10"/>
                </a:cubicBezTo>
                <a:cubicBezTo>
                  <a:pt x="88" y="10"/>
                  <a:pt x="88" y="10"/>
                  <a:pt x="87" y="10"/>
                </a:cubicBezTo>
                <a:cubicBezTo>
                  <a:pt x="86" y="9"/>
                  <a:pt x="85" y="9"/>
                  <a:pt x="85" y="8"/>
                </a:cubicBezTo>
                <a:cubicBezTo>
                  <a:pt x="83" y="9"/>
                  <a:pt x="82" y="11"/>
                  <a:pt x="81" y="12"/>
                </a:cubicBezTo>
                <a:cubicBezTo>
                  <a:pt x="80" y="13"/>
                  <a:pt x="79" y="13"/>
                  <a:pt x="78" y="13"/>
                </a:cubicBezTo>
                <a:cubicBezTo>
                  <a:pt x="77" y="12"/>
                  <a:pt x="78" y="11"/>
                  <a:pt x="78" y="10"/>
                </a:cubicBezTo>
                <a:cubicBezTo>
                  <a:pt x="79" y="10"/>
                  <a:pt x="83" y="7"/>
                  <a:pt x="82" y="6"/>
                </a:cubicBezTo>
                <a:cubicBezTo>
                  <a:pt x="82" y="6"/>
                  <a:pt x="79" y="8"/>
                  <a:pt x="78" y="8"/>
                </a:cubicBezTo>
                <a:cubicBezTo>
                  <a:pt x="77" y="9"/>
                  <a:pt x="75" y="9"/>
                  <a:pt x="74" y="10"/>
                </a:cubicBezTo>
                <a:cubicBezTo>
                  <a:pt x="72" y="10"/>
                  <a:pt x="68" y="9"/>
                  <a:pt x="67" y="8"/>
                </a:cubicBezTo>
                <a:cubicBezTo>
                  <a:pt x="65" y="8"/>
                  <a:pt x="64" y="5"/>
                  <a:pt x="64" y="4"/>
                </a:cubicBezTo>
                <a:cubicBezTo>
                  <a:pt x="65" y="2"/>
                  <a:pt x="68" y="4"/>
                  <a:pt x="70" y="4"/>
                </a:cubicBezTo>
                <a:cubicBezTo>
                  <a:pt x="72" y="3"/>
                  <a:pt x="63" y="0"/>
                  <a:pt x="61" y="1"/>
                </a:cubicBezTo>
                <a:cubicBezTo>
                  <a:pt x="58" y="1"/>
                  <a:pt x="55" y="1"/>
                  <a:pt x="52" y="1"/>
                </a:cubicBezTo>
                <a:cubicBezTo>
                  <a:pt x="50" y="1"/>
                  <a:pt x="50" y="2"/>
                  <a:pt x="44" y="4"/>
                </a:cubicBezTo>
                <a:cubicBezTo>
                  <a:pt x="39" y="7"/>
                  <a:pt x="39" y="5"/>
                  <a:pt x="36" y="7"/>
                </a:cubicBezTo>
                <a:cubicBezTo>
                  <a:pt x="33" y="8"/>
                  <a:pt x="34" y="9"/>
                  <a:pt x="33" y="11"/>
                </a:cubicBezTo>
                <a:cubicBezTo>
                  <a:pt x="32" y="12"/>
                  <a:pt x="28" y="12"/>
                  <a:pt x="23" y="13"/>
                </a:cubicBezTo>
                <a:cubicBezTo>
                  <a:pt x="19" y="14"/>
                  <a:pt x="12" y="15"/>
                  <a:pt x="9" y="16"/>
                </a:cubicBezTo>
                <a:cubicBezTo>
                  <a:pt x="6" y="18"/>
                  <a:pt x="4" y="17"/>
                  <a:pt x="2" y="17"/>
                </a:cubicBezTo>
                <a:cubicBezTo>
                  <a:pt x="0" y="17"/>
                  <a:pt x="1" y="19"/>
                  <a:pt x="2" y="20"/>
                </a:cubicBezTo>
                <a:close/>
              </a:path>
            </a:pathLst>
          </a:custGeom>
          <a:gradFill>
            <a:gsLst>
              <a:gs pos="30000">
                <a:schemeClr val="accent2"/>
              </a:gs>
              <a:gs pos="80000">
                <a:schemeClr val="accent6"/>
              </a:gs>
            </a:gsLst>
            <a:lin ang="2700000" scaled="0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180" name="Gruppieren 179"/>
          <p:cNvGrpSpPr/>
          <p:nvPr/>
        </p:nvGrpSpPr>
        <p:grpSpPr>
          <a:xfrm>
            <a:off x="2573462" y="0"/>
            <a:ext cx="1781175" cy="2659063"/>
            <a:chOff x="2573462" y="0"/>
            <a:chExt cx="1781175" cy="2659063"/>
          </a:xfrm>
          <a:solidFill>
            <a:schemeClr val="tx2"/>
          </a:solidFill>
        </p:grpSpPr>
        <p:sp>
          <p:nvSpPr>
            <p:cNvPr id="181" name="Freeform 136"/>
            <p:cNvSpPr>
              <a:spLocks/>
            </p:cNvSpPr>
            <p:nvPr/>
          </p:nvSpPr>
          <p:spPr bwMode="auto">
            <a:xfrm>
              <a:off x="2573462" y="0"/>
              <a:ext cx="1781175" cy="2659063"/>
            </a:xfrm>
            <a:custGeom>
              <a:avLst/>
              <a:gdLst>
                <a:gd name="T0" fmla="*/ 76 w 187"/>
                <a:gd name="T1" fmla="*/ 13 h 279"/>
                <a:gd name="T2" fmla="*/ 76 w 187"/>
                <a:gd name="T3" fmla="*/ 19 h 279"/>
                <a:gd name="T4" fmla="*/ 63 w 187"/>
                <a:gd name="T5" fmla="*/ 34 h 279"/>
                <a:gd name="T6" fmla="*/ 51 w 187"/>
                <a:gd name="T7" fmla="*/ 47 h 279"/>
                <a:gd name="T8" fmla="*/ 49 w 187"/>
                <a:gd name="T9" fmla="*/ 63 h 279"/>
                <a:gd name="T10" fmla="*/ 40 w 187"/>
                <a:gd name="T11" fmla="*/ 75 h 279"/>
                <a:gd name="T12" fmla="*/ 44 w 187"/>
                <a:gd name="T13" fmla="*/ 82 h 279"/>
                <a:gd name="T14" fmla="*/ 41 w 187"/>
                <a:gd name="T15" fmla="*/ 91 h 279"/>
                <a:gd name="T16" fmla="*/ 25 w 187"/>
                <a:gd name="T17" fmla="*/ 93 h 279"/>
                <a:gd name="T18" fmla="*/ 17 w 187"/>
                <a:gd name="T19" fmla="*/ 102 h 279"/>
                <a:gd name="T20" fmla="*/ 16 w 187"/>
                <a:gd name="T21" fmla="*/ 119 h 279"/>
                <a:gd name="T22" fmla="*/ 17 w 187"/>
                <a:gd name="T23" fmla="*/ 140 h 279"/>
                <a:gd name="T24" fmla="*/ 24 w 187"/>
                <a:gd name="T25" fmla="*/ 150 h 279"/>
                <a:gd name="T26" fmla="*/ 21 w 187"/>
                <a:gd name="T27" fmla="*/ 159 h 279"/>
                <a:gd name="T28" fmla="*/ 22 w 187"/>
                <a:gd name="T29" fmla="*/ 173 h 279"/>
                <a:gd name="T30" fmla="*/ 11 w 187"/>
                <a:gd name="T31" fmla="*/ 184 h 279"/>
                <a:gd name="T32" fmla="*/ 10 w 187"/>
                <a:gd name="T33" fmla="*/ 189 h 279"/>
                <a:gd name="T34" fmla="*/ 11 w 187"/>
                <a:gd name="T35" fmla="*/ 200 h 279"/>
                <a:gd name="T36" fmla="*/ 9 w 187"/>
                <a:gd name="T37" fmla="*/ 203 h 279"/>
                <a:gd name="T38" fmla="*/ 3 w 187"/>
                <a:gd name="T39" fmla="*/ 202 h 279"/>
                <a:gd name="T40" fmla="*/ 5 w 187"/>
                <a:gd name="T41" fmla="*/ 217 h 279"/>
                <a:gd name="T42" fmla="*/ 12 w 187"/>
                <a:gd name="T43" fmla="*/ 217 h 279"/>
                <a:gd name="T44" fmla="*/ 10 w 187"/>
                <a:gd name="T45" fmla="*/ 226 h 279"/>
                <a:gd name="T46" fmla="*/ 12 w 187"/>
                <a:gd name="T47" fmla="*/ 236 h 279"/>
                <a:gd name="T48" fmla="*/ 27 w 187"/>
                <a:gd name="T49" fmla="*/ 255 h 279"/>
                <a:gd name="T50" fmla="*/ 25 w 187"/>
                <a:gd name="T51" fmla="*/ 267 h 279"/>
                <a:gd name="T52" fmla="*/ 44 w 187"/>
                <a:gd name="T53" fmla="*/ 277 h 279"/>
                <a:gd name="T54" fmla="*/ 56 w 187"/>
                <a:gd name="T55" fmla="*/ 263 h 279"/>
                <a:gd name="T56" fmla="*/ 76 w 187"/>
                <a:gd name="T57" fmla="*/ 248 h 279"/>
                <a:gd name="T58" fmla="*/ 80 w 187"/>
                <a:gd name="T59" fmla="*/ 235 h 279"/>
                <a:gd name="T60" fmla="*/ 77 w 187"/>
                <a:gd name="T61" fmla="*/ 228 h 279"/>
                <a:gd name="T62" fmla="*/ 81 w 187"/>
                <a:gd name="T63" fmla="*/ 218 h 279"/>
                <a:gd name="T64" fmla="*/ 72 w 187"/>
                <a:gd name="T65" fmla="*/ 210 h 279"/>
                <a:gd name="T66" fmla="*/ 95 w 187"/>
                <a:gd name="T67" fmla="*/ 203 h 279"/>
                <a:gd name="T68" fmla="*/ 105 w 187"/>
                <a:gd name="T69" fmla="*/ 200 h 279"/>
                <a:gd name="T70" fmla="*/ 102 w 187"/>
                <a:gd name="T71" fmla="*/ 193 h 279"/>
                <a:gd name="T72" fmla="*/ 107 w 187"/>
                <a:gd name="T73" fmla="*/ 176 h 279"/>
                <a:gd name="T74" fmla="*/ 86 w 187"/>
                <a:gd name="T75" fmla="*/ 166 h 279"/>
                <a:gd name="T76" fmla="*/ 88 w 187"/>
                <a:gd name="T77" fmla="*/ 153 h 279"/>
                <a:gd name="T78" fmla="*/ 91 w 187"/>
                <a:gd name="T79" fmla="*/ 145 h 279"/>
                <a:gd name="T80" fmla="*/ 94 w 187"/>
                <a:gd name="T81" fmla="*/ 127 h 279"/>
                <a:gd name="T82" fmla="*/ 95 w 187"/>
                <a:gd name="T83" fmla="*/ 113 h 279"/>
                <a:gd name="T84" fmla="*/ 103 w 187"/>
                <a:gd name="T85" fmla="*/ 114 h 279"/>
                <a:gd name="T86" fmla="*/ 120 w 187"/>
                <a:gd name="T87" fmla="*/ 103 h 279"/>
                <a:gd name="T88" fmla="*/ 140 w 187"/>
                <a:gd name="T89" fmla="*/ 94 h 279"/>
                <a:gd name="T90" fmla="*/ 150 w 187"/>
                <a:gd name="T91" fmla="*/ 79 h 279"/>
                <a:gd name="T92" fmla="*/ 142 w 187"/>
                <a:gd name="T93" fmla="*/ 73 h 279"/>
                <a:gd name="T94" fmla="*/ 152 w 187"/>
                <a:gd name="T95" fmla="*/ 62 h 279"/>
                <a:gd name="T96" fmla="*/ 162 w 187"/>
                <a:gd name="T97" fmla="*/ 54 h 279"/>
                <a:gd name="T98" fmla="*/ 167 w 187"/>
                <a:gd name="T99" fmla="*/ 48 h 279"/>
                <a:gd name="T100" fmla="*/ 187 w 187"/>
                <a:gd name="T101" fmla="*/ 49 h 279"/>
                <a:gd name="T102" fmla="*/ 183 w 187"/>
                <a:gd name="T103" fmla="*/ 41 h 279"/>
                <a:gd name="T104" fmla="*/ 182 w 187"/>
                <a:gd name="T105" fmla="*/ 31 h 279"/>
                <a:gd name="T106" fmla="*/ 181 w 187"/>
                <a:gd name="T107" fmla="*/ 13 h 279"/>
                <a:gd name="T108" fmla="*/ 178 w 187"/>
                <a:gd name="T109" fmla="*/ 11 h 279"/>
                <a:gd name="T110" fmla="*/ 178 w 187"/>
                <a:gd name="T111" fmla="*/ 6 h 279"/>
                <a:gd name="T112" fmla="*/ 81 w 187"/>
                <a:gd name="T113" fmla="*/ 3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7" h="279">
                  <a:moveTo>
                    <a:pt x="77" y="8"/>
                  </a:moveTo>
                  <a:cubicBezTo>
                    <a:pt x="77" y="9"/>
                    <a:pt x="76" y="9"/>
                    <a:pt x="76" y="9"/>
                  </a:cubicBezTo>
                  <a:cubicBezTo>
                    <a:pt x="75" y="9"/>
                    <a:pt x="74" y="9"/>
                    <a:pt x="74" y="9"/>
                  </a:cubicBezTo>
                  <a:cubicBezTo>
                    <a:pt x="74" y="10"/>
                    <a:pt x="75" y="12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7" y="15"/>
                    <a:pt x="77" y="16"/>
                  </a:cubicBezTo>
                  <a:cubicBezTo>
                    <a:pt x="77" y="16"/>
                    <a:pt x="77" y="17"/>
                    <a:pt x="76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20"/>
                    <a:pt x="75" y="22"/>
                    <a:pt x="75" y="22"/>
                  </a:cubicBezTo>
                  <a:cubicBezTo>
                    <a:pt x="74" y="23"/>
                    <a:pt x="71" y="26"/>
                    <a:pt x="68" y="28"/>
                  </a:cubicBezTo>
                  <a:cubicBezTo>
                    <a:pt x="66" y="30"/>
                    <a:pt x="63" y="33"/>
                    <a:pt x="63" y="33"/>
                  </a:cubicBezTo>
                  <a:cubicBezTo>
                    <a:pt x="63" y="33"/>
                    <a:pt x="63" y="34"/>
                    <a:pt x="63" y="34"/>
                  </a:cubicBezTo>
                  <a:cubicBezTo>
                    <a:pt x="64" y="35"/>
                    <a:pt x="64" y="36"/>
                    <a:pt x="64" y="37"/>
                  </a:cubicBezTo>
                  <a:cubicBezTo>
                    <a:pt x="64" y="38"/>
                    <a:pt x="61" y="39"/>
                    <a:pt x="58" y="40"/>
                  </a:cubicBezTo>
                  <a:cubicBezTo>
                    <a:pt x="55" y="41"/>
                    <a:pt x="52" y="42"/>
                    <a:pt x="51" y="43"/>
                  </a:cubicBezTo>
                  <a:cubicBezTo>
                    <a:pt x="50" y="44"/>
                    <a:pt x="50" y="45"/>
                    <a:pt x="51" y="47"/>
                  </a:cubicBezTo>
                  <a:cubicBezTo>
                    <a:pt x="51" y="48"/>
                    <a:pt x="52" y="48"/>
                    <a:pt x="52" y="49"/>
                  </a:cubicBezTo>
                  <a:cubicBezTo>
                    <a:pt x="52" y="50"/>
                    <a:pt x="52" y="50"/>
                    <a:pt x="52" y="51"/>
                  </a:cubicBezTo>
                  <a:cubicBezTo>
                    <a:pt x="51" y="54"/>
                    <a:pt x="51" y="59"/>
                    <a:pt x="50" y="62"/>
                  </a:cubicBezTo>
                  <a:cubicBezTo>
                    <a:pt x="49" y="62"/>
                    <a:pt x="49" y="63"/>
                    <a:pt x="49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8" y="65"/>
                    <a:pt x="48" y="65"/>
                    <a:pt x="47" y="66"/>
                  </a:cubicBezTo>
                  <a:cubicBezTo>
                    <a:pt x="47" y="67"/>
                    <a:pt x="45" y="68"/>
                    <a:pt x="44" y="70"/>
                  </a:cubicBezTo>
                  <a:cubicBezTo>
                    <a:pt x="43" y="72"/>
                    <a:pt x="41" y="74"/>
                    <a:pt x="40" y="75"/>
                  </a:cubicBezTo>
                  <a:cubicBezTo>
                    <a:pt x="40" y="76"/>
                    <a:pt x="40" y="77"/>
                    <a:pt x="40" y="77"/>
                  </a:cubicBezTo>
                  <a:cubicBezTo>
                    <a:pt x="40" y="78"/>
                    <a:pt x="40" y="79"/>
                    <a:pt x="40" y="79"/>
                  </a:cubicBezTo>
                  <a:cubicBezTo>
                    <a:pt x="40" y="80"/>
                    <a:pt x="42" y="81"/>
                    <a:pt x="43" y="81"/>
                  </a:cubicBezTo>
                  <a:cubicBezTo>
                    <a:pt x="43" y="82"/>
                    <a:pt x="44" y="82"/>
                    <a:pt x="44" y="82"/>
                  </a:cubicBezTo>
                  <a:cubicBezTo>
                    <a:pt x="44" y="83"/>
                    <a:pt x="45" y="84"/>
                    <a:pt x="44" y="86"/>
                  </a:cubicBezTo>
                  <a:cubicBezTo>
                    <a:pt x="44" y="88"/>
                    <a:pt x="44" y="89"/>
                    <a:pt x="43" y="90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3" y="91"/>
                    <a:pt x="42" y="91"/>
                    <a:pt x="41" y="91"/>
                  </a:cubicBezTo>
                  <a:cubicBezTo>
                    <a:pt x="40" y="92"/>
                    <a:pt x="39" y="92"/>
                    <a:pt x="38" y="92"/>
                  </a:cubicBezTo>
                  <a:cubicBezTo>
                    <a:pt x="37" y="92"/>
                    <a:pt x="36" y="92"/>
                    <a:pt x="34" y="91"/>
                  </a:cubicBezTo>
                  <a:cubicBezTo>
                    <a:pt x="32" y="91"/>
                    <a:pt x="30" y="91"/>
                    <a:pt x="29" y="91"/>
                  </a:cubicBezTo>
                  <a:cubicBezTo>
                    <a:pt x="28" y="91"/>
                    <a:pt x="27" y="92"/>
                    <a:pt x="25" y="93"/>
                  </a:cubicBezTo>
                  <a:cubicBezTo>
                    <a:pt x="24" y="93"/>
                    <a:pt x="24" y="94"/>
                    <a:pt x="23" y="94"/>
                  </a:cubicBezTo>
                  <a:cubicBezTo>
                    <a:pt x="21" y="95"/>
                    <a:pt x="20" y="97"/>
                    <a:pt x="19" y="98"/>
                  </a:cubicBezTo>
                  <a:cubicBezTo>
                    <a:pt x="19" y="99"/>
                    <a:pt x="19" y="99"/>
                    <a:pt x="18" y="100"/>
                  </a:cubicBezTo>
                  <a:cubicBezTo>
                    <a:pt x="18" y="100"/>
                    <a:pt x="18" y="101"/>
                    <a:pt x="17" y="102"/>
                  </a:cubicBezTo>
                  <a:cubicBezTo>
                    <a:pt x="16" y="104"/>
                    <a:pt x="15" y="106"/>
                    <a:pt x="14" y="108"/>
                  </a:cubicBezTo>
                  <a:cubicBezTo>
                    <a:pt x="12" y="109"/>
                    <a:pt x="14" y="111"/>
                    <a:pt x="15" y="113"/>
                  </a:cubicBezTo>
                  <a:cubicBezTo>
                    <a:pt x="16" y="114"/>
                    <a:pt x="17" y="114"/>
                    <a:pt x="17" y="115"/>
                  </a:cubicBezTo>
                  <a:cubicBezTo>
                    <a:pt x="17" y="117"/>
                    <a:pt x="17" y="118"/>
                    <a:pt x="16" y="119"/>
                  </a:cubicBezTo>
                  <a:cubicBezTo>
                    <a:pt x="16" y="121"/>
                    <a:pt x="15" y="123"/>
                    <a:pt x="15" y="124"/>
                  </a:cubicBezTo>
                  <a:cubicBezTo>
                    <a:pt x="14" y="126"/>
                    <a:pt x="16" y="127"/>
                    <a:pt x="17" y="128"/>
                  </a:cubicBezTo>
                  <a:cubicBezTo>
                    <a:pt x="18" y="129"/>
                    <a:pt x="19" y="130"/>
                    <a:pt x="19" y="130"/>
                  </a:cubicBezTo>
                  <a:cubicBezTo>
                    <a:pt x="20" y="132"/>
                    <a:pt x="19" y="137"/>
                    <a:pt x="17" y="140"/>
                  </a:cubicBezTo>
                  <a:cubicBezTo>
                    <a:pt x="17" y="142"/>
                    <a:pt x="16" y="143"/>
                    <a:pt x="16" y="143"/>
                  </a:cubicBezTo>
                  <a:cubicBezTo>
                    <a:pt x="16" y="144"/>
                    <a:pt x="19" y="146"/>
                    <a:pt x="21" y="147"/>
                  </a:cubicBezTo>
                  <a:cubicBezTo>
                    <a:pt x="22" y="148"/>
                    <a:pt x="23" y="148"/>
                    <a:pt x="23" y="149"/>
                  </a:cubicBezTo>
                  <a:cubicBezTo>
                    <a:pt x="23" y="149"/>
                    <a:pt x="24" y="150"/>
                    <a:pt x="24" y="150"/>
                  </a:cubicBezTo>
                  <a:cubicBezTo>
                    <a:pt x="25" y="151"/>
                    <a:pt x="26" y="151"/>
                    <a:pt x="26" y="153"/>
                  </a:cubicBezTo>
                  <a:cubicBezTo>
                    <a:pt x="26" y="154"/>
                    <a:pt x="26" y="155"/>
                    <a:pt x="25" y="156"/>
                  </a:cubicBezTo>
                  <a:cubicBezTo>
                    <a:pt x="25" y="157"/>
                    <a:pt x="24" y="158"/>
                    <a:pt x="24" y="159"/>
                  </a:cubicBezTo>
                  <a:cubicBezTo>
                    <a:pt x="23" y="159"/>
                    <a:pt x="22" y="159"/>
                    <a:pt x="21" y="159"/>
                  </a:cubicBezTo>
                  <a:cubicBezTo>
                    <a:pt x="20" y="159"/>
                    <a:pt x="19" y="159"/>
                    <a:pt x="18" y="161"/>
                  </a:cubicBezTo>
                  <a:cubicBezTo>
                    <a:pt x="18" y="163"/>
                    <a:pt x="19" y="165"/>
                    <a:pt x="20" y="167"/>
                  </a:cubicBezTo>
                  <a:cubicBezTo>
                    <a:pt x="22" y="169"/>
                    <a:pt x="23" y="170"/>
                    <a:pt x="22" y="171"/>
                  </a:cubicBezTo>
                  <a:cubicBezTo>
                    <a:pt x="22" y="172"/>
                    <a:pt x="22" y="172"/>
                    <a:pt x="22" y="173"/>
                  </a:cubicBezTo>
                  <a:cubicBezTo>
                    <a:pt x="21" y="175"/>
                    <a:pt x="20" y="179"/>
                    <a:pt x="18" y="181"/>
                  </a:cubicBezTo>
                  <a:cubicBezTo>
                    <a:pt x="17" y="182"/>
                    <a:pt x="15" y="182"/>
                    <a:pt x="14" y="182"/>
                  </a:cubicBezTo>
                  <a:cubicBezTo>
                    <a:pt x="14" y="183"/>
                    <a:pt x="13" y="183"/>
                    <a:pt x="12" y="184"/>
                  </a:cubicBezTo>
                  <a:cubicBezTo>
                    <a:pt x="11" y="184"/>
                    <a:pt x="11" y="184"/>
                    <a:pt x="11" y="184"/>
                  </a:cubicBezTo>
                  <a:cubicBezTo>
                    <a:pt x="11" y="185"/>
                    <a:pt x="11" y="185"/>
                    <a:pt x="12" y="185"/>
                  </a:cubicBezTo>
                  <a:cubicBezTo>
                    <a:pt x="12" y="185"/>
                    <a:pt x="12" y="185"/>
                    <a:pt x="12" y="186"/>
                  </a:cubicBezTo>
                  <a:cubicBezTo>
                    <a:pt x="13" y="187"/>
                    <a:pt x="12" y="188"/>
                    <a:pt x="11" y="189"/>
                  </a:cubicBezTo>
                  <a:cubicBezTo>
                    <a:pt x="11" y="189"/>
                    <a:pt x="11" y="189"/>
                    <a:pt x="10" y="189"/>
                  </a:cubicBezTo>
                  <a:cubicBezTo>
                    <a:pt x="10" y="190"/>
                    <a:pt x="11" y="192"/>
                    <a:pt x="11" y="194"/>
                  </a:cubicBezTo>
                  <a:cubicBezTo>
                    <a:pt x="11" y="194"/>
                    <a:pt x="12" y="195"/>
                    <a:pt x="12" y="195"/>
                  </a:cubicBezTo>
                  <a:cubicBezTo>
                    <a:pt x="12" y="196"/>
                    <a:pt x="12" y="196"/>
                    <a:pt x="12" y="197"/>
                  </a:cubicBezTo>
                  <a:cubicBezTo>
                    <a:pt x="12" y="198"/>
                    <a:pt x="11" y="199"/>
                    <a:pt x="11" y="200"/>
                  </a:cubicBezTo>
                  <a:cubicBezTo>
                    <a:pt x="11" y="201"/>
                    <a:pt x="10" y="202"/>
                    <a:pt x="9" y="203"/>
                  </a:cubicBezTo>
                  <a:cubicBezTo>
                    <a:pt x="9" y="203"/>
                    <a:pt x="9" y="203"/>
                    <a:pt x="9" y="203"/>
                  </a:cubicBezTo>
                  <a:cubicBezTo>
                    <a:pt x="9" y="203"/>
                    <a:pt x="9" y="203"/>
                    <a:pt x="9" y="203"/>
                  </a:cubicBezTo>
                  <a:cubicBezTo>
                    <a:pt x="9" y="203"/>
                    <a:pt x="9" y="203"/>
                    <a:pt x="9" y="203"/>
                  </a:cubicBezTo>
                  <a:cubicBezTo>
                    <a:pt x="9" y="203"/>
                    <a:pt x="8" y="202"/>
                    <a:pt x="8" y="202"/>
                  </a:cubicBezTo>
                  <a:cubicBezTo>
                    <a:pt x="7" y="202"/>
                    <a:pt x="6" y="202"/>
                    <a:pt x="5" y="202"/>
                  </a:cubicBezTo>
                  <a:cubicBezTo>
                    <a:pt x="4" y="201"/>
                    <a:pt x="4" y="201"/>
                    <a:pt x="3" y="201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3" y="203"/>
                    <a:pt x="2" y="202"/>
                    <a:pt x="1" y="203"/>
                  </a:cubicBezTo>
                  <a:cubicBezTo>
                    <a:pt x="0" y="204"/>
                    <a:pt x="2" y="207"/>
                    <a:pt x="2" y="209"/>
                  </a:cubicBezTo>
                  <a:cubicBezTo>
                    <a:pt x="3" y="212"/>
                    <a:pt x="3" y="215"/>
                    <a:pt x="3" y="216"/>
                  </a:cubicBezTo>
                  <a:cubicBezTo>
                    <a:pt x="3" y="218"/>
                    <a:pt x="4" y="217"/>
                    <a:pt x="5" y="217"/>
                  </a:cubicBezTo>
                  <a:cubicBezTo>
                    <a:pt x="6" y="217"/>
                    <a:pt x="6" y="215"/>
                    <a:pt x="6" y="214"/>
                  </a:cubicBezTo>
                  <a:cubicBezTo>
                    <a:pt x="6" y="214"/>
                    <a:pt x="8" y="214"/>
                    <a:pt x="10" y="214"/>
                  </a:cubicBezTo>
                  <a:cubicBezTo>
                    <a:pt x="11" y="214"/>
                    <a:pt x="9" y="216"/>
                    <a:pt x="8" y="217"/>
                  </a:cubicBezTo>
                  <a:cubicBezTo>
                    <a:pt x="7" y="218"/>
                    <a:pt x="11" y="217"/>
                    <a:pt x="12" y="217"/>
                  </a:cubicBezTo>
                  <a:cubicBezTo>
                    <a:pt x="13" y="217"/>
                    <a:pt x="11" y="221"/>
                    <a:pt x="10" y="222"/>
                  </a:cubicBezTo>
                  <a:cubicBezTo>
                    <a:pt x="10" y="223"/>
                    <a:pt x="7" y="223"/>
                    <a:pt x="7" y="223"/>
                  </a:cubicBezTo>
                  <a:cubicBezTo>
                    <a:pt x="7" y="224"/>
                    <a:pt x="8" y="224"/>
                    <a:pt x="9" y="224"/>
                  </a:cubicBezTo>
                  <a:cubicBezTo>
                    <a:pt x="10" y="225"/>
                    <a:pt x="10" y="225"/>
                    <a:pt x="10" y="226"/>
                  </a:cubicBezTo>
                  <a:cubicBezTo>
                    <a:pt x="9" y="228"/>
                    <a:pt x="10" y="227"/>
                    <a:pt x="11" y="228"/>
                  </a:cubicBezTo>
                  <a:cubicBezTo>
                    <a:pt x="13" y="230"/>
                    <a:pt x="11" y="228"/>
                    <a:pt x="10" y="230"/>
                  </a:cubicBezTo>
                  <a:cubicBezTo>
                    <a:pt x="9" y="232"/>
                    <a:pt x="11" y="231"/>
                    <a:pt x="12" y="232"/>
                  </a:cubicBezTo>
                  <a:cubicBezTo>
                    <a:pt x="14" y="234"/>
                    <a:pt x="12" y="234"/>
                    <a:pt x="12" y="236"/>
                  </a:cubicBezTo>
                  <a:cubicBezTo>
                    <a:pt x="12" y="238"/>
                    <a:pt x="13" y="239"/>
                    <a:pt x="16" y="242"/>
                  </a:cubicBezTo>
                  <a:cubicBezTo>
                    <a:pt x="18" y="245"/>
                    <a:pt x="21" y="249"/>
                    <a:pt x="24" y="251"/>
                  </a:cubicBezTo>
                  <a:cubicBezTo>
                    <a:pt x="26" y="254"/>
                    <a:pt x="25" y="251"/>
                    <a:pt x="26" y="252"/>
                  </a:cubicBezTo>
                  <a:cubicBezTo>
                    <a:pt x="27" y="253"/>
                    <a:pt x="27" y="254"/>
                    <a:pt x="27" y="255"/>
                  </a:cubicBezTo>
                  <a:cubicBezTo>
                    <a:pt x="27" y="257"/>
                    <a:pt x="26" y="256"/>
                    <a:pt x="24" y="258"/>
                  </a:cubicBezTo>
                  <a:cubicBezTo>
                    <a:pt x="22" y="259"/>
                    <a:pt x="25" y="260"/>
                    <a:pt x="24" y="261"/>
                  </a:cubicBezTo>
                  <a:cubicBezTo>
                    <a:pt x="24" y="262"/>
                    <a:pt x="23" y="261"/>
                    <a:pt x="22" y="262"/>
                  </a:cubicBezTo>
                  <a:cubicBezTo>
                    <a:pt x="21" y="263"/>
                    <a:pt x="24" y="265"/>
                    <a:pt x="25" y="267"/>
                  </a:cubicBezTo>
                  <a:cubicBezTo>
                    <a:pt x="26" y="268"/>
                    <a:pt x="28" y="271"/>
                    <a:pt x="28" y="272"/>
                  </a:cubicBezTo>
                  <a:cubicBezTo>
                    <a:pt x="29" y="273"/>
                    <a:pt x="28" y="275"/>
                    <a:pt x="28" y="277"/>
                  </a:cubicBezTo>
                  <a:cubicBezTo>
                    <a:pt x="28" y="279"/>
                    <a:pt x="33" y="277"/>
                    <a:pt x="36" y="276"/>
                  </a:cubicBezTo>
                  <a:cubicBezTo>
                    <a:pt x="38" y="276"/>
                    <a:pt x="42" y="277"/>
                    <a:pt x="44" y="277"/>
                  </a:cubicBezTo>
                  <a:cubicBezTo>
                    <a:pt x="46" y="276"/>
                    <a:pt x="46" y="276"/>
                    <a:pt x="46" y="274"/>
                  </a:cubicBezTo>
                  <a:cubicBezTo>
                    <a:pt x="47" y="273"/>
                    <a:pt x="44" y="270"/>
                    <a:pt x="44" y="269"/>
                  </a:cubicBezTo>
                  <a:cubicBezTo>
                    <a:pt x="44" y="267"/>
                    <a:pt x="46" y="265"/>
                    <a:pt x="48" y="264"/>
                  </a:cubicBezTo>
                  <a:cubicBezTo>
                    <a:pt x="51" y="262"/>
                    <a:pt x="53" y="263"/>
                    <a:pt x="56" y="263"/>
                  </a:cubicBezTo>
                  <a:cubicBezTo>
                    <a:pt x="60" y="262"/>
                    <a:pt x="63" y="261"/>
                    <a:pt x="64" y="261"/>
                  </a:cubicBezTo>
                  <a:cubicBezTo>
                    <a:pt x="66" y="261"/>
                    <a:pt x="67" y="263"/>
                    <a:pt x="68" y="262"/>
                  </a:cubicBezTo>
                  <a:cubicBezTo>
                    <a:pt x="69" y="262"/>
                    <a:pt x="72" y="256"/>
                    <a:pt x="72" y="255"/>
                  </a:cubicBezTo>
                  <a:cubicBezTo>
                    <a:pt x="72" y="253"/>
                    <a:pt x="76" y="250"/>
                    <a:pt x="76" y="248"/>
                  </a:cubicBezTo>
                  <a:cubicBezTo>
                    <a:pt x="77" y="247"/>
                    <a:pt x="75" y="245"/>
                    <a:pt x="75" y="244"/>
                  </a:cubicBezTo>
                  <a:cubicBezTo>
                    <a:pt x="75" y="243"/>
                    <a:pt x="77" y="243"/>
                    <a:pt x="78" y="243"/>
                  </a:cubicBezTo>
                  <a:cubicBezTo>
                    <a:pt x="79" y="243"/>
                    <a:pt x="76" y="239"/>
                    <a:pt x="77" y="238"/>
                  </a:cubicBezTo>
                  <a:cubicBezTo>
                    <a:pt x="77" y="237"/>
                    <a:pt x="80" y="235"/>
                    <a:pt x="80" y="235"/>
                  </a:cubicBezTo>
                  <a:cubicBezTo>
                    <a:pt x="79" y="234"/>
                    <a:pt x="77" y="233"/>
                    <a:pt x="78" y="232"/>
                  </a:cubicBezTo>
                  <a:cubicBezTo>
                    <a:pt x="79" y="232"/>
                    <a:pt x="78" y="231"/>
                    <a:pt x="77" y="231"/>
                  </a:cubicBezTo>
                  <a:cubicBezTo>
                    <a:pt x="77" y="230"/>
                    <a:pt x="79" y="230"/>
                    <a:pt x="79" y="229"/>
                  </a:cubicBezTo>
                  <a:cubicBezTo>
                    <a:pt x="80" y="228"/>
                    <a:pt x="78" y="228"/>
                    <a:pt x="77" y="228"/>
                  </a:cubicBezTo>
                  <a:cubicBezTo>
                    <a:pt x="77" y="227"/>
                    <a:pt x="77" y="226"/>
                    <a:pt x="77" y="225"/>
                  </a:cubicBezTo>
                  <a:cubicBezTo>
                    <a:pt x="78" y="225"/>
                    <a:pt x="80" y="225"/>
                    <a:pt x="80" y="224"/>
                  </a:cubicBezTo>
                  <a:cubicBezTo>
                    <a:pt x="80" y="223"/>
                    <a:pt x="80" y="222"/>
                    <a:pt x="81" y="221"/>
                  </a:cubicBezTo>
                  <a:cubicBezTo>
                    <a:pt x="82" y="220"/>
                    <a:pt x="81" y="219"/>
                    <a:pt x="81" y="218"/>
                  </a:cubicBezTo>
                  <a:cubicBezTo>
                    <a:pt x="80" y="217"/>
                    <a:pt x="77" y="215"/>
                    <a:pt x="77" y="214"/>
                  </a:cubicBezTo>
                  <a:cubicBezTo>
                    <a:pt x="77" y="213"/>
                    <a:pt x="82" y="214"/>
                    <a:pt x="82" y="214"/>
                  </a:cubicBezTo>
                  <a:cubicBezTo>
                    <a:pt x="82" y="213"/>
                    <a:pt x="79" y="212"/>
                    <a:pt x="77" y="212"/>
                  </a:cubicBezTo>
                  <a:cubicBezTo>
                    <a:pt x="75" y="211"/>
                    <a:pt x="74" y="211"/>
                    <a:pt x="72" y="210"/>
                  </a:cubicBezTo>
                  <a:cubicBezTo>
                    <a:pt x="71" y="209"/>
                    <a:pt x="80" y="210"/>
                    <a:pt x="83" y="210"/>
                  </a:cubicBezTo>
                  <a:cubicBezTo>
                    <a:pt x="85" y="210"/>
                    <a:pt x="89" y="208"/>
                    <a:pt x="91" y="208"/>
                  </a:cubicBezTo>
                  <a:cubicBezTo>
                    <a:pt x="92" y="207"/>
                    <a:pt x="91" y="204"/>
                    <a:pt x="92" y="203"/>
                  </a:cubicBezTo>
                  <a:cubicBezTo>
                    <a:pt x="92" y="203"/>
                    <a:pt x="94" y="203"/>
                    <a:pt x="95" y="203"/>
                  </a:cubicBezTo>
                  <a:cubicBezTo>
                    <a:pt x="96" y="203"/>
                    <a:pt x="95" y="200"/>
                    <a:pt x="96" y="199"/>
                  </a:cubicBezTo>
                  <a:cubicBezTo>
                    <a:pt x="97" y="197"/>
                    <a:pt x="97" y="205"/>
                    <a:pt x="98" y="205"/>
                  </a:cubicBezTo>
                  <a:cubicBezTo>
                    <a:pt x="99" y="206"/>
                    <a:pt x="99" y="204"/>
                    <a:pt x="99" y="203"/>
                  </a:cubicBezTo>
                  <a:cubicBezTo>
                    <a:pt x="100" y="202"/>
                    <a:pt x="103" y="201"/>
                    <a:pt x="105" y="200"/>
                  </a:cubicBezTo>
                  <a:cubicBezTo>
                    <a:pt x="106" y="200"/>
                    <a:pt x="106" y="199"/>
                    <a:pt x="105" y="198"/>
                  </a:cubicBezTo>
                  <a:cubicBezTo>
                    <a:pt x="104" y="196"/>
                    <a:pt x="103" y="196"/>
                    <a:pt x="101" y="196"/>
                  </a:cubicBezTo>
                  <a:cubicBezTo>
                    <a:pt x="99" y="196"/>
                    <a:pt x="100" y="194"/>
                    <a:pt x="100" y="193"/>
                  </a:cubicBezTo>
                  <a:cubicBezTo>
                    <a:pt x="99" y="193"/>
                    <a:pt x="100" y="193"/>
                    <a:pt x="102" y="193"/>
                  </a:cubicBezTo>
                  <a:cubicBezTo>
                    <a:pt x="104" y="193"/>
                    <a:pt x="114" y="187"/>
                    <a:pt x="115" y="187"/>
                  </a:cubicBezTo>
                  <a:cubicBezTo>
                    <a:pt x="116" y="186"/>
                    <a:pt x="113" y="182"/>
                    <a:pt x="111" y="180"/>
                  </a:cubicBezTo>
                  <a:cubicBezTo>
                    <a:pt x="110" y="178"/>
                    <a:pt x="109" y="180"/>
                    <a:pt x="107" y="179"/>
                  </a:cubicBezTo>
                  <a:cubicBezTo>
                    <a:pt x="105" y="179"/>
                    <a:pt x="107" y="177"/>
                    <a:pt x="107" y="176"/>
                  </a:cubicBezTo>
                  <a:cubicBezTo>
                    <a:pt x="107" y="174"/>
                    <a:pt x="101" y="171"/>
                    <a:pt x="99" y="170"/>
                  </a:cubicBezTo>
                  <a:cubicBezTo>
                    <a:pt x="98" y="169"/>
                    <a:pt x="97" y="171"/>
                    <a:pt x="95" y="171"/>
                  </a:cubicBezTo>
                  <a:cubicBezTo>
                    <a:pt x="93" y="171"/>
                    <a:pt x="92" y="169"/>
                    <a:pt x="91" y="168"/>
                  </a:cubicBezTo>
                  <a:cubicBezTo>
                    <a:pt x="89" y="167"/>
                    <a:pt x="88" y="168"/>
                    <a:pt x="86" y="166"/>
                  </a:cubicBezTo>
                  <a:cubicBezTo>
                    <a:pt x="84" y="165"/>
                    <a:pt x="89" y="165"/>
                    <a:pt x="89" y="164"/>
                  </a:cubicBezTo>
                  <a:cubicBezTo>
                    <a:pt x="90" y="163"/>
                    <a:pt x="87" y="162"/>
                    <a:pt x="86" y="160"/>
                  </a:cubicBezTo>
                  <a:cubicBezTo>
                    <a:pt x="85" y="159"/>
                    <a:pt x="86" y="157"/>
                    <a:pt x="85" y="155"/>
                  </a:cubicBezTo>
                  <a:cubicBezTo>
                    <a:pt x="85" y="154"/>
                    <a:pt x="87" y="154"/>
                    <a:pt x="88" y="153"/>
                  </a:cubicBezTo>
                  <a:cubicBezTo>
                    <a:pt x="89" y="152"/>
                    <a:pt x="87" y="152"/>
                    <a:pt x="87" y="151"/>
                  </a:cubicBezTo>
                  <a:cubicBezTo>
                    <a:pt x="86" y="151"/>
                    <a:pt x="85" y="149"/>
                    <a:pt x="86" y="147"/>
                  </a:cubicBezTo>
                  <a:cubicBezTo>
                    <a:pt x="86" y="145"/>
                    <a:pt x="86" y="145"/>
                    <a:pt x="86" y="144"/>
                  </a:cubicBezTo>
                  <a:cubicBezTo>
                    <a:pt x="86" y="142"/>
                    <a:pt x="90" y="145"/>
                    <a:pt x="91" y="145"/>
                  </a:cubicBezTo>
                  <a:cubicBezTo>
                    <a:pt x="92" y="145"/>
                    <a:pt x="90" y="143"/>
                    <a:pt x="90" y="141"/>
                  </a:cubicBezTo>
                  <a:cubicBezTo>
                    <a:pt x="89" y="140"/>
                    <a:pt x="90" y="137"/>
                    <a:pt x="91" y="135"/>
                  </a:cubicBezTo>
                  <a:cubicBezTo>
                    <a:pt x="93" y="132"/>
                    <a:pt x="89" y="129"/>
                    <a:pt x="89" y="127"/>
                  </a:cubicBezTo>
                  <a:cubicBezTo>
                    <a:pt x="89" y="125"/>
                    <a:pt x="91" y="127"/>
                    <a:pt x="94" y="127"/>
                  </a:cubicBezTo>
                  <a:cubicBezTo>
                    <a:pt x="96" y="127"/>
                    <a:pt x="95" y="126"/>
                    <a:pt x="97" y="123"/>
                  </a:cubicBezTo>
                  <a:cubicBezTo>
                    <a:pt x="98" y="121"/>
                    <a:pt x="98" y="120"/>
                    <a:pt x="97" y="119"/>
                  </a:cubicBezTo>
                  <a:cubicBezTo>
                    <a:pt x="97" y="117"/>
                    <a:pt x="96" y="117"/>
                    <a:pt x="94" y="116"/>
                  </a:cubicBezTo>
                  <a:cubicBezTo>
                    <a:pt x="92" y="115"/>
                    <a:pt x="94" y="113"/>
                    <a:pt x="95" y="113"/>
                  </a:cubicBezTo>
                  <a:cubicBezTo>
                    <a:pt x="95" y="112"/>
                    <a:pt x="98" y="118"/>
                    <a:pt x="99" y="118"/>
                  </a:cubicBezTo>
                  <a:cubicBezTo>
                    <a:pt x="99" y="118"/>
                    <a:pt x="100" y="118"/>
                    <a:pt x="101" y="120"/>
                  </a:cubicBezTo>
                  <a:cubicBezTo>
                    <a:pt x="102" y="121"/>
                    <a:pt x="102" y="118"/>
                    <a:pt x="102" y="117"/>
                  </a:cubicBezTo>
                  <a:cubicBezTo>
                    <a:pt x="103" y="116"/>
                    <a:pt x="103" y="115"/>
                    <a:pt x="103" y="114"/>
                  </a:cubicBezTo>
                  <a:cubicBezTo>
                    <a:pt x="104" y="114"/>
                    <a:pt x="109" y="113"/>
                    <a:pt x="114" y="111"/>
                  </a:cubicBezTo>
                  <a:cubicBezTo>
                    <a:pt x="118" y="109"/>
                    <a:pt x="115" y="108"/>
                    <a:pt x="116" y="107"/>
                  </a:cubicBezTo>
                  <a:cubicBezTo>
                    <a:pt x="117" y="105"/>
                    <a:pt x="119" y="106"/>
                    <a:pt x="120" y="105"/>
                  </a:cubicBezTo>
                  <a:cubicBezTo>
                    <a:pt x="121" y="105"/>
                    <a:pt x="119" y="104"/>
                    <a:pt x="120" y="103"/>
                  </a:cubicBezTo>
                  <a:cubicBezTo>
                    <a:pt x="120" y="101"/>
                    <a:pt x="122" y="104"/>
                    <a:pt x="124" y="105"/>
                  </a:cubicBezTo>
                  <a:cubicBezTo>
                    <a:pt x="126" y="106"/>
                    <a:pt x="125" y="104"/>
                    <a:pt x="126" y="103"/>
                  </a:cubicBezTo>
                  <a:cubicBezTo>
                    <a:pt x="127" y="101"/>
                    <a:pt x="129" y="100"/>
                    <a:pt x="133" y="99"/>
                  </a:cubicBezTo>
                  <a:cubicBezTo>
                    <a:pt x="138" y="97"/>
                    <a:pt x="137" y="97"/>
                    <a:pt x="140" y="94"/>
                  </a:cubicBezTo>
                  <a:cubicBezTo>
                    <a:pt x="143" y="90"/>
                    <a:pt x="145" y="86"/>
                    <a:pt x="147" y="85"/>
                  </a:cubicBezTo>
                  <a:cubicBezTo>
                    <a:pt x="148" y="83"/>
                    <a:pt x="150" y="83"/>
                    <a:pt x="150" y="82"/>
                  </a:cubicBezTo>
                  <a:cubicBezTo>
                    <a:pt x="150" y="81"/>
                    <a:pt x="148" y="82"/>
                    <a:pt x="148" y="80"/>
                  </a:cubicBezTo>
                  <a:cubicBezTo>
                    <a:pt x="147" y="79"/>
                    <a:pt x="150" y="80"/>
                    <a:pt x="150" y="79"/>
                  </a:cubicBezTo>
                  <a:cubicBezTo>
                    <a:pt x="150" y="79"/>
                    <a:pt x="149" y="78"/>
                    <a:pt x="147" y="78"/>
                  </a:cubicBezTo>
                  <a:cubicBezTo>
                    <a:pt x="146" y="77"/>
                    <a:pt x="144" y="77"/>
                    <a:pt x="144" y="76"/>
                  </a:cubicBezTo>
                  <a:cubicBezTo>
                    <a:pt x="144" y="75"/>
                    <a:pt x="146" y="75"/>
                    <a:pt x="146" y="74"/>
                  </a:cubicBezTo>
                  <a:cubicBezTo>
                    <a:pt x="146" y="73"/>
                    <a:pt x="144" y="74"/>
                    <a:pt x="142" y="73"/>
                  </a:cubicBezTo>
                  <a:cubicBezTo>
                    <a:pt x="141" y="72"/>
                    <a:pt x="143" y="72"/>
                    <a:pt x="145" y="70"/>
                  </a:cubicBezTo>
                  <a:cubicBezTo>
                    <a:pt x="146" y="69"/>
                    <a:pt x="148" y="68"/>
                    <a:pt x="150" y="67"/>
                  </a:cubicBezTo>
                  <a:cubicBezTo>
                    <a:pt x="152" y="66"/>
                    <a:pt x="150" y="65"/>
                    <a:pt x="150" y="64"/>
                  </a:cubicBezTo>
                  <a:cubicBezTo>
                    <a:pt x="150" y="62"/>
                    <a:pt x="151" y="63"/>
                    <a:pt x="152" y="62"/>
                  </a:cubicBezTo>
                  <a:cubicBezTo>
                    <a:pt x="152" y="61"/>
                    <a:pt x="150" y="61"/>
                    <a:pt x="149" y="60"/>
                  </a:cubicBezTo>
                  <a:cubicBezTo>
                    <a:pt x="148" y="59"/>
                    <a:pt x="152" y="58"/>
                    <a:pt x="154" y="56"/>
                  </a:cubicBezTo>
                  <a:cubicBezTo>
                    <a:pt x="157" y="55"/>
                    <a:pt x="159" y="56"/>
                    <a:pt x="160" y="56"/>
                  </a:cubicBezTo>
                  <a:cubicBezTo>
                    <a:pt x="161" y="56"/>
                    <a:pt x="162" y="55"/>
                    <a:pt x="162" y="54"/>
                  </a:cubicBezTo>
                  <a:cubicBezTo>
                    <a:pt x="162" y="54"/>
                    <a:pt x="161" y="53"/>
                    <a:pt x="160" y="53"/>
                  </a:cubicBezTo>
                  <a:cubicBezTo>
                    <a:pt x="160" y="52"/>
                    <a:pt x="162" y="49"/>
                    <a:pt x="163" y="49"/>
                  </a:cubicBezTo>
                  <a:cubicBezTo>
                    <a:pt x="163" y="48"/>
                    <a:pt x="164" y="50"/>
                    <a:pt x="166" y="51"/>
                  </a:cubicBezTo>
                  <a:cubicBezTo>
                    <a:pt x="167" y="52"/>
                    <a:pt x="167" y="49"/>
                    <a:pt x="167" y="48"/>
                  </a:cubicBezTo>
                  <a:cubicBezTo>
                    <a:pt x="167" y="47"/>
                    <a:pt x="169" y="51"/>
                    <a:pt x="171" y="51"/>
                  </a:cubicBezTo>
                  <a:cubicBezTo>
                    <a:pt x="173" y="52"/>
                    <a:pt x="173" y="50"/>
                    <a:pt x="173" y="49"/>
                  </a:cubicBezTo>
                  <a:cubicBezTo>
                    <a:pt x="174" y="48"/>
                    <a:pt x="179" y="49"/>
                    <a:pt x="181" y="49"/>
                  </a:cubicBezTo>
                  <a:cubicBezTo>
                    <a:pt x="183" y="49"/>
                    <a:pt x="185" y="49"/>
                    <a:pt x="187" y="49"/>
                  </a:cubicBezTo>
                  <a:cubicBezTo>
                    <a:pt x="187" y="48"/>
                    <a:pt x="187" y="46"/>
                    <a:pt x="186" y="46"/>
                  </a:cubicBezTo>
                  <a:cubicBezTo>
                    <a:pt x="186" y="45"/>
                    <a:pt x="185" y="44"/>
                    <a:pt x="185" y="44"/>
                  </a:cubicBezTo>
                  <a:cubicBezTo>
                    <a:pt x="185" y="44"/>
                    <a:pt x="185" y="44"/>
                    <a:pt x="185" y="44"/>
                  </a:cubicBezTo>
                  <a:cubicBezTo>
                    <a:pt x="185" y="43"/>
                    <a:pt x="184" y="42"/>
                    <a:pt x="183" y="41"/>
                  </a:cubicBezTo>
                  <a:cubicBezTo>
                    <a:pt x="183" y="41"/>
                    <a:pt x="183" y="41"/>
                    <a:pt x="183" y="41"/>
                  </a:cubicBezTo>
                  <a:cubicBezTo>
                    <a:pt x="182" y="40"/>
                    <a:pt x="182" y="40"/>
                    <a:pt x="181" y="40"/>
                  </a:cubicBezTo>
                  <a:cubicBezTo>
                    <a:pt x="180" y="40"/>
                    <a:pt x="180" y="40"/>
                    <a:pt x="180" y="37"/>
                  </a:cubicBezTo>
                  <a:cubicBezTo>
                    <a:pt x="181" y="35"/>
                    <a:pt x="182" y="33"/>
                    <a:pt x="182" y="31"/>
                  </a:cubicBezTo>
                  <a:cubicBezTo>
                    <a:pt x="183" y="29"/>
                    <a:pt x="184" y="27"/>
                    <a:pt x="184" y="26"/>
                  </a:cubicBezTo>
                  <a:cubicBezTo>
                    <a:pt x="184" y="25"/>
                    <a:pt x="183" y="24"/>
                    <a:pt x="182" y="23"/>
                  </a:cubicBezTo>
                  <a:cubicBezTo>
                    <a:pt x="180" y="21"/>
                    <a:pt x="178" y="19"/>
                    <a:pt x="178" y="18"/>
                  </a:cubicBezTo>
                  <a:cubicBezTo>
                    <a:pt x="178" y="16"/>
                    <a:pt x="180" y="14"/>
                    <a:pt x="181" y="13"/>
                  </a:cubicBezTo>
                  <a:cubicBezTo>
                    <a:pt x="181" y="13"/>
                    <a:pt x="181" y="13"/>
                    <a:pt x="181" y="13"/>
                  </a:cubicBezTo>
                  <a:cubicBezTo>
                    <a:pt x="181" y="12"/>
                    <a:pt x="181" y="12"/>
                    <a:pt x="180" y="11"/>
                  </a:cubicBezTo>
                  <a:cubicBezTo>
                    <a:pt x="180" y="11"/>
                    <a:pt x="180" y="11"/>
                    <a:pt x="179" y="11"/>
                  </a:cubicBezTo>
                  <a:cubicBezTo>
                    <a:pt x="179" y="10"/>
                    <a:pt x="178" y="11"/>
                    <a:pt x="178" y="11"/>
                  </a:cubicBezTo>
                  <a:cubicBezTo>
                    <a:pt x="178" y="11"/>
                    <a:pt x="177" y="11"/>
                    <a:pt x="177" y="11"/>
                  </a:cubicBezTo>
                  <a:cubicBezTo>
                    <a:pt x="176" y="11"/>
                    <a:pt x="176" y="10"/>
                    <a:pt x="176" y="9"/>
                  </a:cubicBezTo>
                  <a:cubicBezTo>
                    <a:pt x="176" y="8"/>
                    <a:pt x="176" y="8"/>
                    <a:pt x="177" y="7"/>
                  </a:cubicBezTo>
                  <a:cubicBezTo>
                    <a:pt x="177" y="6"/>
                    <a:pt x="178" y="6"/>
                    <a:pt x="178" y="6"/>
                  </a:cubicBezTo>
                  <a:cubicBezTo>
                    <a:pt x="178" y="5"/>
                    <a:pt x="178" y="5"/>
                    <a:pt x="178" y="4"/>
                  </a:cubicBezTo>
                  <a:cubicBezTo>
                    <a:pt x="177" y="2"/>
                    <a:pt x="177" y="1"/>
                    <a:pt x="177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1" y="1"/>
                    <a:pt x="81" y="2"/>
                    <a:pt x="81" y="3"/>
                  </a:cubicBezTo>
                  <a:cubicBezTo>
                    <a:pt x="79" y="5"/>
                    <a:pt x="78" y="8"/>
                    <a:pt x="7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82" name="Freeform 154"/>
            <p:cNvSpPr>
              <a:spLocks/>
            </p:cNvSpPr>
            <p:nvPr/>
          </p:nvSpPr>
          <p:spPr bwMode="auto">
            <a:xfrm>
              <a:off x="3706937" y="1620838"/>
              <a:ext cx="104775" cy="104775"/>
            </a:xfrm>
            <a:custGeom>
              <a:avLst/>
              <a:gdLst>
                <a:gd name="T0" fmla="*/ 2 w 11"/>
                <a:gd name="T1" fmla="*/ 8 h 11"/>
                <a:gd name="T2" fmla="*/ 6 w 11"/>
                <a:gd name="T3" fmla="*/ 8 h 11"/>
                <a:gd name="T4" fmla="*/ 9 w 11"/>
                <a:gd name="T5" fmla="*/ 9 h 11"/>
                <a:gd name="T6" fmla="*/ 10 w 11"/>
                <a:gd name="T7" fmla="*/ 5 h 11"/>
                <a:gd name="T8" fmla="*/ 10 w 11"/>
                <a:gd name="T9" fmla="*/ 2 h 11"/>
                <a:gd name="T10" fmla="*/ 6 w 11"/>
                <a:gd name="T11" fmla="*/ 3 h 11"/>
                <a:gd name="T12" fmla="*/ 3 w 11"/>
                <a:gd name="T13" fmla="*/ 5 h 11"/>
                <a:gd name="T14" fmla="*/ 2 w 11"/>
                <a:gd name="T1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2" y="8"/>
                  </a:moveTo>
                  <a:cubicBezTo>
                    <a:pt x="4" y="8"/>
                    <a:pt x="4" y="7"/>
                    <a:pt x="6" y="8"/>
                  </a:cubicBezTo>
                  <a:cubicBezTo>
                    <a:pt x="8" y="9"/>
                    <a:pt x="8" y="11"/>
                    <a:pt x="9" y="9"/>
                  </a:cubicBezTo>
                  <a:cubicBezTo>
                    <a:pt x="10" y="8"/>
                    <a:pt x="9" y="7"/>
                    <a:pt x="10" y="5"/>
                  </a:cubicBezTo>
                  <a:cubicBezTo>
                    <a:pt x="10" y="3"/>
                    <a:pt x="11" y="2"/>
                    <a:pt x="10" y="2"/>
                  </a:cubicBezTo>
                  <a:cubicBezTo>
                    <a:pt x="8" y="2"/>
                    <a:pt x="8" y="0"/>
                    <a:pt x="6" y="3"/>
                  </a:cubicBezTo>
                  <a:cubicBezTo>
                    <a:pt x="5" y="5"/>
                    <a:pt x="4" y="5"/>
                    <a:pt x="3" y="5"/>
                  </a:cubicBezTo>
                  <a:cubicBezTo>
                    <a:pt x="3" y="6"/>
                    <a:pt x="0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83" name="Freeform 155"/>
            <p:cNvSpPr>
              <a:spLocks/>
            </p:cNvSpPr>
            <p:nvPr/>
          </p:nvSpPr>
          <p:spPr bwMode="auto">
            <a:xfrm>
              <a:off x="3525962" y="2154238"/>
              <a:ext cx="152400" cy="200025"/>
            </a:xfrm>
            <a:custGeom>
              <a:avLst/>
              <a:gdLst>
                <a:gd name="T0" fmla="*/ 1 w 16"/>
                <a:gd name="T1" fmla="*/ 19 h 21"/>
                <a:gd name="T2" fmla="*/ 4 w 16"/>
                <a:gd name="T3" fmla="*/ 20 h 21"/>
                <a:gd name="T4" fmla="*/ 6 w 16"/>
                <a:gd name="T5" fmla="*/ 16 h 21"/>
                <a:gd name="T6" fmla="*/ 10 w 16"/>
                <a:gd name="T7" fmla="*/ 14 h 21"/>
                <a:gd name="T8" fmla="*/ 12 w 16"/>
                <a:gd name="T9" fmla="*/ 11 h 21"/>
                <a:gd name="T10" fmla="*/ 10 w 16"/>
                <a:gd name="T11" fmla="*/ 8 h 21"/>
                <a:gd name="T12" fmla="*/ 10 w 16"/>
                <a:gd name="T13" fmla="*/ 3 h 21"/>
                <a:gd name="T14" fmla="*/ 15 w 16"/>
                <a:gd name="T15" fmla="*/ 3 h 21"/>
                <a:gd name="T16" fmla="*/ 13 w 16"/>
                <a:gd name="T17" fmla="*/ 0 h 21"/>
                <a:gd name="T18" fmla="*/ 9 w 16"/>
                <a:gd name="T19" fmla="*/ 1 h 21"/>
                <a:gd name="T20" fmla="*/ 7 w 16"/>
                <a:gd name="T21" fmla="*/ 1 h 21"/>
                <a:gd name="T22" fmla="*/ 4 w 16"/>
                <a:gd name="T23" fmla="*/ 4 h 21"/>
                <a:gd name="T24" fmla="*/ 1 w 16"/>
                <a:gd name="T25" fmla="*/ 8 h 21"/>
                <a:gd name="T26" fmla="*/ 1 w 16"/>
                <a:gd name="T27" fmla="*/ 14 h 21"/>
                <a:gd name="T28" fmla="*/ 1 w 16"/>
                <a:gd name="T29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1">
                  <a:moveTo>
                    <a:pt x="1" y="19"/>
                  </a:moveTo>
                  <a:cubicBezTo>
                    <a:pt x="1" y="21"/>
                    <a:pt x="2" y="21"/>
                    <a:pt x="4" y="20"/>
                  </a:cubicBezTo>
                  <a:cubicBezTo>
                    <a:pt x="5" y="18"/>
                    <a:pt x="4" y="17"/>
                    <a:pt x="6" y="16"/>
                  </a:cubicBezTo>
                  <a:cubicBezTo>
                    <a:pt x="9" y="15"/>
                    <a:pt x="10" y="17"/>
                    <a:pt x="10" y="14"/>
                  </a:cubicBezTo>
                  <a:cubicBezTo>
                    <a:pt x="10" y="12"/>
                    <a:pt x="11" y="13"/>
                    <a:pt x="12" y="11"/>
                  </a:cubicBezTo>
                  <a:cubicBezTo>
                    <a:pt x="12" y="10"/>
                    <a:pt x="10" y="10"/>
                    <a:pt x="10" y="8"/>
                  </a:cubicBezTo>
                  <a:cubicBezTo>
                    <a:pt x="10" y="5"/>
                    <a:pt x="9" y="3"/>
                    <a:pt x="10" y="3"/>
                  </a:cubicBezTo>
                  <a:cubicBezTo>
                    <a:pt x="12" y="4"/>
                    <a:pt x="14" y="5"/>
                    <a:pt x="15" y="3"/>
                  </a:cubicBezTo>
                  <a:cubicBezTo>
                    <a:pt x="15" y="1"/>
                    <a:pt x="16" y="0"/>
                    <a:pt x="13" y="0"/>
                  </a:cubicBezTo>
                  <a:cubicBezTo>
                    <a:pt x="11" y="0"/>
                    <a:pt x="11" y="2"/>
                    <a:pt x="9" y="1"/>
                  </a:cubicBezTo>
                  <a:cubicBezTo>
                    <a:pt x="7" y="1"/>
                    <a:pt x="7" y="0"/>
                    <a:pt x="7" y="1"/>
                  </a:cubicBezTo>
                  <a:cubicBezTo>
                    <a:pt x="6" y="2"/>
                    <a:pt x="6" y="3"/>
                    <a:pt x="4" y="4"/>
                  </a:cubicBezTo>
                  <a:cubicBezTo>
                    <a:pt x="2" y="6"/>
                    <a:pt x="0" y="6"/>
                    <a:pt x="1" y="8"/>
                  </a:cubicBezTo>
                  <a:cubicBezTo>
                    <a:pt x="1" y="11"/>
                    <a:pt x="0" y="12"/>
                    <a:pt x="1" y="14"/>
                  </a:cubicBezTo>
                  <a:cubicBezTo>
                    <a:pt x="2" y="16"/>
                    <a:pt x="1" y="18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84" name="Freeform 156"/>
            <p:cNvSpPr>
              <a:spLocks/>
            </p:cNvSpPr>
            <p:nvPr/>
          </p:nvSpPr>
          <p:spPr bwMode="auto">
            <a:xfrm>
              <a:off x="3287837" y="2259013"/>
              <a:ext cx="133350" cy="219075"/>
            </a:xfrm>
            <a:custGeom>
              <a:avLst/>
              <a:gdLst>
                <a:gd name="T0" fmla="*/ 3 w 14"/>
                <a:gd name="T1" fmla="*/ 23 h 23"/>
                <a:gd name="T2" fmla="*/ 7 w 14"/>
                <a:gd name="T3" fmla="*/ 16 h 23"/>
                <a:gd name="T4" fmla="*/ 11 w 14"/>
                <a:gd name="T5" fmla="*/ 7 h 23"/>
                <a:gd name="T6" fmla="*/ 10 w 14"/>
                <a:gd name="T7" fmla="*/ 3 h 23"/>
                <a:gd name="T8" fmla="*/ 6 w 14"/>
                <a:gd name="T9" fmla="*/ 12 h 23"/>
                <a:gd name="T10" fmla="*/ 2 w 14"/>
                <a:gd name="T11" fmla="*/ 18 h 23"/>
                <a:gd name="T12" fmla="*/ 3 w 1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3">
                  <a:moveTo>
                    <a:pt x="3" y="23"/>
                  </a:moveTo>
                  <a:cubicBezTo>
                    <a:pt x="6" y="23"/>
                    <a:pt x="5" y="19"/>
                    <a:pt x="7" y="16"/>
                  </a:cubicBezTo>
                  <a:cubicBezTo>
                    <a:pt x="8" y="13"/>
                    <a:pt x="11" y="10"/>
                    <a:pt x="11" y="7"/>
                  </a:cubicBezTo>
                  <a:cubicBezTo>
                    <a:pt x="11" y="5"/>
                    <a:pt x="14" y="0"/>
                    <a:pt x="10" y="3"/>
                  </a:cubicBezTo>
                  <a:cubicBezTo>
                    <a:pt x="9" y="6"/>
                    <a:pt x="8" y="10"/>
                    <a:pt x="6" y="12"/>
                  </a:cubicBezTo>
                  <a:cubicBezTo>
                    <a:pt x="4" y="15"/>
                    <a:pt x="2" y="16"/>
                    <a:pt x="2" y="18"/>
                  </a:cubicBezTo>
                  <a:cubicBezTo>
                    <a:pt x="2" y="21"/>
                    <a:pt x="0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grpSp>
        <p:nvGrpSpPr>
          <p:cNvPr id="185" name="Gruppieren 184"/>
          <p:cNvGrpSpPr/>
          <p:nvPr/>
        </p:nvGrpSpPr>
        <p:grpSpPr>
          <a:xfrm>
            <a:off x="7183562" y="5051426"/>
            <a:ext cx="762000" cy="561975"/>
            <a:chOff x="7183562" y="5051426"/>
            <a:chExt cx="762000" cy="561975"/>
          </a:xfrm>
          <a:solidFill>
            <a:schemeClr val="tx2"/>
          </a:solidFill>
        </p:grpSpPr>
        <p:sp>
          <p:nvSpPr>
            <p:cNvPr id="186" name="Freeform 157"/>
            <p:cNvSpPr>
              <a:spLocks/>
            </p:cNvSpPr>
            <p:nvPr/>
          </p:nvSpPr>
          <p:spPr bwMode="auto">
            <a:xfrm>
              <a:off x="7183562" y="5403851"/>
              <a:ext cx="171450" cy="133350"/>
            </a:xfrm>
            <a:custGeom>
              <a:avLst/>
              <a:gdLst>
                <a:gd name="T0" fmla="*/ 15 w 18"/>
                <a:gd name="T1" fmla="*/ 8 h 14"/>
                <a:gd name="T2" fmla="*/ 13 w 18"/>
                <a:gd name="T3" fmla="*/ 6 h 14"/>
                <a:gd name="T4" fmla="*/ 13 w 18"/>
                <a:gd name="T5" fmla="*/ 6 h 14"/>
                <a:gd name="T6" fmla="*/ 13 w 18"/>
                <a:gd name="T7" fmla="*/ 5 h 14"/>
                <a:gd name="T8" fmla="*/ 12 w 18"/>
                <a:gd name="T9" fmla="*/ 3 h 14"/>
                <a:gd name="T10" fmla="*/ 10 w 18"/>
                <a:gd name="T11" fmla="*/ 3 h 14"/>
                <a:gd name="T12" fmla="*/ 9 w 18"/>
                <a:gd name="T13" fmla="*/ 4 h 14"/>
                <a:gd name="T14" fmla="*/ 4 w 18"/>
                <a:gd name="T15" fmla="*/ 1 h 14"/>
                <a:gd name="T16" fmla="*/ 3 w 18"/>
                <a:gd name="T17" fmla="*/ 0 h 14"/>
                <a:gd name="T18" fmla="*/ 0 w 18"/>
                <a:gd name="T19" fmla="*/ 0 h 14"/>
                <a:gd name="T20" fmla="*/ 0 w 18"/>
                <a:gd name="T21" fmla="*/ 1 h 14"/>
                <a:gd name="T22" fmla="*/ 2 w 18"/>
                <a:gd name="T23" fmla="*/ 3 h 14"/>
                <a:gd name="T24" fmla="*/ 5 w 18"/>
                <a:gd name="T25" fmla="*/ 7 h 14"/>
                <a:gd name="T26" fmla="*/ 8 w 18"/>
                <a:gd name="T27" fmla="*/ 10 h 14"/>
                <a:gd name="T28" fmla="*/ 10 w 18"/>
                <a:gd name="T29" fmla="*/ 12 h 14"/>
                <a:gd name="T30" fmla="*/ 14 w 18"/>
                <a:gd name="T31" fmla="*/ 13 h 14"/>
                <a:gd name="T32" fmla="*/ 18 w 18"/>
                <a:gd name="T33" fmla="*/ 14 h 14"/>
                <a:gd name="T34" fmla="*/ 16 w 18"/>
                <a:gd name="T35" fmla="*/ 9 h 14"/>
                <a:gd name="T36" fmla="*/ 15 w 18"/>
                <a:gd name="T3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14">
                  <a:moveTo>
                    <a:pt x="15" y="8"/>
                  </a:moveTo>
                  <a:cubicBezTo>
                    <a:pt x="14" y="8"/>
                    <a:pt x="14" y="7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2" y="4"/>
                    <a:pt x="12" y="3"/>
                    <a:pt x="12" y="3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7" y="4"/>
                    <a:pt x="5" y="2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3" y="5"/>
                    <a:pt x="4" y="6"/>
                    <a:pt x="5" y="7"/>
                  </a:cubicBezTo>
                  <a:cubicBezTo>
                    <a:pt x="6" y="8"/>
                    <a:pt x="7" y="9"/>
                    <a:pt x="8" y="10"/>
                  </a:cubicBezTo>
                  <a:cubicBezTo>
                    <a:pt x="8" y="11"/>
                    <a:pt x="9" y="12"/>
                    <a:pt x="10" y="12"/>
                  </a:cubicBezTo>
                  <a:cubicBezTo>
                    <a:pt x="10" y="12"/>
                    <a:pt x="12" y="13"/>
                    <a:pt x="14" y="13"/>
                  </a:cubicBezTo>
                  <a:cubicBezTo>
                    <a:pt x="16" y="13"/>
                    <a:pt x="17" y="14"/>
                    <a:pt x="18" y="14"/>
                  </a:cubicBezTo>
                  <a:cubicBezTo>
                    <a:pt x="17" y="13"/>
                    <a:pt x="17" y="10"/>
                    <a:pt x="16" y="9"/>
                  </a:cubicBezTo>
                  <a:cubicBezTo>
                    <a:pt x="16" y="9"/>
                    <a:pt x="16" y="8"/>
                    <a:pt x="1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87" name="Freeform 158"/>
            <p:cNvSpPr>
              <a:spLocks/>
            </p:cNvSpPr>
            <p:nvPr/>
          </p:nvSpPr>
          <p:spPr bwMode="auto">
            <a:xfrm>
              <a:off x="7212137" y="5051426"/>
              <a:ext cx="733425" cy="561975"/>
            </a:xfrm>
            <a:custGeom>
              <a:avLst/>
              <a:gdLst>
                <a:gd name="T0" fmla="*/ 51 w 77"/>
                <a:gd name="T1" fmla="*/ 2 h 59"/>
                <a:gd name="T2" fmla="*/ 47 w 77"/>
                <a:gd name="T3" fmla="*/ 5 h 59"/>
                <a:gd name="T4" fmla="*/ 45 w 77"/>
                <a:gd name="T5" fmla="*/ 7 h 59"/>
                <a:gd name="T6" fmla="*/ 41 w 77"/>
                <a:gd name="T7" fmla="*/ 12 h 59"/>
                <a:gd name="T8" fmla="*/ 35 w 77"/>
                <a:gd name="T9" fmla="*/ 12 h 59"/>
                <a:gd name="T10" fmla="*/ 32 w 77"/>
                <a:gd name="T11" fmla="*/ 7 h 59"/>
                <a:gd name="T12" fmla="*/ 29 w 77"/>
                <a:gd name="T13" fmla="*/ 5 h 59"/>
                <a:gd name="T14" fmla="*/ 25 w 77"/>
                <a:gd name="T15" fmla="*/ 0 h 59"/>
                <a:gd name="T16" fmla="*/ 21 w 77"/>
                <a:gd name="T17" fmla="*/ 0 h 59"/>
                <a:gd name="T18" fmla="*/ 18 w 77"/>
                <a:gd name="T19" fmla="*/ 4 h 59"/>
                <a:gd name="T20" fmla="*/ 19 w 77"/>
                <a:gd name="T21" fmla="*/ 6 h 59"/>
                <a:gd name="T22" fmla="*/ 20 w 77"/>
                <a:gd name="T23" fmla="*/ 7 h 59"/>
                <a:gd name="T24" fmla="*/ 23 w 77"/>
                <a:gd name="T25" fmla="*/ 10 h 59"/>
                <a:gd name="T26" fmla="*/ 23 w 77"/>
                <a:gd name="T27" fmla="*/ 10 h 59"/>
                <a:gd name="T28" fmla="*/ 22 w 77"/>
                <a:gd name="T29" fmla="*/ 13 h 59"/>
                <a:gd name="T30" fmla="*/ 22 w 77"/>
                <a:gd name="T31" fmla="*/ 13 h 59"/>
                <a:gd name="T32" fmla="*/ 11 w 77"/>
                <a:gd name="T33" fmla="*/ 12 h 59"/>
                <a:gd name="T34" fmla="*/ 4 w 77"/>
                <a:gd name="T35" fmla="*/ 8 h 59"/>
                <a:gd name="T36" fmla="*/ 0 w 77"/>
                <a:gd name="T37" fmla="*/ 11 h 59"/>
                <a:gd name="T38" fmla="*/ 4 w 77"/>
                <a:gd name="T39" fmla="*/ 14 h 59"/>
                <a:gd name="T40" fmla="*/ 6 w 77"/>
                <a:gd name="T41" fmla="*/ 16 h 59"/>
                <a:gd name="T42" fmla="*/ 9 w 77"/>
                <a:gd name="T43" fmla="*/ 19 h 59"/>
                <a:gd name="T44" fmla="*/ 9 w 77"/>
                <a:gd name="T45" fmla="*/ 21 h 59"/>
                <a:gd name="T46" fmla="*/ 7 w 77"/>
                <a:gd name="T47" fmla="*/ 22 h 59"/>
                <a:gd name="T48" fmla="*/ 13 w 77"/>
                <a:gd name="T49" fmla="*/ 27 h 59"/>
                <a:gd name="T50" fmla="*/ 14 w 77"/>
                <a:gd name="T51" fmla="*/ 31 h 59"/>
                <a:gd name="T52" fmla="*/ 10 w 77"/>
                <a:gd name="T53" fmla="*/ 33 h 59"/>
                <a:gd name="T54" fmla="*/ 15 w 77"/>
                <a:gd name="T55" fmla="*/ 36 h 59"/>
                <a:gd name="T56" fmla="*/ 21 w 77"/>
                <a:gd name="T57" fmla="*/ 41 h 59"/>
                <a:gd name="T58" fmla="*/ 21 w 77"/>
                <a:gd name="T59" fmla="*/ 43 h 59"/>
                <a:gd name="T60" fmla="*/ 23 w 77"/>
                <a:gd name="T61" fmla="*/ 45 h 59"/>
                <a:gd name="T62" fmla="*/ 25 w 77"/>
                <a:gd name="T63" fmla="*/ 48 h 59"/>
                <a:gd name="T64" fmla="*/ 30 w 77"/>
                <a:gd name="T65" fmla="*/ 43 h 59"/>
                <a:gd name="T66" fmla="*/ 36 w 77"/>
                <a:gd name="T67" fmla="*/ 40 h 59"/>
                <a:gd name="T68" fmla="*/ 44 w 77"/>
                <a:gd name="T69" fmla="*/ 38 h 59"/>
                <a:gd name="T70" fmla="*/ 46 w 77"/>
                <a:gd name="T71" fmla="*/ 45 h 59"/>
                <a:gd name="T72" fmla="*/ 46 w 77"/>
                <a:gd name="T73" fmla="*/ 46 h 59"/>
                <a:gd name="T74" fmla="*/ 48 w 77"/>
                <a:gd name="T75" fmla="*/ 49 h 59"/>
                <a:gd name="T76" fmla="*/ 44 w 77"/>
                <a:gd name="T77" fmla="*/ 51 h 59"/>
                <a:gd name="T78" fmla="*/ 45 w 77"/>
                <a:gd name="T79" fmla="*/ 52 h 59"/>
                <a:gd name="T80" fmla="*/ 50 w 77"/>
                <a:gd name="T81" fmla="*/ 57 h 59"/>
                <a:gd name="T82" fmla="*/ 51 w 77"/>
                <a:gd name="T83" fmla="*/ 58 h 59"/>
                <a:gd name="T84" fmla="*/ 55 w 77"/>
                <a:gd name="T85" fmla="*/ 59 h 59"/>
                <a:gd name="T86" fmla="*/ 56 w 77"/>
                <a:gd name="T87" fmla="*/ 47 h 59"/>
                <a:gd name="T88" fmla="*/ 59 w 77"/>
                <a:gd name="T89" fmla="*/ 44 h 59"/>
                <a:gd name="T90" fmla="*/ 61 w 77"/>
                <a:gd name="T91" fmla="*/ 40 h 59"/>
                <a:gd name="T92" fmla="*/ 65 w 77"/>
                <a:gd name="T93" fmla="*/ 30 h 59"/>
                <a:gd name="T94" fmla="*/ 77 w 77"/>
                <a:gd name="T95" fmla="*/ 27 h 59"/>
                <a:gd name="T96" fmla="*/ 68 w 77"/>
                <a:gd name="T97" fmla="*/ 22 h 59"/>
                <a:gd name="T98" fmla="*/ 58 w 77"/>
                <a:gd name="T99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" h="59">
                  <a:moveTo>
                    <a:pt x="54" y="4"/>
                  </a:moveTo>
                  <a:cubicBezTo>
                    <a:pt x="53" y="3"/>
                    <a:pt x="52" y="2"/>
                    <a:pt x="51" y="2"/>
                  </a:cubicBezTo>
                  <a:cubicBezTo>
                    <a:pt x="51" y="2"/>
                    <a:pt x="51" y="2"/>
                    <a:pt x="51" y="3"/>
                  </a:cubicBezTo>
                  <a:cubicBezTo>
                    <a:pt x="50" y="3"/>
                    <a:pt x="49" y="4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6" y="6"/>
                    <a:pt x="46" y="6"/>
                    <a:pt x="45" y="7"/>
                  </a:cubicBezTo>
                  <a:cubicBezTo>
                    <a:pt x="45" y="7"/>
                    <a:pt x="44" y="8"/>
                    <a:pt x="43" y="10"/>
                  </a:cubicBezTo>
                  <a:cubicBezTo>
                    <a:pt x="42" y="11"/>
                    <a:pt x="42" y="12"/>
                    <a:pt x="41" y="12"/>
                  </a:cubicBezTo>
                  <a:cubicBezTo>
                    <a:pt x="40" y="13"/>
                    <a:pt x="39" y="13"/>
                    <a:pt x="38" y="12"/>
                  </a:cubicBezTo>
                  <a:cubicBezTo>
                    <a:pt x="37" y="12"/>
                    <a:pt x="36" y="12"/>
                    <a:pt x="35" y="12"/>
                  </a:cubicBezTo>
                  <a:cubicBezTo>
                    <a:pt x="33" y="11"/>
                    <a:pt x="33" y="9"/>
                    <a:pt x="33" y="8"/>
                  </a:cubicBezTo>
                  <a:cubicBezTo>
                    <a:pt x="33" y="7"/>
                    <a:pt x="33" y="7"/>
                    <a:pt x="32" y="7"/>
                  </a:cubicBezTo>
                  <a:cubicBezTo>
                    <a:pt x="32" y="7"/>
                    <a:pt x="32" y="7"/>
                    <a:pt x="31" y="7"/>
                  </a:cubicBezTo>
                  <a:cubicBezTo>
                    <a:pt x="30" y="6"/>
                    <a:pt x="29" y="6"/>
                    <a:pt x="29" y="5"/>
                  </a:cubicBezTo>
                  <a:cubicBezTo>
                    <a:pt x="29" y="5"/>
                    <a:pt x="28" y="4"/>
                    <a:pt x="27" y="3"/>
                  </a:cubicBezTo>
                  <a:cubicBezTo>
                    <a:pt x="27" y="2"/>
                    <a:pt x="25" y="0"/>
                    <a:pt x="25" y="0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2" y="0"/>
                    <a:pt x="2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1"/>
                    <a:pt x="18" y="3"/>
                    <a:pt x="18" y="4"/>
                  </a:cubicBezTo>
                  <a:cubicBezTo>
                    <a:pt x="18" y="5"/>
                    <a:pt x="18" y="5"/>
                    <a:pt x="19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20" y="6"/>
                    <a:pt x="20" y="6"/>
                  </a:cubicBezTo>
                  <a:cubicBezTo>
                    <a:pt x="20" y="6"/>
                    <a:pt x="20" y="6"/>
                    <a:pt x="20" y="7"/>
                  </a:cubicBezTo>
                  <a:cubicBezTo>
                    <a:pt x="21" y="7"/>
                    <a:pt x="23" y="9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10"/>
                    <a:pt x="23" y="11"/>
                    <a:pt x="23" y="12"/>
                  </a:cubicBezTo>
                  <a:cubicBezTo>
                    <a:pt x="23" y="12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1" y="13"/>
                    <a:pt x="18" y="13"/>
                    <a:pt x="15" y="13"/>
                  </a:cubicBezTo>
                  <a:cubicBezTo>
                    <a:pt x="13" y="12"/>
                    <a:pt x="11" y="12"/>
                    <a:pt x="11" y="12"/>
                  </a:cubicBezTo>
                  <a:cubicBezTo>
                    <a:pt x="10" y="11"/>
                    <a:pt x="9" y="11"/>
                    <a:pt x="8" y="10"/>
                  </a:cubicBezTo>
                  <a:cubicBezTo>
                    <a:pt x="6" y="9"/>
                    <a:pt x="4" y="8"/>
                    <a:pt x="4" y="8"/>
                  </a:cubicBezTo>
                  <a:cubicBezTo>
                    <a:pt x="3" y="8"/>
                    <a:pt x="2" y="9"/>
                    <a:pt x="1" y="10"/>
                  </a:cubicBezTo>
                  <a:cubicBezTo>
                    <a:pt x="1" y="10"/>
                    <a:pt x="0" y="11"/>
                    <a:pt x="0" y="11"/>
                  </a:cubicBezTo>
                  <a:cubicBezTo>
                    <a:pt x="0" y="12"/>
                    <a:pt x="2" y="14"/>
                    <a:pt x="3" y="15"/>
                  </a:cubicBezTo>
                  <a:cubicBezTo>
                    <a:pt x="3" y="15"/>
                    <a:pt x="3" y="15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5" y="14"/>
                    <a:pt x="6" y="15"/>
                    <a:pt x="6" y="16"/>
                  </a:cubicBezTo>
                  <a:cubicBezTo>
                    <a:pt x="7" y="16"/>
                    <a:pt x="8" y="17"/>
                    <a:pt x="8" y="18"/>
                  </a:cubicBezTo>
                  <a:cubicBezTo>
                    <a:pt x="8" y="18"/>
                    <a:pt x="9" y="19"/>
                    <a:pt x="9" y="19"/>
                  </a:cubicBezTo>
                  <a:cubicBezTo>
                    <a:pt x="9" y="20"/>
                    <a:pt x="9" y="20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2"/>
                    <a:pt x="7" y="22"/>
                  </a:cubicBezTo>
                  <a:cubicBezTo>
                    <a:pt x="7" y="22"/>
                    <a:pt x="6" y="22"/>
                    <a:pt x="7" y="22"/>
                  </a:cubicBezTo>
                  <a:cubicBezTo>
                    <a:pt x="7" y="23"/>
                    <a:pt x="9" y="24"/>
                    <a:pt x="11" y="25"/>
                  </a:cubicBezTo>
                  <a:cubicBezTo>
                    <a:pt x="12" y="26"/>
                    <a:pt x="13" y="26"/>
                    <a:pt x="13" y="27"/>
                  </a:cubicBezTo>
                  <a:cubicBezTo>
                    <a:pt x="14" y="27"/>
                    <a:pt x="14" y="28"/>
                    <a:pt x="14" y="29"/>
                  </a:cubicBezTo>
                  <a:cubicBezTo>
                    <a:pt x="14" y="29"/>
                    <a:pt x="14" y="30"/>
                    <a:pt x="14" y="31"/>
                  </a:cubicBezTo>
                  <a:cubicBezTo>
                    <a:pt x="14" y="32"/>
                    <a:pt x="12" y="32"/>
                    <a:pt x="11" y="33"/>
                  </a:cubicBezTo>
                  <a:cubicBezTo>
                    <a:pt x="11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3" y="34"/>
                    <a:pt x="15" y="36"/>
                  </a:cubicBezTo>
                  <a:cubicBezTo>
                    <a:pt x="18" y="37"/>
                    <a:pt x="20" y="39"/>
                    <a:pt x="21" y="39"/>
                  </a:cubicBezTo>
                  <a:cubicBezTo>
                    <a:pt x="21" y="40"/>
                    <a:pt x="21" y="41"/>
                    <a:pt x="21" y="41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1" y="42"/>
                    <a:pt x="21" y="42"/>
                    <a:pt x="21" y="43"/>
                  </a:cubicBezTo>
                  <a:cubicBezTo>
                    <a:pt x="21" y="43"/>
                    <a:pt x="21" y="44"/>
                    <a:pt x="22" y="44"/>
                  </a:cubicBezTo>
                  <a:cubicBezTo>
                    <a:pt x="22" y="44"/>
                    <a:pt x="23" y="45"/>
                    <a:pt x="23" y="45"/>
                  </a:cubicBezTo>
                  <a:cubicBezTo>
                    <a:pt x="23" y="46"/>
                    <a:pt x="23" y="48"/>
                    <a:pt x="23" y="49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6" y="47"/>
                    <a:pt x="27" y="46"/>
                    <a:pt x="27" y="45"/>
                  </a:cubicBezTo>
                  <a:cubicBezTo>
                    <a:pt x="28" y="45"/>
                    <a:pt x="29" y="44"/>
                    <a:pt x="30" y="43"/>
                  </a:cubicBezTo>
                  <a:cubicBezTo>
                    <a:pt x="31" y="43"/>
                    <a:pt x="32" y="42"/>
                    <a:pt x="33" y="41"/>
                  </a:cubicBezTo>
                  <a:cubicBezTo>
                    <a:pt x="34" y="41"/>
                    <a:pt x="35" y="40"/>
                    <a:pt x="36" y="40"/>
                  </a:cubicBezTo>
                  <a:cubicBezTo>
                    <a:pt x="38" y="38"/>
                    <a:pt x="40" y="37"/>
                    <a:pt x="41" y="37"/>
                  </a:cubicBezTo>
                  <a:cubicBezTo>
                    <a:pt x="42" y="36"/>
                    <a:pt x="43" y="37"/>
                    <a:pt x="44" y="38"/>
                  </a:cubicBezTo>
                  <a:cubicBezTo>
                    <a:pt x="46" y="39"/>
                    <a:pt x="47" y="41"/>
                    <a:pt x="48" y="42"/>
                  </a:cubicBezTo>
                  <a:cubicBezTo>
                    <a:pt x="48" y="43"/>
                    <a:pt x="47" y="44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7"/>
                    <a:pt x="48" y="48"/>
                    <a:pt x="48" y="49"/>
                  </a:cubicBezTo>
                  <a:cubicBezTo>
                    <a:pt x="47" y="49"/>
                    <a:pt x="47" y="50"/>
                    <a:pt x="46" y="50"/>
                  </a:cubicBezTo>
                  <a:cubicBezTo>
                    <a:pt x="45" y="51"/>
                    <a:pt x="44" y="51"/>
                    <a:pt x="44" y="51"/>
                  </a:cubicBezTo>
                  <a:cubicBezTo>
                    <a:pt x="44" y="51"/>
                    <a:pt x="45" y="52"/>
                    <a:pt x="4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6" y="53"/>
                    <a:pt x="46" y="53"/>
                    <a:pt x="47" y="54"/>
                  </a:cubicBezTo>
                  <a:cubicBezTo>
                    <a:pt x="47" y="55"/>
                    <a:pt x="48" y="56"/>
                    <a:pt x="50" y="57"/>
                  </a:cubicBezTo>
                  <a:cubicBezTo>
                    <a:pt x="50" y="57"/>
                    <a:pt x="51" y="57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8"/>
                    <a:pt x="53" y="59"/>
                    <a:pt x="54" y="59"/>
                  </a:cubicBezTo>
                  <a:cubicBezTo>
                    <a:pt x="54" y="59"/>
                    <a:pt x="54" y="59"/>
                    <a:pt x="55" y="59"/>
                  </a:cubicBezTo>
                  <a:cubicBezTo>
                    <a:pt x="55" y="57"/>
                    <a:pt x="55" y="55"/>
                    <a:pt x="55" y="53"/>
                  </a:cubicBezTo>
                  <a:cubicBezTo>
                    <a:pt x="55" y="50"/>
                    <a:pt x="55" y="47"/>
                    <a:pt x="56" y="47"/>
                  </a:cubicBezTo>
                  <a:cubicBezTo>
                    <a:pt x="57" y="47"/>
                    <a:pt x="59" y="50"/>
                    <a:pt x="59" y="49"/>
                  </a:cubicBezTo>
                  <a:cubicBezTo>
                    <a:pt x="60" y="48"/>
                    <a:pt x="59" y="44"/>
                    <a:pt x="59" y="44"/>
                  </a:cubicBezTo>
                  <a:cubicBezTo>
                    <a:pt x="59" y="43"/>
                    <a:pt x="63" y="44"/>
                    <a:pt x="63" y="43"/>
                  </a:cubicBezTo>
                  <a:cubicBezTo>
                    <a:pt x="63" y="43"/>
                    <a:pt x="62" y="41"/>
                    <a:pt x="61" y="40"/>
                  </a:cubicBezTo>
                  <a:cubicBezTo>
                    <a:pt x="61" y="39"/>
                    <a:pt x="62" y="38"/>
                    <a:pt x="63" y="36"/>
                  </a:cubicBezTo>
                  <a:cubicBezTo>
                    <a:pt x="63" y="34"/>
                    <a:pt x="64" y="32"/>
                    <a:pt x="65" y="30"/>
                  </a:cubicBezTo>
                  <a:cubicBezTo>
                    <a:pt x="66" y="28"/>
                    <a:pt x="68" y="27"/>
                    <a:pt x="70" y="26"/>
                  </a:cubicBezTo>
                  <a:cubicBezTo>
                    <a:pt x="71" y="26"/>
                    <a:pt x="77" y="29"/>
                    <a:pt x="77" y="27"/>
                  </a:cubicBezTo>
                  <a:cubicBezTo>
                    <a:pt x="76" y="26"/>
                    <a:pt x="74" y="23"/>
                    <a:pt x="72" y="22"/>
                  </a:cubicBezTo>
                  <a:cubicBezTo>
                    <a:pt x="71" y="22"/>
                    <a:pt x="70" y="22"/>
                    <a:pt x="68" y="22"/>
                  </a:cubicBezTo>
                  <a:cubicBezTo>
                    <a:pt x="66" y="22"/>
                    <a:pt x="63" y="18"/>
                    <a:pt x="61" y="16"/>
                  </a:cubicBezTo>
                  <a:cubicBezTo>
                    <a:pt x="59" y="13"/>
                    <a:pt x="60" y="12"/>
                    <a:pt x="58" y="9"/>
                  </a:cubicBezTo>
                  <a:cubicBezTo>
                    <a:pt x="57" y="6"/>
                    <a:pt x="56" y="6"/>
                    <a:pt x="5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sp>
        <p:nvSpPr>
          <p:cNvPr id="188" name="Freeform 165"/>
          <p:cNvSpPr>
            <a:spLocks/>
          </p:cNvSpPr>
          <p:nvPr/>
        </p:nvSpPr>
        <p:spPr bwMode="auto">
          <a:xfrm>
            <a:off x="2802062" y="0"/>
            <a:ext cx="19050" cy="0"/>
          </a:xfrm>
          <a:custGeom>
            <a:avLst/>
            <a:gdLst>
              <a:gd name="T0" fmla="*/ 2 w 2"/>
              <a:gd name="T1" fmla="*/ 0 w 2"/>
              <a:gd name="T2" fmla="*/ 2 w 2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">
                <a:moveTo>
                  <a:pt x="2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1" y="0"/>
                  <a:pt x="2" y="0"/>
                </a:cubicBez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66666"/>
              </a:solidFill>
            </a:endParaRPr>
          </a:p>
        </p:txBody>
      </p:sp>
      <p:grpSp>
        <p:nvGrpSpPr>
          <p:cNvPr id="189" name="Gruppieren 188"/>
          <p:cNvGrpSpPr/>
          <p:nvPr/>
        </p:nvGrpSpPr>
        <p:grpSpPr>
          <a:xfrm>
            <a:off x="1744787" y="0"/>
            <a:ext cx="1590675" cy="2125663"/>
            <a:chOff x="1744787" y="0"/>
            <a:chExt cx="1590675" cy="2125663"/>
          </a:xfrm>
          <a:solidFill>
            <a:schemeClr val="tx2"/>
          </a:solidFill>
        </p:grpSpPr>
        <p:sp>
          <p:nvSpPr>
            <p:cNvPr id="190" name="Freeform 159"/>
            <p:cNvSpPr>
              <a:spLocks/>
            </p:cNvSpPr>
            <p:nvPr/>
          </p:nvSpPr>
          <p:spPr bwMode="auto">
            <a:xfrm>
              <a:off x="3049712" y="0"/>
              <a:ext cx="85725" cy="38100"/>
            </a:xfrm>
            <a:custGeom>
              <a:avLst/>
              <a:gdLst>
                <a:gd name="T0" fmla="*/ 2 w 9"/>
                <a:gd name="T1" fmla="*/ 4 h 4"/>
                <a:gd name="T2" fmla="*/ 6 w 9"/>
                <a:gd name="T3" fmla="*/ 3 h 4"/>
                <a:gd name="T4" fmla="*/ 9 w 9"/>
                <a:gd name="T5" fmla="*/ 0 h 4"/>
                <a:gd name="T6" fmla="*/ 9 w 9"/>
                <a:gd name="T7" fmla="*/ 0 h 4"/>
                <a:gd name="T8" fmla="*/ 3 w 9"/>
                <a:gd name="T9" fmla="*/ 0 h 4"/>
                <a:gd name="T10" fmla="*/ 2 w 9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4">
                  <a:moveTo>
                    <a:pt x="2" y="4"/>
                  </a:moveTo>
                  <a:cubicBezTo>
                    <a:pt x="4" y="4"/>
                    <a:pt x="5" y="4"/>
                    <a:pt x="6" y="3"/>
                  </a:cubicBezTo>
                  <a:cubicBezTo>
                    <a:pt x="7" y="2"/>
                    <a:pt x="9" y="1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2"/>
                    <a:pt x="0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1" name="Freeform 160"/>
            <p:cNvSpPr>
              <a:spLocks/>
            </p:cNvSpPr>
            <p:nvPr/>
          </p:nvSpPr>
          <p:spPr bwMode="auto">
            <a:xfrm>
              <a:off x="1801937" y="1849438"/>
              <a:ext cx="47625" cy="47625"/>
            </a:xfrm>
            <a:custGeom>
              <a:avLst/>
              <a:gdLst>
                <a:gd name="T0" fmla="*/ 1 w 5"/>
                <a:gd name="T1" fmla="*/ 2 h 5"/>
                <a:gd name="T2" fmla="*/ 4 w 5"/>
                <a:gd name="T3" fmla="*/ 5 h 5"/>
                <a:gd name="T4" fmla="*/ 5 w 5"/>
                <a:gd name="T5" fmla="*/ 2 h 5"/>
                <a:gd name="T6" fmla="*/ 2 w 5"/>
                <a:gd name="T7" fmla="*/ 0 h 5"/>
                <a:gd name="T8" fmla="*/ 1 w 5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1" y="2"/>
                  </a:moveTo>
                  <a:cubicBezTo>
                    <a:pt x="1" y="4"/>
                    <a:pt x="3" y="5"/>
                    <a:pt x="4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3" y="1"/>
                    <a:pt x="2" y="0"/>
                  </a:cubicBezTo>
                  <a:cubicBezTo>
                    <a:pt x="0" y="0"/>
                    <a:pt x="0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2" name="Freeform 161"/>
            <p:cNvSpPr>
              <a:spLocks/>
            </p:cNvSpPr>
            <p:nvPr/>
          </p:nvSpPr>
          <p:spPr bwMode="auto">
            <a:xfrm>
              <a:off x="1773362" y="1697038"/>
              <a:ext cx="57150" cy="76200"/>
            </a:xfrm>
            <a:custGeom>
              <a:avLst/>
              <a:gdLst>
                <a:gd name="T0" fmla="*/ 5 w 6"/>
                <a:gd name="T1" fmla="*/ 5 h 8"/>
                <a:gd name="T2" fmla="*/ 5 w 6"/>
                <a:gd name="T3" fmla="*/ 2 h 8"/>
                <a:gd name="T4" fmla="*/ 2 w 6"/>
                <a:gd name="T5" fmla="*/ 3 h 8"/>
                <a:gd name="T6" fmla="*/ 2 w 6"/>
                <a:gd name="T7" fmla="*/ 6 h 8"/>
                <a:gd name="T8" fmla="*/ 5 w 6"/>
                <a:gd name="T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5" y="5"/>
                  </a:moveTo>
                  <a:cubicBezTo>
                    <a:pt x="6" y="4"/>
                    <a:pt x="5" y="4"/>
                    <a:pt x="5" y="2"/>
                  </a:cubicBezTo>
                  <a:cubicBezTo>
                    <a:pt x="6" y="0"/>
                    <a:pt x="4" y="2"/>
                    <a:pt x="2" y="3"/>
                  </a:cubicBezTo>
                  <a:cubicBezTo>
                    <a:pt x="0" y="3"/>
                    <a:pt x="2" y="5"/>
                    <a:pt x="2" y="6"/>
                  </a:cubicBezTo>
                  <a:cubicBezTo>
                    <a:pt x="3" y="8"/>
                    <a:pt x="4" y="7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3" name="Freeform 162"/>
            <p:cNvSpPr>
              <a:spLocks/>
            </p:cNvSpPr>
            <p:nvPr/>
          </p:nvSpPr>
          <p:spPr bwMode="auto">
            <a:xfrm>
              <a:off x="1763837" y="1782763"/>
              <a:ext cx="38100" cy="47625"/>
            </a:xfrm>
            <a:custGeom>
              <a:avLst/>
              <a:gdLst>
                <a:gd name="T0" fmla="*/ 1 w 4"/>
                <a:gd name="T1" fmla="*/ 5 h 5"/>
                <a:gd name="T2" fmla="*/ 4 w 4"/>
                <a:gd name="T3" fmla="*/ 4 h 5"/>
                <a:gd name="T4" fmla="*/ 4 w 4"/>
                <a:gd name="T5" fmla="*/ 1 h 5"/>
                <a:gd name="T6" fmla="*/ 1 w 4"/>
                <a:gd name="T7" fmla="*/ 2 h 5"/>
                <a:gd name="T8" fmla="*/ 1 w 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2" y="5"/>
                    <a:pt x="4" y="5"/>
                    <a:pt x="4" y="4"/>
                  </a:cubicBezTo>
                  <a:cubicBezTo>
                    <a:pt x="4" y="3"/>
                    <a:pt x="4" y="2"/>
                    <a:pt x="4" y="1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2"/>
                    <a:pt x="0" y="4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4" name="Freeform 163"/>
            <p:cNvSpPr>
              <a:spLocks/>
            </p:cNvSpPr>
            <p:nvPr/>
          </p:nvSpPr>
          <p:spPr bwMode="auto">
            <a:xfrm>
              <a:off x="2106737" y="981075"/>
              <a:ext cx="85725" cy="38100"/>
            </a:xfrm>
            <a:custGeom>
              <a:avLst/>
              <a:gdLst>
                <a:gd name="T0" fmla="*/ 3 w 9"/>
                <a:gd name="T1" fmla="*/ 3 h 4"/>
                <a:gd name="T2" fmla="*/ 7 w 9"/>
                <a:gd name="T3" fmla="*/ 4 h 4"/>
                <a:gd name="T4" fmla="*/ 6 w 9"/>
                <a:gd name="T5" fmla="*/ 2 h 4"/>
                <a:gd name="T6" fmla="*/ 0 w 9"/>
                <a:gd name="T7" fmla="*/ 2 h 4"/>
                <a:gd name="T8" fmla="*/ 3 w 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3" y="3"/>
                  </a:moveTo>
                  <a:cubicBezTo>
                    <a:pt x="4" y="4"/>
                    <a:pt x="6" y="4"/>
                    <a:pt x="7" y="4"/>
                  </a:cubicBezTo>
                  <a:cubicBezTo>
                    <a:pt x="9" y="4"/>
                    <a:pt x="7" y="3"/>
                    <a:pt x="6" y="2"/>
                  </a:cubicBezTo>
                  <a:cubicBezTo>
                    <a:pt x="5" y="0"/>
                    <a:pt x="1" y="1"/>
                    <a:pt x="0" y="2"/>
                  </a:cubicBezTo>
                  <a:cubicBezTo>
                    <a:pt x="0" y="3"/>
                    <a:pt x="1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5" name="Freeform 164"/>
            <p:cNvSpPr>
              <a:spLocks/>
            </p:cNvSpPr>
            <p:nvPr/>
          </p:nvSpPr>
          <p:spPr bwMode="auto">
            <a:xfrm>
              <a:off x="2201987" y="942975"/>
              <a:ext cx="123825" cy="57150"/>
            </a:xfrm>
            <a:custGeom>
              <a:avLst/>
              <a:gdLst>
                <a:gd name="T0" fmla="*/ 1 w 13"/>
                <a:gd name="T1" fmla="*/ 6 h 6"/>
                <a:gd name="T2" fmla="*/ 5 w 13"/>
                <a:gd name="T3" fmla="*/ 4 h 6"/>
                <a:gd name="T4" fmla="*/ 12 w 13"/>
                <a:gd name="T5" fmla="*/ 4 h 6"/>
                <a:gd name="T6" fmla="*/ 11 w 13"/>
                <a:gd name="T7" fmla="*/ 2 h 6"/>
                <a:gd name="T8" fmla="*/ 8 w 13"/>
                <a:gd name="T9" fmla="*/ 1 h 6"/>
                <a:gd name="T10" fmla="*/ 4 w 13"/>
                <a:gd name="T11" fmla="*/ 3 h 6"/>
                <a:gd name="T12" fmla="*/ 1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1" y="6"/>
                  </a:moveTo>
                  <a:cubicBezTo>
                    <a:pt x="3" y="6"/>
                    <a:pt x="3" y="5"/>
                    <a:pt x="5" y="4"/>
                  </a:cubicBezTo>
                  <a:cubicBezTo>
                    <a:pt x="7" y="4"/>
                    <a:pt x="10" y="4"/>
                    <a:pt x="12" y="4"/>
                  </a:cubicBezTo>
                  <a:cubicBezTo>
                    <a:pt x="13" y="3"/>
                    <a:pt x="12" y="3"/>
                    <a:pt x="11" y="2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7" y="1"/>
                    <a:pt x="5" y="2"/>
                    <a:pt x="4" y="3"/>
                  </a:cubicBezTo>
                  <a:cubicBezTo>
                    <a:pt x="2" y="3"/>
                    <a:pt x="0" y="5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  <p:sp>
          <p:nvSpPr>
            <p:cNvPr id="196" name="Freeform 166"/>
            <p:cNvSpPr>
              <a:spLocks/>
            </p:cNvSpPr>
            <p:nvPr/>
          </p:nvSpPr>
          <p:spPr bwMode="auto">
            <a:xfrm>
              <a:off x="1744787" y="0"/>
              <a:ext cx="1590675" cy="2125663"/>
            </a:xfrm>
            <a:custGeom>
              <a:avLst/>
              <a:gdLst>
                <a:gd name="T0" fmla="*/ 153 w 167"/>
                <a:gd name="T1" fmla="*/ 10 h 223"/>
                <a:gd name="T2" fmla="*/ 136 w 167"/>
                <a:gd name="T3" fmla="*/ 13 h 223"/>
                <a:gd name="T4" fmla="*/ 135 w 167"/>
                <a:gd name="T5" fmla="*/ 18 h 223"/>
                <a:gd name="T6" fmla="*/ 126 w 167"/>
                <a:gd name="T7" fmla="*/ 26 h 223"/>
                <a:gd name="T8" fmla="*/ 122 w 167"/>
                <a:gd name="T9" fmla="*/ 33 h 223"/>
                <a:gd name="T10" fmla="*/ 124 w 167"/>
                <a:gd name="T11" fmla="*/ 41 h 223"/>
                <a:gd name="T12" fmla="*/ 113 w 167"/>
                <a:gd name="T13" fmla="*/ 47 h 223"/>
                <a:gd name="T14" fmla="*/ 109 w 167"/>
                <a:gd name="T15" fmla="*/ 60 h 223"/>
                <a:gd name="T16" fmla="*/ 111 w 167"/>
                <a:gd name="T17" fmla="*/ 65 h 223"/>
                <a:gd name="T18" fmla="*/ 102 w 167"/>
                <a:gd name="T19" fmla="*/ 70 h 223"/>
                <a:gd name="T20" fmla="*/ 89 w 167"/>
                <a:gd name="T21" fmla="*/ 84 h 223"/>
                <a:gd name="T22" fmla="*/ 76 w 167"/>
                <a:gd name="T23" fmla="*/ 94 h 223"/>
                <a:gd name="T24" fmla="*/ 83 w 167"/>
                <a:gd name="T25" fmla="*/ 98 h 223"/>
                <a:gd name="T26" fmla="*/ 92 w 167"/>
                <a:gd name="T27" fmla="*/ 97 h 223"/>
                <a:gd name="T28" fmla="*/ 69 w 167"/>
                <a:gd name="T29" fmla="*/ 108 h 223"/>
                <a:gd name="T30" fmla="*/ 58 w 167"/>
                <a:gd name="T31" fmla="*/ 106 h 223"/>
                <a:gd name="T32" fmla="*/ 51 w 167"/>
                <a:gd name="T33" fmla="*/ 115 h 223"/>
                <a:gd name="T34" fmla="*/ 39 w 167"/>
                <a:gd name="T35" fmla="*/ 116 h 223"/>
                <a:gd name="T36" fmla="*/ 37 w 167"/>
                <a:gd name="T37" fmla="*/ 121 h 223"/>
                <a:gd name="T38" fmla="*/ 31 w 167"/>
                <a:gd name="T39" fmla="*/ 125 h 223"/>
                <a:gd name="T40" fmla="*/ 33 w 167"/>
                <a:gd name="T41" fmla="*/ 132 h 223"/>
                <a:gd name="T42" fmla="*/ 26 w 167"/>
                <a:gd name="T43" fmla="*/ 129 h 223"/>
                <a:gd name="T44" fmla="*/ 15 w 167"/>
                <a:gd name="T45" fmla="*/ 132 h 223"/>
                <a:gd name="T46" fmla="*/ 11 w 167"/>
                <a:gd name="T47" fmla="*/ 135 h 223"/>
                <a:gd name="T48" fmla="*/ 24 w 167"/>
                <a:gd name="T49" fmla="*/ 139 h 223"/>
                <a:gd name="T50" fmla="*/ 8 w 167"/>
                <a:gd name="T51" fmla="*/ 142 h 223"/>
                <a:gd name="T52" fmla="*/ 6 w 167"/>
                <a:gd name="T53" fmla="*/ 147 h 223"/>
                <a:gd name="T54" fmla="*/ 7 w 167"/>
                <a:gd name="T55" fmla="*/ 151 h 223"/>
                <a:gd name="T56" fmla="*/ 16 w 167"/>
                <a:gd name="T57" fmla="*/ 155 h 223"/>
                <a:gd name="T58" fmla="*/ 34 w 167"/>
                <a:gd name="T59" fmla="*/ 149 h 223"/>
                <a:gd name="T60" fmla="*/ 31 w 167"/>
                <a:gd name="T61" fmla="*/ 162 h 223"/>
                <a:gd name="T62" fmla="*/ 17 w 167"/>
                <a:gd name="T63" fmla="*/ 158 h 223"/>
                <a:gd name="T64" fmla="*/ 8 w 167"/>
                <a:gd name="T65" fmla="*/ 162 h 223"/>
                <a:gd name="T66" fmla="*/ 9 w 167"/>
                <a:gd name="T67" fmla="*/ 172 h 223"/>
                <a:gd name="T68" fmla="*/ 10 w 167"/>
                <a:gd name="T69" fmla="*/ 176 h 223"/>
                <a:gd name="T70" fmla="*/ 31 w 167"/>
                <a:gd name="T71" fmla="*/ 171 h 223"/>
                <a:gd name="T72" fmla="*/ 18 w 167"/>
                <a:gd name="T73" fmla="*/ 176 h 223"/>
                <a:gd name="T74" fmla="*/ 16 w 167"/>
                <a:gd name="T75" fmla="*/ 186 h 223"/>
                <a:gd name="T76" fmla="*/ 16 w 167"/>
                <a:gd name="T77" fmla="*/ 191 h 223"/>
                <a:gd name="T78" fmla="*/ 22 w 167"/>
                <a:gd name="T79" fmla="*/ 197 h 223"/>
                <a:gd name="T80" fmla="*/ 17 w 167"/>
                <a:gd name="T81" fmla="*/ 204 h 223"/>
                <a:gd name="T82" fmla="*/ 16 w 167"/>
                <a:gd name="T83" fmla="*/ 216 h 223"/>
                <a:gd name="T84" fmla="*/ 32 w 167"/>
                <a:gd name="T85" fmla="*/ 221 h 223"/>
                <a:gd name="T86" fmla="*/ 55 w 167"/>
                <a:gd name="T87" fmla="*/ 213 h 223"/>
                <a:gd name="T88" fmla="*/ 65 w 167"/>
                <a:gd name="T89" fmla="*/ 203 h 223"/>
                <a:gd name="T90" fmla="*/ 78 w 167"/>
                <a:gd name="T91" fmla="*/ 196 h 223"/>
                <a:gd name="T92" fmla="*/ 78 w 167"/>
                <a:gd name="T93" fmla="*/ 184 h 223"/>
                <a:gd name="T94" fmla="*/ 83 w 167"/>
                <a:gd name="T95" fmla="*/ 195 h 223"/>
                <a:gd name="T96" fmla="*/ 96 w 167"/>
                <a:gd name="T97" fmla="*/ 201 h 223"/>
                <a:gd name="T98" fmla="*/ 97 w 167"/>
                <a:gd name="T99" fmla="*/ 188 h 223"/>
                <a:gd name="T100" fmla="*/ 104 w 167"/>
                <a:gd name="T101" fmla="*/ 180 h 223"/>
                <a:gd name="T102" fmla="*/ 110 w 167"/>
                <a:gd name="T103" fmla="*/ 158 h 223"/>
                <a:gd name="T104" fmla="*/ 102 w 167"/>
                <a:gd name="T105" fmla="*/ 143 h 223"/>
                <a:gd name="T106" fmla="*/ 102 w 167"/>
                <a:gd name="T107" fmla="*/ 119 h 223"/>
                <a:gd name="T108" fmla="*/ 105 w 167"/>
                <a:gd name="T109" fmla="*/ 98 h 223"/>
                <a:gd name="T110" fmla="*/ 128 w 167"/>
                <a:gd name="T111" fmla="*/ 90 h 223"/>
                <a:gd name="T112" fmla="*/ 126 w 167"/>
                <a:gd name="T113" fmla="*/ 79 h 223"/>
                <a:gd name="T114" fmla="*/ 135 w 167"/>
                <a:gd name="T115" fmla="*/ 63 h 223"/>
                <a:gd name="T116" fmla="*/ 144 w 167"/>
                <a:gd name="T117" fmla="*/ 39 h 223"/>
                <a:gd name="T118" fmla="*/ 162 w 167"/>
                <a:gd name="T119" fmla="*/ 18 h 223"/>
                <a:gd name="T120" fmla="*/ 162 w 167"/>
                <a:gd name="T121" fmla="*/ 7 h 223"/>
                <a:gd name="T122" fmla="*/ 162 w 167"/>
                <a:gd name="T12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7" h="223">
                  <a:moveTo>
                    <a:pt x="154" y="3"/>
                  </a:moveTo>
                  <a:cubicBezTo>
                    <a:pt x="154" y="4"/>
                    <a:pt x="152" y="4"/>
                    <a:pt x="150" y="4"/>
                  </a:cubicBezTo>
                  <a:cubicBezTo>
                    <a:pt x="148" y="4"/>
                    <a:pt x="149" y="5"/>
                    <a:pt x="150" y="5"/>
                  </a:cubicBezTo>
                  <a:cubicBezTo>
                    <a:pt x="151" y="5"/>
                    <a:pt x="150" y="7"/>
                    <a:pt x="152" y="7"/>
                  </a:cubicBezTo>
                  <a:cubicBezTo>
                    <a:pt x="153" y="8"/>
                    <a:pt x="155" y="6"/>
                    <a:pt x="156" y="7"/>
                  </a:cubicBezTo>
                  <a:cubicBezTo>
                    <a:pt x="157" y="8"/>
                    <a:pt x="153" y="9"/>
                    <a:pt x="153" y="10"/>
                  </a:cubicBezTo>
                  <a:cubicBezTo>
                    <a:pt x="152" y="10"/>
                    <a:pt x="155" y="11"/>
                    <a:pt x="154" y="12"/>
                  </a:cubicBezTo>
                  <a:cubicBezTo>
                    <a:pt x="154" y="13"/>
                    <a:pt x="152" y="11"/>
                    <a:pt x="150" y="10"/>
                  </a:cubicBezTo>
                  <a:cubicBezTo>
                    <a:pt x="147" y="9"/>
                    <a:pt x="146" y="9"/>
                    <a:pt x="145" y="9"/>
                  </a:cubicBezTo>
                  <a:cubicBezTo>
                    <a:pt x="144" y="9"/>
                    <a:pt x="144" y="10"/>
                    <a:pt x="143" y="11"/>
                  </a:cubicBezTo>
                  <a:cubicBezTo>
                    <a:pt x="142" y="12"/>
                    <a:pt x="140" y="11"/>
                    <a:pt x="139" y="11"/>
                  </a:cubicBezTo>
                  <a:cubicBezTo>
                    <a:pt x="138" y="11"/>
                    <a:pt x="136" y="12"/>
                    <a:pt x="136" y="13"/>
                  </a:cubicBezTo>
                  <a:cubicBezTo>
                    <a:pt x="136" y="14"/>
                    <a:pt x="142" y="13"/>
                    <a:pt x="143" y="13"/>
                  </a:cubicBezTo>
                  <a:cubicBezTo>
                    <a:pt x="144" y="13"/>
                    <a:pt x="148" y="14"/>
                    <a:pt x="149" y="15"/>
                  </a:cubicBezTo>
                  <a:cubicBezTo>
                    <a:pt x="149" y="15"/>
                    <a:pt x="150" y="17"/>
                    <a:pt x="149" y="18"/>
                  </a:cubicBezTo>
                  <a:cubicBezTo>
                    <a:pt x="148" y="20"/>
                    <a:pt x="148" y="17"/>
                    <a:pt x="146" y="17"/>
                  </a:cubicBezTo>
                  <a:cubicBezTo>
                    <a:pt x="144" y="17"/>
                    <a:pt x="142" y="17"/>
                    <a:pt x="140" y="16"/>
                  </a:cubicBezTo>
                  <a:cubicBezTo>
                    <a:pt x="137" y="16"/>
                    <a:pt x="135" y="17"/>
                    <a:pt x="135" y="18"/>
                  </a:cubicBezTo>
                  <a:cubicBezTo>
                    <a:pt x="134" y="19"/>
                    <a:pt x="138" y="19"/>
                    <a:pt x="138" y="20"/>
                  </a:cubicBezTo>
                  <a:cubicBezTo>
                    <a:pt x="137" y="21"/>
                    <a:pt x="134" y="20"/>
                    <a:pt x="132" y="20"/>
                  </a:cubicBezTo>
                  <a:cubicBezTo>
                    <a:pt x="131" y="21"/>
                    <a:pt x="128" y="21"/>
                    <a:pt x="125" y="22"/>
                  </a:cubicBezTo>
                  <a:cubicBezTo>
                    <a:pt x="122" y="23"/>
                    <a:pt x="125" y="23"/>
                    <a:pt x="126" y="24"/>
                  </a:cubicBezTo>
                  <a:cubicBezTo>
                    <a:pt x="127" y="25"/>
                    <a:pt x="129" y="25"/>
                    <a:pt x="129" y="25"/>
                  </a:cubicBezTo>
                  <a:cubicBezTo>
                    <a:pt x="129" y="26"/>
                    <a:pt x="127" y="26"/>
                    <a:pt x="126" y="26"/>
                  </a:cubicBezTo>
                  <a:cubicBezTo>
                    <a:pt x="125" y="26"/>
                    <a:pt x="123" y="27"/>
                    <a:pt x="123" y="28"/>
                  </a:cubicBezTo>
                  <a:cubicBezTo>
                    <a:pt x="123" y="29"/>
                    <a:pt x="122" y="29"/>
                    <a:pt x="121" y="30"/>
                  </a:cubicBezTo>
                  <a:cubicBezTo>
                    <a:pt x="120" y="30"/>
                    <a:pt x="122" y="30"/>
                    <a:pt x="123" y="30"/>
                  </a:cubicBezTo>
                  <a:cubicBezTo>
                    <a:pt x="124" y="30"/>
                    <a:pt x="125" y="29"/>
                    <a:pt x="126" y="30"/>
                  </a:cubicBezTo>
                  <a:cubicBezTo>
                    <a:pt x="127" y="31"/>
                    <a:pt x="126" y="32"/>
                    <a:pt x="125" y="33"/>
                  </a:cubicBezTo>
                  <a:cubicBezTo>
                    <a:pt x="124" y="34"/>
                    <a:pt x="123" y="33"/>
                    <a:pt x="122" y="33"/>
                  </a:cubicBezTo>
                  <a:cubicBezTo>
                    <a:pt x="121" y="33"/>
                    <a:pt x="119" y="33"/>
                    <a:pt x="116" y="34"/>
                  </a:cubicBezTo>
                  <a:cubicBezTo>
                    <a:pt x="114" y="34"/>
                    <a:pt x="116" y="34"/>
                    <a:pt x="116" y="36"/>
                  </a:cubicBezTo>
                  <a:cubicBezTo>
                    <a:pt x="116" y="37"/>
                    <a:pt x="118" y="37"/>
                    <a:pt x="119" y="37"/>
                  </a:cubicBezTo>
                  <a:cubicBezTo>
                    <a:pt x="120" y="38"/>
                    <a:pt x="121" y="38"/>
                    <a:pt x="122" y="38"/>
                  </a:cubicBezTo>
                  <a:cubicBezTo>
                    <a:pt x="123" y="38"/>
                    <a:pt x="130" y="37"/>
                    <a:pt x="130" y="38"/>
                  </a:cubicBezTo>
                  <a:cubicBezTo>
                    <a:pt x="130" y="39"/>
                    <a:pt x="126" y="41"/>
                    <a:pt x="124" y="41"/>
                  </a:cubicBezTo>
                  <a:cubicBezTo>
                    <a:pt x="122" y="42"/>
                    <a:pt x="122" y="40"/>
                    <a:pt x="121" y="40"/>
                  </a:cubicBezTo>
                  <a:cubicBezTo>
                    <a:pt x="120" y="41"/>
                    <a:pt x="117" y="41"/>
                    <a:pt x="116" y="42"/>
                  </a:cubicBezTo>
                  <a:cubicBezTo>
                    <a:pt x="115" y="42"/>
                    <a:pt x="116" y="42"/>
                    <a:pt x="116" y="43"/>
                  </a:cubicBezTo>
                  <a:cubicBezTo>
                    <a:pt x="116" y="44"/>
                    <a:pt x="115" y="44"/>
                    <a:pt x="115" y="45"/>
                  </a:cubicBezTo>
                  <a:cubicBezTo>
                    <a:pt x="115" y="46"/>
                    <a:pt x="118" y="48"/>
                    <a:pt x="117" y="49"/>
                  </a:cubicBezTo>
                  <a:cubicBezTo>
                    <a:pt x="117" y="50"/>
                    <a:pt x="115" y="47"/>
                    <a:pt x="113" y="47"/>
                  </a:cubicBezTo>
                  <a:cubicBezTo>
                    <a:pt x="112" y="47"/>
                    <a:pt x="111" y="49"/>
                    <a:pt x="110" y="50"/>
                  </a:cubicBezTo>
                  <a:cubicBezTo>
                    <a:pt x="110" y="52"/>
                    <a:pt x="112" y="53"/>
                    <a:pt x="112" y="54"/>
                  </a:cubicBezTo>
                  <a:cubicBezTo>
                    <a:pt x="112" y="55"/>
                    <a:pt x="110" y="54"/>
                    <a:pt x="109" y="53"/>
                  </a:cubicBezTo>
                  <a:cubicBezTo>
                    <a:pt x="108" y="53"/>
                    <a:pt x="108" y="54"/>
                    <a:pt x="108" y="55"/>
                  </a:cubicBezTo>
                  <a:cubicBezTo>
                    <a:pt x="108" y="55"/>
                    <a:pt x="111" y="57"/>
                    <a:pt x="111" y="58"/>
                  </a:cubicBezTo>
                  <a:cubicBezTo>
                    <a:pt x="112" y="59"/>
                    <a:pt x="110" y="60"/>
                    <a:pt x="109" y="60"/>
                  </a:cubicBezTo>
                  <a:cubicBezTo>
                    <a:pt x="109" y="59"/>
                    <a:pt x="106" y="57"/>
                    <a:pt x="105" y="57"/>
                  </a:cubicBezTo>
                  <a:cubicBezTo>
                    <a:pt x="105" y="57"/>
                    <a:pt x="104" y="59"/>
                    <a:pt x="104" y="61"/>
                  </a:cubicBezTo>
                  <a:cubicBezTo>
                    <a:pt x="103" y="62"/>
                    <a:pt x="106" y="61"/>
                    <a:pt x="107" y="61"/>
                  </a:cubicBezTo>
                  <a:cubicBezTo>
                    <a:pt x="108" y="61"/>
                    <a:pt x="108" y="63"/>
                    <a:pt x="109" y="63"/>
                  </a:cubicBezTo>
                  <a:cubicBezTo>
                    <a:pt x="110" y="63"/>
                    <a:pt x="114" y="61"/>
                    <a:pt x="114" y="61"/>
                  </a:cubicBezTo>
                  <a:cubicBezTo>
                    <a:pt x="114" y="62"/>
                    <a:pt x="111" y="64"/>
                    <a:pt x="111" y="65"/>
                  </a:cubicBezTo>
                  <a:cubicBezTo>
                    <a:pt x="110" y="66"/>
                    <a:pt x="106" y="68"/>
                    <a:pt x="104" y="68"/>
                  </a:cubicBezTo>
                  <a:cubicBezTo>
                    <a:pt x="102" y="68"/>
                    <a:pt x="105" y="66"/>
                    <a:pt x="105" y="65"/>
                  </a:cubicBezTo>
                  <a:cubicBezTo>
                    <a:pt x="105" y="64"/>
                    <a:pt x="102" y="65"/>
                    <a:pt x="101" y="66"/>
                  </a:cubicBezTo>
                  <a:cubicBezTo>
                    <a:pt x="100" y="66"/>
                    <a:pt x="100" y="66"/>
                    <a:pt x="101" y="67"/>
                  </a:cubicBezTo>
                  <a:cubicBezTo>
                    <a:pt x="101" y="68"/>
                    <a:pt x="98" y="69"/>
                    <a:pt x="98" y="70"/>
                  </a:cubicBezTo>
                  <a:cubicBezTo>
                    <a:pt x="98" y="70"/>
                    <a:pt x="100" y="70"/>
                    <a:pt x="102" y="70"/>
                  </a:cubicBezTo>
                  <a:cubicBezTo>
                    <a:pt x="103" y="70"/>
                    <a:pt x="107" y="71"/>
                    <a:pt x="107" y="71"/>
                  </a:cubicBezTo>
                  <a:cubicBezTo>
                    <a:pt x="107" y="72"/>
                    <a:pt x="100" y="71"/>
                    <a:pt x="99" y="71"/>
                  </a:cubicBezTo>
                  <a:cubicBezTo>
                    <a:pt x="99" y="72"/>
                    <a:pt x="96" y="73"/>
                    <a:pt x="97" y="74"/>
                  </a:cubicBezTo>
                  <a:cubicBezTo>
                    <a:pt x="99" y="75"/>
                    <a:pt x="94" y="75"/>
                    <a:pt x="93" y="76"/>
                  </a:cubicBezTo>
                  <a:cubicBezTo>
                    <a:pt x="92" y="77"/>
                    <a:pt x="95" y="78"/>
                    <a:pt x="95" y="79"/>
                  </a:cubicBezTo>
                  <a:cubicBezTo>
                    <a:pt x="96" y="80"/>
                    <a:pt x="91" y="85"/>
                    <a:pt x="89" y="84"/>
                  </a:cubicBezTo>
                  <a:cubicBezTo>
                    <a:pt x="88" y="84"/>
                    <a:pt x="90" y="82"/>
                    <a:pt x="90" y="81"/>
                  </a:cubicBezTo>
                  <a:cubicBezTo>
                    <a:pt x="90" y="80"/>
                    <a:pt x="86" y="80"/>
                    <a:pt x="85" y="81"/>
                  </a:cubicBezTo>
                  <a:cubicBezTo>
                    <a:pt x="83" y="82"/>
                    <a:pt x="80" y="83"/>
                    <a:pt x="78" y="84"/>
                  </a:cubicBezTo>
                  <a:cubicBezTo>
                    <a:pt x="76" y="85"/>
                    <a:pt x="78" y="86"/>
                    <a:pt x="78" y="88"/>
                  </a:cubicBezTo>
                  <a:cubicBezTo>
                    <a:pt x="79" y="89"/>
                    <a:pt x="75" y="90"/>
                    <a:pt x="73" y="91"/>
                  </a:cubicBezTo>
                  <a:cubicBezTo>
                    <a:pt x="72" y="93"/>
                    <a:pt x="76" y="93"/>
                    <a:pt x="76" y="94"/>
                  </a:cubicBezTo>
                  <a:cubicBezTo>
                    <a:pt x="76" y="95"/>
                    <a:pt x="73" y="95"/>
                    <a:pt x="71" y="95"/>
                  </a:cubicBezTo>
                  <a:cubicBezTo>
                    <a:pt x="69" y="96"/>
                    <a:pt x="68" y="97"/>
                    <a:pt x="67" y="98"/>
                  </a:cubicBezTo>
                  <a:cubicBezTo>
                    <a:pt x="67" y="99"/>
                    <a:pt x="71" y="97"/>
                    <a:pt x="73" y="98"/>
                  </a:cubicBezTo>
                  <a:cubicBezTo>
                    <a:pt x="74" y="98"/>
                    <a:pt x="72" y="99"/>
                    <a:pt x="71" y="101"/>
                  </a:cubicBezTo>
                  <a:cubicBezTo>
                    <a:pt x="70" y="102"/>
                    <a:pt x="72" y="102"/>
                    <a:pt x="74" y="102"/>
                  </a:cubicBezTo>
                  <a:cubicBezTo>
                    <a:pt x="76" y="103"/>
                    <a:pt x="81" y="100"/>
                    <a:pt x="83" y="98"/>
                  </a:cubicBezTo>
                  <a:cubicBezTo>
                    <a:pt x="86" y="97"/>
                    <a:pt x="85" y="96"/>
                    <a:pt x="85" y="96"/>
                  </a:cubicBezTo>
                  <a:cubicBezTo>
                    <a:pt x="84" y="96"/>
                    <a:pt x="80" y="97"/>
                    <a:pt x="80" y="96"/>
                  </a:cubicBezTo>
                  <a:cubicBezTo>
                    <a:pt x="79" y="96"/>
                    <a:pt x="90" y="89"/>
                    <a:pt x="91" y="89"/>
                  </a:cubicBezTo>
                  <a:cubicBezTo>
                    <a:pt x="92" y="89"/>
                    <a:pt x="93" y="90"/>
                    <a:pt x="93" y="92"/>
                  </a:cubicBezTo>
                  <a:cubicBezTo>
                    <a:pt x="93" y="93"/>
                    <a:pt x="91" y="93"/>
                    <a:pt x="89" y="94"/>
                  </a:cubicBezTo>
                  <a:cubicBezTo>
                    <a:pt x="87" y="95"/>
                    <a:pt x="92" y="95"/>
                    <a:pt x="92" y="97"/>
                  </a:cubicBezTo>
                  <a:cubicBezTo>
                    <a:pt x="92" y="98"/>
                    <a:pt x="89" y="98"/>
                    <a:pt x="88" y="99"/>
                  </a:cubicBezTo>
                  <a:cubicBezTo>
                    <a:pt x="86" y="99"/>
                    <a:pt x="85" y="100"/>
                    <a:pt x="84" y="101"/>
                  </a:cubicBezTo>
                  <a:cubicBezTo>
                    <a:pt x="84" y="102"/>
                    <a:pt x="83" y="102"/>
                    <a:pt x="83" y="102"/>
                  </a:cubicBezTo>
                  <a:cubicBezTo>
                    <a:pt x="82" y="103"/>
                    <a:pt x="84" y="104"/>
                    <a:pt x="83" y="105"/>
                  </a:cubicBezTo>
                  <a:cubicBezTo>
                    <a:pt x="83" y="106"/>
                    <a:pt x="77" y="105"/>
                    <a:pt x="74" y="106"/>
                  </a:cubicBezTo>
                  <a:cubicBezTo>
                    <a:pt x="71" y="107"/>
                    <a:pt x="70" y="108"/>
                    <a:pt x="69" y="108"/>
                  </a:cubicBezTo>
                  <a:cubicBezTo>
                    <a:pt x="67" y="107"/>
                    <a:pt x="70" y="106"/>
                    <a:pt x="70" y="105"/>
                  </a:cubicBezTo>
                  <a:cubicBezTo>
                    <a:pt x="70" y="104"/>
                    <a:pt x="68" y="101"/>
                    <a:pt x="67" y="101"/>
                  </a:cubicBezTo>
                  <a:cubicBezTo>
                    <a:pt x="67" y="100"/>
                    <a:pt x="62" y="102"/>
                    <a:pt x="62" y="103"/>
                  </a:cubicBezTo>
                  <a:cubicBezTo>
                    <a:pt x="61" y="105"/>
                    <a:pt x="65" y="104"/>
                    <a:pt x="64" y="105"/>
                  </a:cubicBezTo>
                  <a:cubicBezTo>
                    <a:pt x="62" y="106"/>
                    <a:pt x="59" y="109"/>
                    <a:pt x="58" y="109"/>
                  </a:cubicBezTo>
                  <a:cubicBezTo>
                    <a:pt x="57" y="109"/>
                    <a:pt x="58" y="107"/>
                    <a:pt x="58" y="106"/>
                  </a:cubicBezTo>
                  <a:cubicBezTo>
                    <a:pt x="58" y="105"/>
                    <a:pt x="57" y="105"/>
                    <a:pt x="55" y="106"/>
                  </a:cubicBezTo>
                  <a:cubicBezTo>
                    <a:pt x="53" y="106"/>
                    <a:pt x="52" y="107"/>
                    <a:pt x="52" y="108"/>
                  </a:cubicBezTo>
                  <a:cubicBezTo>
                    <a:pt x="52" y="110"/>
                    <a:pt x="54" y="109"/>
                    <a:pt x="55" y="110"/>
                  </a:cubicBezTo>
                  <a:cubicBezTo>
                    <a:pt x="55" y="112"/>
                    <a:pt x="54" y="111"/>
                    <a:pt x="52" y="111"/>
                  </a:cubicBezTo>
                  <a:cubicBezTo>
                    <a:pt x="50" y="111"/>
                    <a:pt x="47" y="112"/>
                    <a:pt x="47" y="113"/>
                  </a:cubicBezTo>
                  <a:cubicBezTo>
                    <a:pt x="47" y="115"/>
                    <a:pt x="50" y="115"/>
                    <a:pt x="51" y="115"/>
                  </a:cubicBezTo>
                  <a:cubicBezTo>
                    <a:pt x="53" y="115"/>
                    <a:pt x="53" y="117"/>
                    <a:pt x="53" y="119"/>
                  </a:cubicBezTo>
                  <a:cubicBezTo>
                    <a:pt x="53" y="120"/>
                    <a:pt x="49" y="118"/>
                    <a:pt x="48" y="118"/>
                  </a:cubicBezTo>
                  <a:cubicBezTo>
                    <a:pt x="47" y="118"/>
                    <a:pt x="50" y="120"/>
                    <a:pt x="50" y="121"/>
                  </a:cubicBezTo>
                  <a:cubicBezTo>
                    <a:pt x="50" y="122"/>
                    <a:pt x="49" y="121"/>
                    <a:pt x="47" y="120"/>
                  </a:cubicBezTo>
                  <a:cubicBezTo>
                    <a:pt x="45" y="119"/>
                    <a:pt x="44" y="118"/>
                    <a:pt x="43" y="117"/>
                  </a:cubicBezTo>
                  <a:cubicBezTo>
                    <a:pt x="42" y="117"/>
                    <a:pt x="40" y="116"/>
                    <a:pt x="39" y="116"/>
                  </a:cubicBezTo>
                  <a:cubicBezTo>
                    <a:pt x="38" y="117"/>
                    <a:pt x="37" y="117"/>
                    <a:pt x="35" y="116"/>
                  </a:cubicBezTo>
                  <a:cubicBezTo>
                    <a:pt x="34" y="116"/>
                    <a:pt x="33" y="116"/>
                    <a:pt x="32" y="116"/>
                  </a:cubicBezTo>
                  <a:cubicBezTo>
                    <a:pt x="32" y="116"/>
                    <a:pt x="30" y="116"/>
                    <a:pt x="30" y="117"/>
                  </a:cubicBezTo>
                  <a:cubicBezTo>
                    <a:pt x="30" y="118"/>
                    <a:pt x="32" y="118"/>
                    <a:pt x="32" y="119"/>
                  </a:cubicBezTo>
                  <a:cubicBezTo>
                    <a:pt x="33" y="120"/>
                    <a:pt x="32" y="120"/>
                    <a:pt x="32" y="121"/>
                  </a:cubicBezTo>
                  <a:cubicBezTo>
                    <a:pt x="32" y="121"/>
                    <a:pt x="35" y="121"/>
                    <a:pt x="37" y="121"/>
                  </a:cubicBezTo>
                  <a:cubicBezTo>
                    <a:pt x="38" y="120"/>
                    <a:pt x="43" y="120"/>
                    <a:pt x="44" y="120"/>
                  </a:cubicBezTo>
                  <a:cubicBezTo>
                    <a:pt x="44" y="121"/>
                    <a:pt x="43" y="122"/>
                    <a:pt x="41" y="122"/>
                  </a:cubicBezTo>
                  <a:cubicBezTo>
                    <a:pt x="40" y="122"/>
                    <a:pt x="38" y="123"/>
                    <a:pt x="37" y="124"/>
                  </a:cubicBezTo>
                  <a:cubicBezTo>
                    <a:pt x="37" y="124"/>
                    <a:pt x="40" y="124"/>
                    <a:pt x="40" y="125"/>
                  </a:cubicBezTo>
                  <a:cubicBezTo>
                    <a:pt x="40" y="126"/>
                    <a:pt x="38" y="126"/>
                    <a:pt x="36" y="126"/>
                  </a:cubicBezTo>
                  <a:cubicBezTo>
                    <a:pt x="35" y="127"/>
                    <a:pt x="33" y="125"/>
                    <a:pt x="31" y="125"/>
                  </a:cubicBezTo>
                  <a:cubicBezTo>
                    <a:pt x="29" y="125"/>
                    <a:pt x="25" y="124"/>
                    <a:pt x="23" y="125"/>
                  </a:cubicBezTo>
                  <a:cubicBezTo>
                    <a:pt x="22" y="126"/>
                    <a:pt x="25" y="125"/>
                    <a:pt x="26" y="126"/>
                  </a:cubicBezTo>
                  <a:cubicBezTo>
                    <a:pt x="27" y="126"/>
                    <a:pt x="28" y="127"/>
                    <a:pt x="28" y="128"/>
                  </a:cubicBezTo>
                  <a:cubicBezTo>
                    <a:pt x="28" y="129"/>
                    <a:pt x="29" y="129"/>
                    <a:pt x="31" y="130"/>
                  </a:cubicBezTo>
                  <a:cubicBezTo>
                    <a:pt x="32" y="131"/>
                    <a:pt x="34" y="130"/>
                    <a:pt x="34" y="131"/>
                  </a:cubicBezTo>
                  <a:cubicBezTo>
                    <a:pt x="35" y="132"/>
                    <a:pt x="34" y="132"/>
                    <a:pt x="33" y="132"/>
                  </a:cubicBezTo>
                  <a:cubicBezTo>
                    <a:pt x="31" y="132"/>
                    <a:pt x="31" y="133"/>
                    <a:pt x="30" y="133"/>
                  </a:cubicBezTo>
                  <a:cubicBezTo>
                    <a:pt x="30" y="134"/>
                    <a:pt x="32" y="135"/>
                    <a:pt x="33" y="136"/>
                  </a:cubicBezTo>
                  <a:cubicBezTo>
                    <a:pt x="33" y="137"/>
                    <a:pt x="30" y="136"/>
                    <a:pt x="28" y="136"/>
                  </a:cubicBezTo>
                  <a:cubicBezTo>
                    <a:pt x="26" y="136"/>
                    <a:pt x="27" y="135"/>
                    <a:pt x="27" y="134"/>
                  </a:cubicBezTo>
                  <a:cubicBezTo>
                    <a:pt x="27" y="133"/>
                    <a:pt x="28" y="132"/>
                    <a:pt x="28" y="132"/>
                  </a:cubicBezTo>
                  <a:cubicBezTo>
                    <a:pt x="27" y="131"/>
                    <a:pt x="27" y="130"/>
                    <a:pt x="26" y="129"/>
                  </a:cubicBezTo>
                  <a:cubicBezTo>
                    <a:pt x="25" y="127"/>
                    <a:pt x="24" y="128"/>
                    <a:pt x="23" y="128"/>
                  </a:cubicBezTo>
                  <a:cubicBezTo>
                    <a:pt x="21" y="129"/>
                    <a:pt x="22" y="130"/>
                    <a:pt x="22" y="130"/>
                  </a:cubicBezTo>
                  <a:cubicBezTo>
                    <a:pt x="22" y="131"/>
                    <a:pt x="23" y="132"/>
                    <a:pt x="23" y="133"/>
                  </a:cubicBezTo>
                  <a:cubicBezTo>
                    <a:pt x="23" y="134"/>
                    <a:pt x="22" y="134"/>
                    <a:pt x="21" y="133"/>
                  </a:cubicBezTo>
                  <a:cubicBezTo>
                    <a:pt x="20" y="132"/>
                    <a:pt x="20" y="131"/>
                    <a:pt x="19" y="130"/>
                  </a:cubicBezTo>
                  <a:cubicBezTo>
                    <a:pt x="18" y="129"/>
                    <a:pt x="16" y="131"/>
                    <a:pt x="15" y="132"/>
                  </a:cubicBezTo>
                  <a:cubicBezTo>
                    <a:pt x="15" y="133"/>
                    <a:pt x="16" y="133"/>
                    <a:pt x="17" y="134"/>
                  </a:cubicBezTo>
                  <a:cubicBezTo>
                    <a:pt x="18" y="134"/>
                    <a:pt x="19" y="135"/>
                    <a:pt x="19" y="136"/>
                  </a:cubicBezTo>
                  <a:cubicBezTo>
                    <a:pt x="19" y="136"/>
                    <a:pt x="18" y="136"/>
                    <a:pt x="17" y="136"/>
                  </a:cubicBezTo>
                  <a:cubicBezTo>
                    <a:pt x="17" y="136"/>
                    <a:pt x="15" y="136"/>
                    <a:pt x="14" y="136"/>
                  </a:cubicBezTo>
                  <a:cubicBezTo>
                    <a:pt x="13" y="136"/>
                    <a:pt x="13" y="137"/>
                    <a:pt x="12" y="136"/>
                  </a:cubicBezTo>
                  <a:cubicBezTo>
                    <a:pt x="11" y="136"/>
                    <a:pt x="11" y="135"/>
                    <a:pt x="11" y="135"/>
                  </a:cubicBezTo>
                  <a:cubicBezTo>
                    <a:pt x="11" y="135"/>
                    <a:pt x="9" y="134"/>
                    <a:pt x="8" y="134"/>
                  </a:cubicBezTo>
                  <a:cubicBezTo>
                    <a:pt x="7" y="134"/>
                    <a:pt x="8" y="135"/>
                    <a:pt x="7" y="137"/>
                  </a:cubicBezTo>
                  <a:cubicBezTo>
                    <a:pt x="7" y="138"/>
                    <a:pt x="6" y="137"/>
                    <a:pt x="5" y="138"/>
                  </a:cubicBezTo>
                  <a:cubicBezTo>
                    <a:pt x="4" y="139"/>
                    <a:pt x="9" y="139"/>
                    <a:pt x="11" y="139"/>
                  </a:cubicBezTo>
                  <a:cubicBezTo>
                    <a:pt x="12" y="139"/>
                    <a:pt x="13" y="139"/>
                    <a:pt x="15" y="140"/>
                  </a:cubicBezTo>
                  <a:cubicBezTo>
                    <a:pt x="17" y="140"/>
                    <a:pt x="23" y="139"/>
                    <a:pt x="24" y="139"/>
                  </a:cubicBezTo>
                  <a:cubicBezTo>
                    <a:pt x="25" y="140"/>
                    <a:pt x="23" y="141"/>
                    <a:pt x="22" y="141"/>
                  </a:cubicBezTo>
                  <a:cubicBezTo>
                    <a:pt x="21" y="142"/>
                    <a:pt x="20" y="141"/>
                    <a:pt x="18" y="141"/>
                  </a:cubicBezTo>
                  <a:cubicBezTo>
                    <a:pt x="17" y="142"/>
                    <a:pt x="17" y="142"/>
                    <a:pt x="16" y="143"/>
                  </a:cubicBezTo>
                  <a:cubicBezTo>
                    <a:pt x="16" y="143"/>
                    <a:pt x="14" y="144"/>
                    <a:pt x="13" y="144"/>
                  </a:cubicBezTo>
                  <a:cubicBezTo>
                    <a:pt x="12" y="144"/>
                    <a:pt x="12" y="142"/>
                    <a:pt x="12" y="142"/>
                  </a:cubicBezTo>
                  <a:cubicBezTo>
                    <a:pt x="11" y="141"/>
                    <a:pt x="10" y="142"/>
                    <a:pt x="8" y="142"/>
                  </a:cubicBezTo>
                  <a:cubicBezTo>
                    <a:pt x="7" y="141"/>
                    <a:pt x="7" y="140"/>
                    <a:pt x="6" y="140"/>
                  </a:cubicBezTo>
                  <a:cubicBezTo>
                    <a:pt x="6" y="140"/>
                    <a:pt x="5" y="141"/>
                    <a:pt x="5" y="142"/>
                  </a:cubicBezTo>
                  <a:cubicBezTo>
                    <a:pt x="5" y="143"/>
                    <a:pt x="3" y="143"/>
                    <a:pt x="2" y="144"/>
                  </a:cubicBezTo>
                  <a:cubicBezTo>
                    <a:pt x="1" y="145"/>
                    <a:pt x="4" y="145"/>
                    <a:pt x="4" y="145"/>
                  </a:cubicBezTo>
                  <a:cubicBezTo>
                    <a:pt x="5" y="145"/>
                    <a:pt x="6" y="145"/>
                    <a:pt x="6" y="146"/>
                  </a:cubicBezTo>
                  <a:cubicBezTo>
                    <a:pt x="7" y="146"/>
                    <a:pt x="6" y="147"/>
                    <a:pt x="6" y="147"/>
                  </a:cubicBezTo>
                  <a:cubicBezTo>
                    <a:pt x="5" y="148"/>
                    <a:pt x="7" y="148"/>
                    <a:pt x="8" y="148"/>
                  </a:cubicBezTo>
                  <a:cubicBezTo>
                    <a:pt x="9" y="148"/>
                    <a:pt x="11" y="148"/>
                    <a:pt x="12" y="148"/>
                  </a:cubicBezTo>
                  <a:cubicBezTo>
                    <a:pt x="12" y="148"/>
                    <a:pt x="12" y="149"/>
                    <a:pt x="11" y="149"/>
                  </a:cubicBezTo>
                  <a:cubicBezTo>
                    <a:pt x="11" y="150"/>
                    <a:pt x="9" y="149"/>
                    <a:pt x="7" y="149"/>
                  </a:cubicBezTo>
                  <a:cubicBezTo>
                    <a:pt x="6" y="149"/>
                    <a:pt x="4" y="150"/>
                    <a:pt x="3" y="151"/>
                  </a:cubicBezTo>
                  <a:cubicBezTo>
                    <a:pt x="3" y="152"/>
                    <a:pt x="6" y="151"/>
                    <a:pt x="7" y="151"/>
                  </a:cubicBezTo>
                  <a:cubicBezTo>
                    <a:pt x="8" y="151"/>
                    <a:pt x="10" y="151"/>
                    <a:pt x="9" y="152"/>
                  </a:cubicBezTo>
                  <a:cubicBezTo>
                    <a:pt x="9" y="153"/>
                    <a:pt x="7" y="153"/>
                    <a:pt x="6" y="153"/>
                  </a:cubicBezTo>
                  <a:cubicBezTo>
                    <a:pt x="5" y="153"/>
                    <a:pt x="3" y="153"/>
                    <a:pt x="2" y="154"/>
                  </a:cubicBezTo>
                  <a:cubicBezTo>
                    <a:pt x="0" y="154"/>
                    <a:pt x="4" y="155"/>
                    <a:pt x="5" y="156"/>
                  </a:cubicBezTo>
                  <a:cubicBezTo>
                    <a:pt x="7" y="157"/>
                    <a:pt x="8" y="156"/>
                    <a:pt x="10" y="155"/>
                  </a:cubicBezTo>
                  <a:cubicBezTo>
                    <a:pt x="13" y="155"/>
                    <a:pt x="15" y="155"/>
                    <a:pt x="16" y="155"/>
                  </a:cubicBezTo>
                  <a:cubicBezTo>
                    <a:pt x="18" y="156"/>
                    <a:pt x="18" y="155"/>
                    <a:pt x="20" y="155"/>
                  </a:cubicBezTo>
                  <a:cubicBezTo>
                    <a:pt x="22" y="154"/>
                    <a:pt x="21" y="153"/>
                    <a:pt x="23" y="152"/>
                  </a:cubicBezTo>
                  <a:cubicBezTo>
                    <a:pt x="24" y="151"/>
                    <a:pt x="24" y="152"/>
                    <a:pt x="24" y="153"/>
                  </a:cubicBezTo>
                  <a:cubicBezTo>
                    <a:pt x="24" y="154"/>
                    <a:pt x="25" y="155"/>
                    <a:pt x="28" y="155"/>
                  </a:cubicBezTo>
                  <a:cubicBezTo>
                    <a:pt x="32" y="155"/>
                    <a:pt x="31" y="155"/>
                    <a:pt x="32" y="154"/>
                  </a:cubicBezTo>
                  <a:cubicBezTo>
                    <a:pt x="33" y="153"/>
                    <a:pt x="33" y="149"/>
                    <a:pt x="34" y="149"/>
                  </a:cubicBezTo>
                  <a:cubicBezTo>
                    <a:pt x="35" y="148"/>
                    <a:pt x="37" y="148"/>
                    <a:pt x="37" y="149"/>
                  </a:cubicBezTo>
                  <a:cubicBezTo>
                    <a:pt x="38" y="151"/>
                    <a:pt x="35" y="151"/>
                    <a:pt x="35" y="153"/>
                  </a:cubicBezTo>
                  <a:cubicBezTo>
                    <a:pt x="34" y="154"/>
                    <a:pt x="38" y="154"/>
                    <a:pt x="39" y="155"/>
                  </a:cubicBezTo>
                  <a:cubicBezTo>
                    <a:pt x="40" y="155"/>
                    <a:pt x="37" y="156"/>
                    <a:pt x="35" y="156"/>
                  </a:cubicBezTo>
                  <a:cubicBezTo>
                    <a:pt x="34" y="156"/>
                    <a:pt x="32" y="157"/>
                    <a:pt x="31" y="158"/>
                  </a:cubicBezTo>
                  <a:cubicBezTo>
                    <a:pt x="29" y="159"/>
                    <a:pt x="31" y="160"/>
                    <a:pt x="31" y="162"/>
                  </a:cubicBezTo>
                  <a:cubicBezTo>
                    <a:pt x="31" y="163"/>
                    <a:pt x="27" y="163"/>
                    <a:pt x="26" y="162"/>
                  </a:cubicBezTo>
                  <a:cubicBezTo>
                    <a:pt x="25" y="162"/>
                    <a:pt x="26" y="162"/>
                    <a:pt x="26" y="161"/>
                  </a:cubicBezTo>
                  <a:cubicBezTo>
                    <a:pt x="27" y="160"/>
                    <a:pt x="27" y="159"/>
                    <a:pt x="26" y="158"/>
                  </a:cubicBezTo>
                  <a:cubicBezTo>
                    <a:pt x="26" y="158"/>
                    <a:pt x="24" y="158"/>
                    <a:pt x="23" y="158"/>
                  </a:cubicBezTo>
                  <a:cubicBezTo>
                    <a:pt x="22" y="159"/>
                    <a:pt x="21" y="159"/>
                    <a:pt x="20" y="160"/>
                  </a:cubicBezTo>
                  <a:cubicBezTo>
                    <a:pt x="19" y="160"/>
                    <a:pt x="18" y="160"/>
                    <a:pt x="17" y="158"/>
                  </a:cubicBezTo>
                  <a:cubicBezTo>
                    <a:pt x="15" y="157"/>
                    <a:pt x="14" y="158"/>
                    <a:pt x="13" y="158"/>
                  </a:cubicBezTo>
                  <a:cubicBezTo>
                    <a:pt x="11" y="158"/>
                    <a:pt x="10" y="159"/>
                    <a:pt x="9" y="159"/>
                  </a:cubicBezTo>
                  <a:cubicBezTo>
                    <a:pt x="7" y="159"/>
                    <a:pt x="5" y="158"/>
                    <a:pt x="4" y="159"/>
                  </a:cubicBezTo>
                  <a:cubicBezTo>
                    <a:pt x="4" y="160"/>
                    <a:pt x="3" y="160"/>
                    <a:pt x="3" y="161"/>
                  </a:cubicBezTo>
                  <a:cubicBezTo>
                    <a:pt x="2" y="162"/>
                    <a:pt x="4" y="161"/>
                    <a:pt x="4" y="161"/>
                  </a:cubicBezTo>
                  <a:cubicBezTo>
                    <a:pt x="5" y="161"/>
                    <a:pt x="7" y="161"/>
                    <a:pt x="8" y="162"/>
                  </a:cubicBezTo>
                  <a:cubicBezTo>
                    <a:pt x="9" y="162"/>
                    <a:pt x="6" y="163"/>
                    <a:pt x="6" y="164"/>
                  </a:cubicBezTo>
                  <a:cubicBezTo>
                    <a:pt x="5" y="165"/>
                    <a:pt x="6" y="165"/>
                    <a:pt x="7" y="166"/>
                  </a:cubicBezTo>
                  <a:cubicBezTo>
                    <a:pt x="7" y="167"/>
                    <a:pt x="8" y="165"/>
                    <a:pt x="9" y="165"/>
                  </a:cubicBezTo>
                  <a:cubicBezTo>
                    <a:pt x="9" y="164"/>
                    <a:pt x="11" y="165"/>
                    <a:pt x="12" y="166"/>
                  </a:cubicBezTo>
                  <a:cubicBezTo>
                    <a:pt x="12" y="167"/>
                    <a:pt x="11" y="168"/>
                    <a:pt x="11" y="169"/>
                  </a:cubicBezTo>
                  <a:cubicBezTo>
                    <a:pt x="11" y="170"/>
                    <a:pt x="10" y="171"/>
                    <a:pt x="9" y="172"/>
                  </a:cubicBezTo>
                  <a:cubicBezTo>
                    <a:pt x="8" y="172"/>
                    <a:pt x="6" y="170"/>
                    <a:pt x="5" y="171"/>
                  </a:cubicBezTo>
                  <a:cubicBezTo>
                    <a:pt x="4" y="171"/>
                    <a:pt x="4" y="171"/>
                    <a:pt x="4" y="172"/>
                  </a:cubicBezTo>
                  <a:cubicBezTo>
                    <a:pt x="3" y="173"/>
                    <a:pt x="4" y="174"/>
                    <a:pt x="4" y="175"/>
                  </a:cubicBezTo>
                  <a:cubicBezTo>
                    <a:pt x="5" y="176"/>
                    <a:pt x="6" y="176"/>
                    <a:pt x="7" y="175"/>
                  </a:cubicBezTo>
                  <a:cubicBezTo>
                    <a:pt x="8" y="175"/>
                    <a:pt x="9" y="173"/>
                    <a:pt x="10" y="173"/>
                  </a:cubicBezTo>
                  <a:cubicBezTo>
                    <a:pt x="10" y="173"/>
                    <a:pt x="10" y="176"/>
                    <a:pt x="10" y="176"/>
                  </a:cubicBezTo>
                  <a:cubicBezTo>
                    <a:pt x="11" y="176"/>
                    <a:pt x="12" y="176"/>
                    <a:pt x="11" y="177"/>
                  </a:cubicBezTo>
                  <a:cubicBezTo>
                    <a:pt x="11" y="178"/>
                    <a:pt x="11" y="180"/>
                    <a:pt x="11" y="180"/>
                  </a:cubicBezTo>
                  <a:cubicBezTo>
                    <a:pt x="12" y="180"/>
                    <a:pt x="14" y="177"/>
                    <a:pt x="14" y="177"/>
                  </a:cubicBezTo>
                  <a:cubicBezTo>
                    <a:pt x="15" y="176"/>
                    <a:pt x="17" y="174"/>
                    <a:pt x="18" y="173"/>
                  </a:cubicBezTo>
                  <a:cubicBezTo>
                    <a:pt x="19" y="172"/>
                    <a:pt x="23" y="170"/>
                    <a:pt x="25" y="169"/>
                  </a:cubicBezTo>
                  <a:cubicBezTo>
                    <a:pt x="28" y="169"/>
                    <a:pt x="30" y="170"/>
                    <a:pt x="31" y="171"/>
                  </a:cubicBezTo>
                  <a:cubicBezTo>
                    <a:pt x="31" y="171"/>
                    <a:pt x="28" y="172"/>
                    <a:pt x="27" y="172"/>
                  </a:cubicBezTo>
                  <a:cubicBezTo>
                    <a:pt x="26" y="172"/>
                    <a:pt x="25" y="174"/>
                    <a:pt x="25" y="175"/>
                  </a:cubicBezTo>
                  <a:cubicBezTo>
                    <a:pt x="24" y="176"/>
                    <a:pt x="23" y="179"/>
                    <a:pt x="23" y="180"/>
                  </a:cubicBezTo>
                  <a:cubicBezTo>
                    <a:pt x="22" y="181"/>
                    <a:pt x="22" y="180"/>
                    <a:pt x="21" y="179"/>
                  </a:cubicBezTo>
                  <a:cubicBezTo>
                    <a:pt x="20" y="178"/>
                    <a:pt x="22" y="175"/>
                    <a:pt x="22" y="174"/>
                  </a:cubicBezTo>
                  <a:cubicBezTo>
                    <a:pt x="21" y="173"/>
                    <a:pt x="18" y="176"/>
                    <a:pt x="18" y="176"/>
                  </a:cubicBezTo>
                  <a:cubicBezTo>
                    <a:pt x="17" y="177"/>
                    <a:pt x="19" y="178"/>
                    <a:pt x="19" y="178"/>
                  </a:cubicBezTo>
                  <a:cubicBezTo>
                    <a:pt x="19" y="179"/>
                    <a:pt x="17" y="180"/>
                    <a:pt x="16" y="180"/>
                  </a:cubicBezTo>
                  <a:cubicBezTo>
                    <a:pt x="15" y="181"/>
                    <a:pt x="15" y="181"/>
                    <a:pt x="15" y="182"/>
                  </a:cubicBezTo>
                  <a:cubicBezTo>
                    <a:pt x="14" y="183"/>
                    <a:pt x="13" y="183"/>
                    <a:pt x="12" y="184"/>
                  </a:cubicBezTo>
                  <a:cubicBezTo>
                    <a:pt x="10" y="185"/>
                    <a:pt x="12" y="185"/>
                    <a:pt x="13" y="185"/>
                  </a:cubicBezTo>
                  <a:cubicBezTo>
                    <a:pt x="14" y="185"/>
                    <a:pt x="15" y="185"/>
                    <a:pt x="16" y="186"/>
                  </a:cubicBezTo>
                  <a:cubicBezTo>
                    <a:pt x="16" y="186"/>
                    <a:pt x="14" y="189"/>
                    <a:pt x="13" y="190"/>
                  </a:cubicBezTo>
                  <a:cubicBezTo>
                    <a:pt x="12" y="190"/>
                    <a:pt x="11" y="190"/>
                    <a:pt x="10" y="190"/>
                  </a:cubicBezTo>
                  <a:cubicBezTo>
                    <a:pt x="9" y="190"/>
                    <a:pt x="9" y="191"/>
                    <a:pt x="9" y="191"/>
                  </a:cubicBezTo>
                  <a:cubicBezTo>
                    <a:pt x="9" y="192"/>
                    <a:pt x="10" y="193"/>
                    <a:pt x="10" y="192"/>
                  </a:cubicBezTo>
                  <a:cubicBezTo>
                    <a:pt x="11" y="192"/>
                    <a:pt x="12" y="192"/>
                    <a:pt x="13" y="192"/>
                  </a:cubicBezTo>
                  <a:cubicBezTo>
                    <a:pt x="14" y="192"/>
                    <a:pt x="15" y="192"/>
                    <a:pt x="16" y="191"/>
                  </a:cubicBezTo>
                  <a:cubicBezTo>
                    <a:pt x="17" y="191"/>
                    <a:pt x="17" y="190"/>
                    <a:pt x="18" y="190"/>
                  </a:cubicBezTo>
                  <a:cubicBezTo>
                    <a:pt x="20" y="190"/>
                    <a:pt x="22" y="190"/>
                    <a:pt x="23" y="191"/>
                  </a:cubicBezTo>
                  <a:cubicBezTo>
                    <a:pt x="24" y="191"/>
                    <a:pt x="23" y="192"/>
                    <a:pt x="22" y="192"/>
                  </a:cubicBezTo>
                  <a:cubicBezTo>
                    <a:pt x="21" y="193"/>
                    <a:pt x="19" y="194"/>
                    <a:pt x="18" y="195"/>
                  </a:cubicBezTo>
                  <a:cubicBezTo>
                    <a:pt x="17" y="196"/>
                    <a:pt x="21" y="195"/>
                    <a:pt x="22" y="196"/>
                  </a:cubicBezTo>
                  <a:cubicBezTo>
                    <a:pt x="23" y="196"/>
                    <a:pt x="23" y="196"/>
                    <a:pt x="22" y="197"/>
                  </a:cubicBezTo>
                  <a:cubicBezTo>
                    <a:pt x="22" y="197"/>
                    <a:pt x="19" y="198"/>
                    <a:pt x="17" y="199"/>
                  </a:cubicBezTo>
                  <a:cubicBezTo>
                    <a:pt x="15" y="200"/>
                    <a:pt x="15" y="200"/>
                    <a:pt x="14" y="201"/>
                  </a:cubicBezTo>
                  <a:cubicBezTo>
                    <a:pt x="14" y="202"/>
                    <a:pt x="19" y="201"/>
                    <a:pt x="21" y="201"/>
                  </a:cubicBezTo>
                  <a:cubicBezTo>
                    <a:pt x="22" y="201"/>
                    <a:pt x="24" y="201"/>
                    <a:pt x="24" y="202"/>
                  </a:cubicBezTo>
                  <a:cubicBezTo>
                    <a:pt x="24" y="202"/>
                    <a:pt x="23" y="203"/>
                    <a:pt x="21" y="203"/>
                  </a:cubicBezTo>
                  <a:cubicBezTo>
                    <a:pt x="19" y="203"/>
                    <a:pt x="19" y="203"/>
                    <a:pt x="17" y="204"/>
                  </a:cubicBezTo>
                  <a:cubicBezTo>
                    <a:pt x="16" y="205"/>
                    <a:pt x="17" y="206"/>
                    <a:pt x="16" y="207"/>
                  </a:cubicBezTo>
                  <a:cubicBezTo>
                    <a:pt x="15" y="208"/>
                    <a:pt x="14" y="206"/>
                    <a:pt x="13" y="206"/>
                  </a:cubicBezTo>
                  <a:cubicBezTo>
                    <a:pt x="12" y="205"/>
                    <a:pt x="10" y="205"/>
                    <a:pt x="9" y="206"/>
                  </a:cubicBezTo>
                  <a:cubicBezTo>
                    <a:pt x="8" y="206"/>
                    <a:pt x="8" y="207"/>
                    <a:pt x="8" y="209"/>
                  </a:cubicBezTo>
                  <a:cubicBezTo>
                    <a:pt x="9" y="211"/>
                    <a:pt x="11" y="213"/>
                    <a:pt x="12" y="214"/>
                  </a:cubicBezTo>
                  <a:cubicBezTo>
                    <a:pt x="13" y="215"/>
                    <a:pt x="14" y="214"/>
                    <a:pt x="16" y="216"/>
                  </a:cubicBezTo>
                  <a:cubicBezTo>
                    <a:pt x="18" y="218"/>
                    <a:pt x="21" y="218"/>
                    <a:pt x="22" y="218"/>
                  </a:cubicBezTo>
                  <a:cubicBezTo>
                    <a:pt x="24" y="218"/>
                    <a:pt x="27" y="217"/>
                    <a:pt x="28" y="218"/>
                  </a:cubicBezTo>
                  <a:cubicBezTo>
                    <a:pt x="28" y="218"/>
                    <a:pt x="26" y="220"/>
                    <a:pt x="25" y="220"/>
                  </a:cubicBezTo>
                  <a:cubicBezTo>
                    <a:pt x="24" y="221"/>
                    <a:pt x="24" y="222"/>
                    <a:pt x="24" y="222"/>
                  </a:cubicBezTo>
                  <a:cubicBezTo>
                    <a:pt x="25" y="222"/>
                    <a:pt x="27" y="222"/>
                    <a:pt x="29" y="222"/>
                  </a:cubicBezTo>
                  <a:cubicBezTo>
                    <a:pt x="30" y="222"/>
                    <a:pt x="31" y="220"/>
                    <a:pt x="32" y="221"/>
                  </a:cubicBezTo>
                  <a:cubicBezTo>
                    <a:pt x="33" y="221"/>
                    <a:pt x="31" y="222"/>
                    <a:pt x="32" y="223"/>
                  </a:cubicBezTo>
                  <a:cubicBezTo>
                    <a:pt x="32" y="223"/>
                    <a:pt x="33" y="222"/>
                    <a:pt x="36" y="222"/>
                  </a:cubicBezTo>
                  <a:cubicBezTo>
                    <a:pt x="38" y="222"/>
                    <a:pt x="38" y="221"/>
                    <a:pt x="40" y="221"/>
                  </a:cubicBezTo>
                  <a:cubicBezTo>
                    <a:pt x="41" y="221"/>
                    <a:pt x="43" y="221"/>
                    <a:pt x="44" y="220"/>
                  </a:cubicBezTo>
                  <a:cubicBezTo>
                    <a:pt x="46" y="219"/>
                    <a:pt x="47" y="219"/>
                    <a:pt x="49" y="218"/>
                  </a:cubicBezTo>
                  <a:cubicBezTo>
                    <a:pt x="51" y="217"/>
                    <a:pt x="54" y="214"/>
                    <a:pt x="55" y="213"/>
                  </a:cubicBezTo>
                  <a:cubicBezTo>
                    <a:pt x="56" y="212"/>
                    <a:pt x="55" y="212"/>
                    <a:pt x="55" y="211"/>
                  </a:cubicBezTo>
                  <a:cubicBezTo>
                    <a:pt x="55" y="210"/>
                    <a:pt x="57" y="210"/>
                    <a:pt x="58" y="210"/>
                  </a:cubicBezTo>
                  <a:cubicBezTo>
                    <a:pt x="58" y="209"/>
                    <a:pt x="57" y="209"/>
                    <a:pt x="58" y="208"/>
                  </a:cubicBezTo>
                  <a:cubicBezTo>
                    <a:pt x="58" y="207"/>
                    <a:pt x="61" y="208"/>
                    <a:pt x="61" y="207"/>
                  </a:cubicBezTo>
                  <a:cubicBezTo>
                    <a:pt x="62" y="207"/>
                    <a:pt x="61" y="205"/>
                    <a:pt x="63" y="204"/>
                  </a:cubicBezTo>
                  <a:cubicBezTo>
                    <a:pt x="64" y="204"/>
                    <a:pt x="65" y="203"/>
                    <a:pt x="65" y="203"/>
                  </a:cubicBezTo>
                  <a:cubicBezTo>
                    <a:pt x="64" y="202"/>
                    <a:pt x="64" y="200"/>
                    <a:pt x="64" y="200"/>
                  </a:cubicBezTo>
                  <a:cubicBezTo>
                    <a:pt x="64" y="199"/>
                    <a:pt x="66" y="199"/>
                    <a:pt x="67" y="200"/>
                  </a:cubicBezTo>
                  <a:cubicBezTo>
                    <a:pt x="68" y="201"/>
                    <a:pt x="70" y="201"/>
                    <a:pt x="71" y="201"/>
                  </a:cubicBezTo>
                  <a:cubicBezTo>
                    <a:pt x="73" y="201"/>
                    <a:pt x="73" y="200"/>
                    <a:pt x="74" y="200"/>
                  </a:cubicBezTo>
                  <a:cubicBezTo>
                    <a:pt x="74" y="200"/>
                    <a:pt x="75" y="198"/>
                    <a:pt x="75" y="197"/>
                  </a:cubicBezTo>
                  <a:cubicBezTo>
                    <a:pt x="76" y="196"/>
                    <a:pt x="77" y="196"/>
                    <a:pt x="78" y="196"/>
                  </a:cubicBezTo>
                  <a:cubicBezTo>
                    <a:pt x="78" y="195"/>
                    <a:pt x="77" y="194"/>
                    <a:pt x="76" y="194"/>
                  </a:cubicBezTo>
                  <a:cubicBezTo>
                    <a:pt x="75" y="193"/>
                    <a:pt x="74" y="192"/>
                    <a:pt x="74" y="191"/>
                  </a:cubicBezTo>
                  <a:cubicBezTo>
                    <a:pt x="74" y="190"/>
                    <a:pt x="75" y="190"/>
                    <a:pt x="76" y="190"/>
                  </a:cubicBezTo>
                  <a:cubicBezTo>
                    <a:pt x="76" y="190"/>
                    <a:pt x="77" y="189"/>
                    <a:pt x="78" y="189"/>
                  </a:cubicBezTo>
                  <a:cubicBezTo>
                    <a:pt x="79" y="189"/>
                    <a:pt x="78" y="189"/>
                    <a:pt x="78" y="188"/>
                  </a:cubicBezTo>
                  <a:cubicBezTo>
                    <a:pt x="77" y="187"/>
                    <a:pt x="77" y="185"/>
                    <a:pt x="78" y="184"/>
                  </a:cubicBezTo>
                  <a:cubicBezTo>
                    <a:pt x="78" y="182"/>
                    <a:pt x="81" y="183"/>
                    <a:pt x="82" y="183"/>
                  </a:cubicBezTo>
                  <a:cubicBezTo>
                    <a:pt x="82" y="183"/>
                    <a:pt x="83" y="185"/>
                    <a:pt x="83" y="187"/>
                  </a:cubicBezTo>
                  <a:cubicBezTo>
                    <a:pt x="82" y="188"/>
                    <a:pt x="82" y="187"/>
                    <a:pt x="81" y="188"/>
                  </a:cubicBezTo>
                  <a:cubicBezTo>
                    <a:pt x="80" y="188"/>
                    <a:pt x="81" y="189"/>
                    <a:pt x="82" y="190"/>
                  </a:cubicBezTo>
                  <a:cubicBezTo>
                    <a:pt x="82" y="191"/>
                    <a:pt x="81" y="193"/>
                    <a:pt x="81" y="194"/>
                  </a:cubicBezTo>
                  <a:cubicBezTo>
                    <a:pt x="81" y="195"/>
                    <a:pt x="82" y="195"/>
                    <a:pt x="83" y="195"/>
                  </a:cubicBezTo>
                  <a:cubicBezTo>
                    <a:pt x="84" y="196"/>
                    <a:pt x="84" y="198"/>
                    <a:pt x="84" y="198"/>
                  </a:cubicBezTo>
                  <a:cubicBezTo>
                    <a:pt x="84" y="199"/>
                    <a:pt x="86" y="199"/>
                    <a:pt x="87" y="199"/>
                  </a:cubicBezTo>
                  <a:cubicBezTo>
                    <a:pt x="88" y="199"/>
                    <a:pt x="89" y="200"/>
                    <a:pt x="89" y="200"/>
                  </a:cubicBezTo>
                  <a:cubicBezTo>
                    <a:pt x="90" y="200"/>
                    <a:pt x="91" y="200"/>
                    <a:pt x="92" y="200"/>
                  </a:cubicBezTo>
                  <a:cubicBezTo>
                    <a:pt x="94" y="200"/>
                    <a:pt x="95" y="201"/>
                    <a:pt x="95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7" y="200"/>
                  </a:cubicBezTo>
                  <a:cubicBezTo>
                    <a:pt x="97" y="199"/>
                    <a:pt x="97" y="197"/>
                    <a:pt x="97" y="197"/>
                  </a:cubicBezTo>
                  <a:cubicBezTo>
                    <a:pt x="97" y="196"/>
                    <a:pt x="97" y="196"/>
                    <a:pt x="97" y="195"/>
                  </a:cubicBezTo>
                  <a:cubicBezTo>
                    <a:pt x="97" y="195"/>
                    <a:pt x="97" y="195"/>
                    <a:pt x="97" y="194"/>
                  </a:cubicBezTo>
                  <a:cubicBezTo>
                    <a:pt x="96" y="192"/>
                    <a:pt x="95" y="190"/>
                    <a:pt x="96" y="188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87"/>
                    <a:pt x="98" y="187"/>
                    <a:pt x="98" y="186"/>
                  </a:cubicBezTo>
                  <a:cubicBezTo>
                    <a:pt x="98" y="186"/>
                    <a:pt x="98" y="186"/>
                    <a:pt x="98" y="186"/>
                  </a:cubicBezTo>
                  <a:cubicBezTo>
                    <a:pt x="98" y="186"/>
                    <a:pt x="97" y="186"/>
                    <a:pt x="97" y="185"/>
                  </a:cubicBezTo>
                  <a:cubicBezTo>
                    <a:pt x="97" y="185"/>
                    <a:pt x="96" y="184"/>
                    <a:pt x="98" y="183"/>
                  </a:cubicBezTo>
                  <a:cubicBezTo>
                    <a:pt x="99" y="181"/>
                    <a:pt x="100" y="181"/>
                    <a:pt x="101" y="181"/>
                  </a:cubicBezTo>
                  <a:cubicBezTo>
                    <a:pt x="102" y="181"/>
                    <a:pt x="103" y="181"/>
                    <a:pt x="104" y="180"/>
                  </a:cubicBezTo>
                  <a:cubicBezTo>
                    <a:pt x="106" y="178"/>
                    <a:pt x="107" y="175"/>
                    <a:pt x="107" y="172"/>
                  </a:cubicBezTo>
                  <a:cubicBezTo>
                    <a:pt x="108" y="172"/>
                    <a:pt x="108" y="171"/>
                    <a:pt x="108" y="171"/>
                  </a:cubicBezTo>
                  <a:cubicBezTo>
                    <a:pt x="108" y="170"/>
                    <a:pt x="107" y="169"/>
                    <a:pt x="106" y="168"/>
                  </a:cubicBezTo>
                  <a:cubicBezTo>
                    <a:pt x="105" y="165"/>
                    <a:pt x="103" y="163"/>
                    <a:pt x="104" y="160"/>
                  </a:cubicBezTo>
                  <a:cubicBezTo>
                    <a:pt x="106" y="158"/>
                    <a:pt x="107" y="158"/>
                    <a:pt x="108" y="158"/>
                  </a:cubicBezTo>
                  <a:cubicBezTo>
                    <a:pt x="109" y="158"/>
                    <a:pt x="109" y="158"/>
                    <a:pt x="110" y="158"/>
                  </a:cubicBezTo>
                  <a:cubicBezTo>
                    <a:pt x="110" y="157"/>
                    <a:pt x="111" y="157"/>
                    <a:pt x="111" y="156"/>
                  </a:cubicBezTo>
                  <a:cubicBezTo>
                    <a:pt x="111" y="155"/>
                    <a:pt x="111" y="154"/>
                    <a:pt x="111" y="153"/>
                  </a:cubicBezTo>
                  <a:cubicBezTo>
                    <a:pt x="111" y="152"/>
                    <a:pt x="111" y="151"/>
                    <a:pt x="110" y="151"/>
                  </a:cubicBezTo>
                  <a:cubicBezTo>
                    <a:pt x="110" y="151"/>
                    <a:pt x="109" y="150"/>
                    <a:pt x="109" y="150"/>
                  </a:cubicBezTo>
                  <a:cubicBezTo>
                    <a:pt x="109" y="150"/>
                    <a:pt x="108" y="149"/>
                    <a:pt x="107" y="148"/>
                  </a:cubicBezTo>
                  <a:cubicBezTo>
                    <a:pt x="105" y="146"/>
                    <a:pt x="102" y="144"/>
                    <a:pt x="102" y="143"/>
                  </a:cubicBezTo>
                  <a:cubicBezTo>
                    <a:pt x="102" y="143"/>
                    <a:pt x="102" y="143"/>
                    <a:pt x="102" y="143"/>
                  </a:cubicBezTo>
                  <a:cubicBezTo>
                    <a:pt x="102" y="143"/>
                    <a:pt x="102" y="141"/>
                    <a:pt x="103" y="140"/>
                  </a:cubicBezTo>
                  <a:cubicBezTo>
                    <a:pt x="104" y="137"/>
                    <a:pt x="106" y="132"/>
                    <a:pt x="105" y="131"/>
                  </a:cubicBezTo>
                  <a:cubicBezTo>
                    <a:pt x="105" y="130"/>
                    <a:pt x="104" y="130"/>
                    <a:pt x="103" y="129"/>
                  </a:cubicBezTo>
                  <a:cubicBezTo>
                    <a:pt x="101" y="128"/>
                    <a:pt x="99" y="126"/>
                    <a:pt x="100" y="124"/>
                  </a:cubicBezTo>
                  <a:cubicBezTo>
                    <a:pt x="101" y="122"/>
                    <a:pt x="102" y="121"/>
                    <a:pt x="102" y="119"/>
                  </a:cubicBezTo>
                  <a:cubicBezTo>
                    <a:pt x="102" y="118"/>
                    <a:pt x="102" y="117"/>
                    <a:pt x="102" y="116"/>
                  </a:cubicBezTo>
                  <a:cubicBezTo>
                    <a:pt x="102" y="115"/>
                    <a:pt x="102" y="114"/>
                    <a:pt x="101" y="113"/>
                  </a:cubicBezTo>
                  <a:cubicBezTo>
                    <a:pt x="99" y="112"/>
                    <a:pt x="98" y="110"/>
                    <a:pt x="100" y="107"/>
                  </a:cubicBezTo>
                  <a:cubicBezTo>
                    <a:pt x="101" y="105"/>
                    <a:pt x="102" y="103"/>
                    <a:pt x="103" y="101"/>
                  </a:cubicBezTo>
                  <a:cubicBezTo>
                    <a:pt x="104" y="100"/>
                    <a:pt x="104" y="100"/>
                    <a:pt x="104" y="99"/>
                  </a:cubicBezTo>
                  <a:cubicBezTo>
                    <a:pt x="105" y="99"/>
                    <a:pt x="105" y="98"/>
                    <a:pt x="105" y="98"/>
                  </a:cubicBezTo>
                  <a:cubicBezTo>
                    <a:pt x="106" y="96"/>
                    <a:pt x="107" y="94"/>
                    <a:pt x="109" y="93"/>
                  </a:cubicBezTo>
                  <a:cubicBezTo>
                    <a:pt x="110" y="93"/>
                    <a:pt x="111" y="92"/>
                    <a:pt x="111" y="92"/>
                  </a:cubicBezTo>
                  <a:cubicBezTo>
                    <a:pt x="113" y="91"/>
                    <a:pt x="114" y="90"/>
                    <a:pt x="116" y="90"/>
                  </a:cubicBezTo>
                  <a:cubicBezTo>
                    <a:pt x="117" y="90"/>
                    <a:pt x="119" y="90"/>
                    <a:pt x="121" y="90"/>
                  </a:cubicBezTo>
                  <a:cubicBezTo>
                    <a:pt x="123" y="90"/>
                    <a:pt x="124" y="90"/>
                    <a:pt x="125" y="90"/>
                  </a:cubicBezTo>
                  <a:cubicBezTo>
                    <a:pt x="126" y="90"/>
                    <a:pt x="127" y="90"/>
                    <a:pt x="128" y="90"/>
                  </a:cubicBezTo>
                  <a:cubicBezTo>
                    <a:pt x="129" y="90"/>
                    <a:pt x="129" y="90"/>
                    <a:pt x="129" y="89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30" y="89"/>
                    <a:pt x="130" y="87"/>
                    <a:pt x="130" y="86"/>
                  </a:cubicBezTo>
                  <a:cubicBezTo>
                    <a:pt x="130" y="85"/>
                    <a:pt x="130" y="84"/>
                    <a:pt x="130" y="83"/>
                  </a:cubicBezTo>
                  <a:cubicBezTo>
                    <a:pt x="130" y="83"/>
                    <a:pt x="129" y="83"/>
                    <a:pt x="129" y="83"/>
                  </a:cubicBezTo>
                  <a:cubicBezTo>
                    <a:pt x="128" y="82"/>
                    <a:pt x="126" y="81"/>
                    <a:pt x="126" y="79"/>
                  </a:cubicBezTo>
                  <a:cubicBezTo>
                    <a:pt x="126" y="79"/>
                    <a:pt x="126" y="78"/>
                    <a:pt x="126" y="78"/>
                  </a:cubicBezTo>
                  <a:cubicBezTo>
                    <a:pt x="126" y="77"/>
                    <a:pt x="125" y="75"/>
                    <a:pt x="126" y="74"/>
                  </a:cubicBezTo>
                  <a:cubicBezTo>
                    <a:pt x="127" y="73"/>
                    <a:pt x="129" y="71"/>
                    <a:pt x="130" y="69"/>
                  </a:cubicBezTo>
                  <a:cubicBezTo>
                    <a:pt x="131" y="67"/>
                    <a:pt x="133" y="66"/>
                    <a:pt x="133" y="65"/>
                  </a:cubicBezTo>
                  <a:cubicBezTo>
                    <a:pt x="134" y="64"/>
                    <a:pt x="134" y="64"/>
                    <a:pt x="135" y="63"/>
                  </a:cubicBezTo>
                  <a:cubicBezTo>
                    <a:pt x="135" y="63"/>
                    <a:pt x="135" y="63"/>
                    <a:pt x="135" y="63"/>
                  </a:cubicBezTo>
                  <a:cubicBezTo>
                    <a:pt x="135" y="62"/>
                    <a:pt x="135" y="62"/>
                    <a:pt x="135" y="61"/>
                  </a:cubicBezTo>
                  <a:cubicBezTo>
                    <a:pt x="136" y="58"/>
                    <a:pt x="137" y="54"/>
                    <a:pt x="137" y="51"/>
                  </a:cubicBezTo>
                  <a:cubicBezTo>
                    <a:pt x="137" y="50"/>
                    <a:pt x="137" y="50"/>
                    <a:pt x="137" y="49"/>
                  </a:cubicBezTo>
                  <a:cubicBezTo>
                    <a:pt x="137" y="49"/>
                    <a:pt x="137" y="48"/>
                    <a:pt x="137" y="47"/>
                  </a:cubicBezTo>
                  <a:cubicBezTo>
                    <a:pt x="136" y="46"/>
                    <a:pt x="135" y="44"/>
                    <a:pt x="137" y="42"/>
                  </a:cubicBezTo>
                  <a:cubicBezTo>
                    <a:pt x="138" y="41"/>
                    <a:pt x="141" y="40"/>
                    <a:pt x="144" y="39"/>
                  </a:cubicBezTo>
                  <a:cubicBezTo>
                    <a:pt x="147" y="38"/>
                    <a:pt x="149" y="37"/>
                    <a:pt x="150" y="37"/>
                  </a:cubicBezTo>
                  <a:cubicBezTo>
                    <a:pt x="150" y="36"/>
                    <a:pt x="149" y="36"/>
                    <a:pt x="149" y="35"/>
                  </a:cubicBezTo>
                  <a:cubicBezTo>
                    <a:pt x="149" y="34"/>
                    <a:pt x="148" y="33"/>
                    <a:pt x="149" y="32"/>
                  </a:cubicBezTo>
                  <a:cubicBezTo>
                    <a:pt x="149" y="32"/>
                    <a:pt x="152" y="29"/>
                    <a:pt x="154" y="27"/>
                  </a:cubicBezTo>
                  <a:cubicBezTo>
                    <a:pt x="157" y="25"/>
                    <a:pt x="160" y="22"/>
                    <a:pt x="161" y="21"/>
                  </a:cubicBezTo>
                  <a:cubicBezTo>
                    <a:pt x="161" y="21"/>
                    <a:pt x="161" y="20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7"/>
                    <a:pt x="163" y="16"/>
                    <a:pt x="162" y="16"/>
                  </a:cubicBezTo>
                  <a:cubicBezTo>
                    <a:pt x="162" y="16"/>
                    <a:pt x="162" y="15"/>
                    <a:pt x="162" y="14"/>
                  </a:cubicBezTo>
                  <a:cubicBezTo>
                    <a:pt x="162" y="14"/>
                    <a:pt x="162" y="14"/>
                    <a:pt x="162" y="14"/>
                  </a:cubicBezTo>
                  <a:cubicBezTo>
                    <a:pt x="161" y="12"/>
                    <a:pt x="159" y="10"/>
                    <a:pt x="160" y="9"/>
                  </a:cubicBezTo>
                  <a:cubicBezTo>
                    <a:pt x="161" y="8"/>
                    <a:pt x="162" y="8"/>
                    <a:pt x="162" y="7"/>
                  </a:cubicBezTo>
                  <a:cubicBezTo>
                    <a:pt x="163" y="7"/>
                    <a:pt x="163" y="7"/>
                    <a:pt x="164" y="7"/>
                  </a:cubicBezTo>
                  <a:cubicBezTo>
                    <a:pt x="164" y="7"/>
                    <a:pt x="165" y="4"/>
                    <a:pt x="166" y="2"/>
                  </a:cubicBezTo>
                  <a:cubicBezTo>
                    <a:pt x="167" y="1"/>
                    <a:pt x="167" y="1"/>
                    <a:pt x="167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1"/>
                    <a:pt x="164" y="0"/>
                    <a:pt x="162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50" y="0"/>
                    <a:pt x="151" y="1"/>
                    <a:pt x="151" y="1"/>
                  </a:cubicBezTo>
                  <a:cubicBezTo>
                    <a:pt x="152" y="2"/>
                    <a:pt x="154" y="2"/>
                    <a:pt x="15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66666"/>
                </a:solidFill>
              </a:endParaRPr>
            </a:p>
          </p:txBody>
        </p:sp>
      </p:grpSp>
      <p:pic>
        <p:nvPicPr>
          <p:cNvPr id="197" name="Grafik 19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2687714"/>
            <a:ext cx="280894" cy="280894"/>
          </a:xfrm>
          <a:prstGeom prst="rect">
            <a:avLst/>
          </a:prstGeom>
        </p:spPr>
      </p:pic>
      <p:pic>
        <p:nvPicPr>
          <p:cNvPr id="198" name="Grafik 19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6930" y="2996952"/>
            <a:ext cx="280894" cy="280894"/>
          </a:xfrm>
          <a:prstGeom prst="rect">
            <a:avLst/>
          </a:prstGeom>
        </p:spPr>
      </p:pic>
      <p:pic>
        <p:nvPicPr>
          <p:cNvPr id="199" name="Grafik 19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28" y="3005979"/>
            <a:ext cx="280894" cy="280894"/>
          </a:xfrm>
          <a:prstGeom prst="rect">
            <a:avLst/>
          </a:prstGeom>
        </p:spPr>
      </p:pic>
      <p:pic>
        <p:nvPicPr>
          <p:cNvPr id="200" name="Grafik 19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3897052"/>
            <a:ext cx="280894" cy="280894"/>
          </a:xfrm>
          <a:prstGeom prst="rect">
            <a:avLst/>
          </a:prstGeom>
        </p:spPr>
      </p:pic>
      <p:pic>
        <p:nvPicPr>
          <p:cNvPr id="201" name="Grafik 20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887" y="3849688"/>
            <a:ext cx="280894" cy="280894"/>
          </a:xfrm>
          <a:prstGeom prst="rect">
            <a:avLst/>
          </a:prstGeom>
        </p:spPr>
      </p:pic>
      <p:pic>
        <p:nvPicPr>
          <p:cNvPr id="202" name="Grafik 20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490" y="3878339"/>
            <a:ext cx="280894" cy="280894"/>
          </a:xfrm>
          <a:prstGeom prst="rect">
            <a:avLst/>
          </a:prstGeom>
        </p:spPr>
      </p:pic>
      <p:sp>
        <p:nvSpPr>
          <p:cNvPr id="203" name="Textfeld 202"/>
          <p:cNvSpPr txBox="1"/>
          <p:nvPr/>
        </p:nvSpPr>
        <p:spPr>
          <a:xfrm>
            <a:off x="4333164" y="2963900"/>
            <a:ext cx="1264126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>
                <a:solidFill>
                  <a:srgbClr val="FFFFFF"/>
                </a:solidFill>
              </a:rPr>
              <a:t>BELARUS</a:t>
            </a:r>
          </a:p>
        </p:txBody>
      </p:sp>
      <p:sp>
        <p:nvSpPr>
          <p:cNvPr id="204" name="Textfeld 203"/>
          <p:cNvSpPr txBox="1"/>
          <p:nvPr/>
        </p:nvSpPr>
        <p:spPr>
          <a:xfrm>
            <a:off x="1910508" y="3421063"/>
            <a:ext cx="1020584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 cap="all" dirty="0">
                <a:solidFill>
                  <a:srgbClr val="FFFFFF"/>
                </a:solidFill>
              </a:rPr>
              <a:t>Germany</a:t>
            </a:r>
            <a:endParaRPr lang="de-CH" sz="1000" b="1" cap="all" dirty="0">
              <a:solidFill>
                <a:srgbClr val="FFFFFF"/>
              </a:solidFill>
            </a:endParaRPr>
          </a:p>
        </p:txBody>
      </p:sp>
      <p:sp>
        <p:nvSpPr>
          <p:cNvPr id="205" name="Textfeld 204"/>
          <p:cNvSpPr txBox="1"/>
          <p:nvPr/>
        </p:nvSpPr>
        <p:spPr>
          <a:xfrm>
            <a:off x="3237373" y="4149080"/>
            <a:ext cx="1478643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>
                <a:solidFill>
                  <a:srgbClr val="FFFFFF"/>
                </a:solidFill>
              </a:rPr>
              <a:t>HUNGARY</a:t>
            </a:r>
          </a:p>
        </p:txBody>
      </p:sp>
      <p:pic>
        <p:nvPicPr>
          <p:cNvPr id="206" name="Grafik 20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425" y="5229200"/>
            <a:ext cx="280894" cy="280894"/>
          </a:xfrm>
          <a:prstGeom prst="rect">
            <a:avLst/>
          </a:prstGeom>
        </p:spPr>
      </p:pic>
      <p:sp>
        <p:nvSpPr>
          <p:cNvPr id="207" name="Textfeld 206"/>
          <p:cNvSpPr txBox="1"/>
          <p:nvPr/>
        </p:nvSpPr>
        <p:spPr>
          <a:xfrm>
            <a:off x="432788" y="5013176"/>
            <a:ext cx="682828" cy="282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>
                <a:solidFill>
                  <a:srgbClr val="FFFFFF"/>
                </a:solidFill>
              </a:rPr>
              <a:t>SPAIN</a:t>
            </a:r>
            <a:endParaRPr lang="en-US" sz="1000" b="1" dirty="0">
              <a:solidFill>
                <a:srgbClr val="FFFFFF"/>
              </a:solidFill>
            </a:endParaRPr>
          </a:p>
        </p:txBody>
      </p:sp>
      <p:pic>
        <p:nvPicPr>
          <p:cNvPr id="210" name="Grafik 20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3034" y="3940194"/>
            <a:ext cx="280894" cy="280894"/>
          </a:xfrm>
          <a:prstGeom prst="rect">
            <a:avLst/>
          </a:prstGeom>
        </p:spPr>
      </p:pic>
      <p:sp>
        <p:nvSpPr>
          <p:cNvPr id="211" name="Titel 6"/>
          <p:cNvSpPr>
            <a:spLocks noGrp="1"/>
          </p:cNvSpPr>
          <p:nvPr>
            <p:ph type="title"/>
          </p:nvPr>
        </p:nvSpPr>
        <p:spPr>
          <a:xfrm>
            <a:off x="539750" y="403200"/>
            <a:ext cx="8064500" cy="432000"/>
          </a:xfrm>
        </p:spPr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8</a:t>
            </a:r>
            <a:r>
              <a:rPr dirty="0">
                <a:solidFill>
                  <a:schemeClr val="bg1"/>
                </a:solidFill>
              </a:rPr>
              <a:t> production locations and </a:t>
            </a:r>
            <a:r>
              <a:rPr lang="de-CH" dirty="0">
                <a:solidFill>
                  <a:schemeClr val="bg1"/>
                </a:solidFill>
              </a:rPr>
              <a:t>7</a:t>
            </a:r>
            <a:r>
              <a:rPr dirty="0">
                <a:solidFill>
                  <a:schemeClr val="bg1"/>
                </a:solidFill>
              </a:rPr>
              <a:t> component LOCATION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212" name="Grafik 2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4372" y="3228005"/>
            <a:ext cx="280894" cy="280894"/>
          </a:xfrm>
          <a:prstGeom prst="rect">
            <a:avLst/>
          </a:prstGeom>
        </p:spPr>
      </p:pic>
      <p:pic>
        <p:nvPicPr>
          <p:cNvPr id="213" name="Grafik 2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990" y="3904190"/>
            <a:ext cx="280894" cy="280894"/>
          </a:xfrm>
          <a:prstGeom prst="rect">
            <a:avLst/>
          </a:prstGeom>
        </p:spPr>
      </p:pic>
      <p:pic>
        <p:nvPicPr>
          <p:cNvPr id="214" name="Grafik 2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9852" y="2996952"/>
            <a:ext cx="280894" cy="280894"/>
          </a:xfrm>
          <a:prstGeom prst="rect">
            <a:avLst/>
          </a:prstGeom>
        </p:spPr>
      </p:pic>
      <p:pic>
        <p:nvPicPr>
          <p:cNvPr id="215" name="Grafik 2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1700" y="3861048"/>
            <a:ext cx="2819400" cy="1924050"/>
          </a:xfrm>
          <a:prstGeom prst="rect">
            <a:avLst/>
          </a:prstGeom>
          <a:ln w="12700">
            <a:solidFill>
              <a:schemeClr val="accent3"/>
            </a:solidFill>
          </a:ln>
        </p:spPr>
      </p:pic>
      <p:pic>
        <p:nvPicPr>
          <p:cNvPr id="216" name="Grafik 18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1807" y="4972663"/>
            <a:ext cx="292541" cy="292541"/>
          </a:xfrm>
          <a:prstGeom prst="rect">
            <a:avLst/>
          </a:prstGeom>
        </p:spPr>
      </p:pic>
      <p:sp>
        <p:nvSpPr>
          <p:cNvPr id="217" name="Textfeld 216"/>
          <p:cNvSpPr txBox="1"/>
          <p:nvPr/>
        </p:nvSpPr>
        <p:spPr>
          <a:xfrm>
            <a:off x="7760573" y="5157192"/>
            <a:ext cx="699859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>
                <a:solidFill>
                  <a:srgbClr val="FFFFFF"/>
                </a:solidFill>
              </a:rPr>
              <a:t>USA</a:t>
            </a:r>
          </a:p>
        </p:txBody>
      </p:sp>
      <p:sp>
        <p:nvSpPr>
          <p:cNvPr id="218" name="Textfeld 217"/>
          <p:cNvSpPr txBox="1"/>
          <p:nvPr/>
        </p:nvSpPr>
        <p:spPr>
          <a:xfrm>
            <a:off x="3487894" y="3284984"/>
            <a:ext cx="1264126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>
                <a:solidFill>
                  <a:srgbClr val="FFFFFF"/>
                </a:solidFill>
              </a:rPr>
              <a:t>POLAND</a:t>
            </a:r>
          </a:p>
        </p:txBody>
      </p:sp>
      <p:pic>
        <p:nvPicPr>
          <p:cNvPr id="219" name="Grafik 2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3956" y="3930494"/>
            <a:ext cx="280894" cy="280894"/>
          </a:xfrm>
          <a:prstGeom prst="rect">
            <a:avLst/>
          </a:prstGeom>
        </p:spPr>
      </p:pic>
      <p:pic>
        <p:nvPicPr>
          <p:cNvPr id="220" name="Grafik 2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343" y="4041068"/>
            <a:ext cx="280894" cy="280894"/>
          </a:xfrm>
          <a:prstGeom prst="rect">
            <a:avLst/>
          </a:prstGeom>
        </p:spPr>
      </p:pic>
      <p:sp>
        <p:nvSpPr>
          <p:cNvPr id="209" name="Textfeld 208"/>
          <p:cNvSpPr txBox="1"/>
          <p:nvPr/>
        </p:nvSpPr>
        <p:spPr>
          <a:xfrm>
            <a:off x="1852887" y="4140861"/>
            <a:ext cx="1172216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 dirty="0">
                <a:solidFill>
                  <a:srgbClr val="FFFFFF"/>
                </a:solidFill>
              </a:rPr>
              <a:t>SWITZERLAND</a:t>
            </a:r>
          </a:p>
        </p:txBody>
      </p:sp>
      <p:pic>
        <p:nvPicPr>
          <p:cNvPr id="221" name="Grafik 2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593" y="3429000"/>
            <a:ext cx="280894" cy="280894"/>
          </a:xfrm>
          <a:prstGeom prst="rect">
            <a:avLst/>
          </a:prstGeom>
        </p:spPr>
      </p:pic>
      <p:sp>
        <p:nvSpPr>
          <p:cNvPr id="208" name="Textfeld 207"/>
          <p:cNvSpPr txBox="1"/>
          <p:nvPr/>
        </p:nvSpPr>
        <p:spPr>
          <a:xfrm>
            <a:off x="2771800" y="3645024"/>
            <a:ext cx="876268" cy="1410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sz="1000" b="1" dirty="0">
                <a:solidFill>
                  <a:srgbClr val="FFFFFF"/>
                </a:solidFill>
              </a:rPr>
              <a:t>CZECH REPUBLIC</a:t>
            </a: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222" name="Fußzeilenplatzhalter 7">
            <a:extLst>
              <a:ext uri="{FF2B5EF4-FFF2-40B4-BE49-F238E27FC236}">
                <a16:creationId xmlns:a16="http://schemas.microsoft.com/office/drawing/2014/main" id="{3A66E0A0-D1EB-4C8A-8E17-A711E1900B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536" y="6633356"/>
            <a:ext cx="6115212" cy="134981"/>
          </a:xfrm>
        </p:spPr>
        <p:txBody>
          <a:bodyPr vert="horz" lIns="0" tIns="0" rIns="0" bIns="7200" rtlCol="0" anchor="b" anchorCtr="0"/>
          <a:lstStyle/>
          <a:p>
            <a:r>
              <a:rPr lang="de-CH" sz="750" b="1" dirty="0">
                <a:solidFill>
                  <a:schemeClr val="tx2"/>
                </a:solidFill>
              </a:rPr>
              <a:t>Programme Lead | James McCaffery | © Stadler | 23.06.2023</a:t>
            </a:r>
          </a:p>
        </p:txBody>
      </p:sp>
    </p:spTree>
    <p:extLst>
      <p:ext uri="{BB962C8B-B14F-4D97-AF65-F5344CB8AC3E}">
        <p14:creationId xmlns:p14="http://schemas.microsoft.com/office/powerpoint/2010/main" val="2995596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ouYeiASAyma_ratw2N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g"/></Relationships>
</file>

<file path=ppt/theme/theme1.xml><?xml version="1.0" encoding="utf-8"?>
<a:theme xmlns:a="http://schemas.openxmlformats.org/drawingml/2006/main" name="Stadler Titelfolien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tadler Blau 1">
      <a:srgbClr val="007BC0"/>
    </a:custClr>
    <a:custClr name="Stadler Blau 1 90%">
      <a:srgbClr val="1988C6"/>
    </a:custClr>
    <a:custClr name="Stadler Blau 1 80%">
      <a:srgbClr val="3395CD"/>
    </a:custClr>
    <a:custClr name="Stadler Blau 1 70%">
      <a:srgbClr val="4DA3D3"/>
    </a:custClr>
    <a:custClr name="Stadler Blau 1 60%">
      <a:srgbClr val="66B0D9"/>
    </a:custClr>
    <a:custClr name="Stadler Blau 1 50%">
      <a:srgbClr val="80BDE0"/>
    </a:custClr>
    <a:custClr name="Stadler Blau 1 40%">
      <a:srgbClr val="99CAE6"/>
    </a:custClr>
    <a:custClr name="Stadler Blau 1 30%">
      <a:srgbClr val="B3D7EC"/>
    </a:custClr>
    <a:custClr name="Stadler Blau 1 20%">
      <a:srgbClr val="CCE5F2"/>
    </a:custClr>
    <a:custClr name="Stadler Blau 1 10%">
      <a:srgbClr val="E6F2F9"/>
    </a:custClr>
    <a:custClr name="Stadler Blau 2">
      <a:srgbClr val="1E5A9A"/>
    </a:custClr>
    <a:custClr name="Stadler Blau 2 90%">
      <a:srgbClr val="356BA4"/>
    </a:custClr>
    <a:custClr name="Stadler Blau 2 80%">
      <a:srgbClr val="4B7BAE"/>
    </a:custClr>
    <a:custClr name="Stadler Blau 2 70%">
      <a:srgbClr val="628CB8"/>
    </a:custClr>
    <a:custClr name="Stadler Blau 2 60%">
      <a:srgbClr val="789CC2"/>
    </a:custClr>
    <a:custClr name="Stadler Blau 2 50%">
      <a:srgbClr val="8FADCD"/>
    </a:custClr>
    <a:custClr name="Stadler Blau 2 40%">
      <a:srgbClr val="A5BDD7"/>
    </a:custClr>
    <a:custClr name="Stadler Blau 2 30%">
      <a:srgbClr val="BCCEE1"/>
    </a:custClr>
    <a:custClr name="Stadler Blau 2 20%">
      <a:srgbClr val="D2DEEB"/>
    </a:custClr>
    <a:custClr name="Stadler Blau 2 10%">
      <a:srgbClr val="E9EFF5"/>
    </a:custClr>
    <a:custClr name="Stadler Blau 3">
      <a:srgbClr val="0B3F75"/>
    </a:custClr>
    <a:custClr name="Stadler Blau 3 90%">
      <a:srgbClr val="235283"/>
    </a:custClr>
    <a:custClr name="Stadler Blau 3 80%">
      <a:srgbClr val="3C6591"/>
    </a:custClr>
    <a:custClr name="Stadler Blau 3 70%">
      <a:srgbClr val="54799E"/>
    </a:custClr>
    <a:custClr name="Stadler Blau 3 60%">
      <a:srgbClr val="6D8CAC"/>
    </a:custClr>
    <a:custClr name="Stadler Blau 3 50%">
      <a:srgbClr val="859FBA"/>
    </a:custClr>
    <a:custClr name="Stadler Blau 3 40%">
      <a:srgbClr val="9DB2C8"/>
    </a:custClr>
    <a:custClr name="Stadler Blau 3 30%">
      <a:srgbClr val="B6C5D6"/>
    </a:custClr>
    <a:custClr name="Stadler Blau 3 20%">
      <a:srgbClr val="CED9E3"/>
    </a:custClr>
    <a:custClr name="Stadler Blau 3 10%">
      <a:srgbClr val="E7ECF1"/>
    </a:custClr>
    <a:custClr name="Schwarz">
      <a:srgbClr val="000000"/>
    </a:custClr>
    <a:custClr name="Schwarz 90%">
      <a:srgbClr val="191919"/>
    </a:custClr>
    <a:custClr name="Schwarz 80%">
      <a:srgbClr val="333333"/>
    </a:custClr>
    <a:custClr name="Schwarz 70%">
      <a:srgbClr val="4D4D4D"/>
    </a:custClr>
    <a:custClr name="Schwarz 60%">
      <a:srgbClr val="666666"/>
    </a:custClr>
    <a:custClr name="Schwarz 50%">
      <a:srgbClr val="808080"/>
    </a:custClr>
    <a:custClr name="Schwarz 40%">
      <a:srgbClr val="999999"/>
    </a:custClr>
    <a:custClr name="Schwarz 30%">
      <a:srgbClr val="B3B3B3"/>
    </a:custClr>
    <a:custClr name="Schwarz 20%">
      <a:srgbClr val="CCCCCC"/>
    </a:custClr>
    <a:custClr name="Schwarz 10%">
      <a:srgbClr val="E6E6E6"/>
    </a:custClr>
    <a:custClr name="Stadler Gelb">
      <a:srgbClr val="FFBD00"/>
    </a:custClr>
    <a:custClr name="Stadler Gelb 90%">
      <a:srgbClr val="FFC419"/>
    </a:custClr>
    <a:custClr name="Stadler Gelb 80%">
      <a:srgbClr val="FFCA33"/>
    </a:custClr>
    <a:custClr name="Stadler Gelb 70%">
      <a:srgbClr val="FFD14D"/>
    </a:custClr>
    <a:custClr name="Stadler Gelb 60%">
      <a:srgbClr val="FFD766"/>
    </a:custClr>
    <a:custClr name="Stadler Gelb 50%">
      <a:srgbClr val="FFDE80"/>
    </a:custClr>
    <a:custClr name="Stadler Gelb 40%">
      <a:srgbClr val="FFE599"/>
    </a:custClr>
    <a:custClr name="Stadler Gelb 30%">
      <a:srgbClr val="FFEBB3"/>
    </a:custClr>
    <a:custClr name="Stadler Gelb 20%">
      <a:srgbClr val="FFF2CC"/>
    </a:custClr>
    <a:custClr name="Stadler Gelb 10%">
      <a:srgbClr val="FFF8E6"/>
    </a:custClr>
  </a:custClrLst>
  <a:extLst>
    <a:ext uri="{05A4C25C-085E-4340-85A3-A5531E510DB2}">
      <thm15:themeFamily xmlns:thm15="http://schemas.microsoft.com/office/thememl/2012/main" name="Stadler_PP_Template_DE.potx" id="{AD9DF660-F457-401A-985B-E3E16506A5C8}" vid="{46CF047D-C0D8-4D30-B304-CAB79B09E8AD}"/>
    </a:ext>
  </a:extLst>
</a:theme>
</file>

<file path=ppt/theme/theme2.xml><?xml version="1.0" encoding="utf-8"?>
<a:theme xmlns:a="http://schemas.openxmlformats.org/drawingml/2006/main" name="Stadler Inhaltsfolien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0">
          <a:blip xmlns:r="http://schemas.openxmlformats.org/officeDocument/2006/relationships" r:embed="rId1"/>
          <a:srcRect/>
          <a:stretch>
            <a:fillRect/>
          </a:stretch>
        </a:blipFill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tadler Blau 1">
      <a:srgbClr val="007BC0"/>
    </a:custClr>
    <a:custClr name="Stadler Blau 1 90%">
      <a:srgbClr val="1988C6"/>
    </a:custClr>
    <a:custClr name="Stadler Blau 1 80%">
      <a:srgbClr val="3395CD"/>
    </a:custClr>
    <a:custClr name="Stadler Blau 1 70%">
      <a:srgbClr val="4DA3D3"/>
    </a:custClr>
    <a:custClr name="Stadler Blau 1 60%">
      <a:srgbClr val="66B0D9"/>
    </a:custClr>
    <a:custClr name="Stadler Blau 1 50%">
      <a:srgbClr val="80BDE0"/>
    </a:custClr>
    <a:custClr name="Stadler Blau 1 40%">
      <a:srgbClr val="99CAE6"/>
    </a:custClr>
    <a:custClr name="Stadler Blau 1 30%">
      <a:srgbClr val="B3D7EC"/>
    </a:custClr>
    <a:custClr name="Stadler Blau 1 20%">
      <a:srgbClr val="CCE5F2"/>
    </a:custClr>
    <a:custClr name="Stadler Blau 1 10%">
      <a:srgbClr val="E6F2F9"/>
    </a:custClr>
    <a:custClr name="Stadler Blau 2">
      <a:srgbClr val="1E5A9A"/>
    </a:custClr>
    <a:custClr name="Stadler Blau 2 90%">
      <a:srgbClr val="356BA4"/>
    </a:custClr>
    <a:custClr name="Stadler Blau 2 80%">
      <a:srgbClr val="4B7BAE"/>
    </a:custClr>
    <a:custClr name="Stadler Blau 2 70%">
      <a:srgbClr val="628CB8"/>
    </a:custClr>
    <a:custClr name="Stadler Blau 2 60%">
      <a:srgbClr val="789CC2"/>
    </a:custClr>
    <a:custClr name="Stadler Blau 2 50%">
      <a:srgbClr val="8FADCD"/>
    </a:custClr>
    <a:custClr name="Stadler Blau 2 40%">
      <a:srgbClr val="A5BDD7"/>
    </a:custClr>
    <a:custClr name="Stadler Blau 2 30%">
      <a:srgbClr val="BCCEE1"/>
    </a:custClr>
    <a:custClr name="Stadler Blau 2 20%">
      <a:srgbClr val="D2DEEB"/>
    </a:custClr>
    <a:custClr name="Stadler Blau 2 10%">
      <a:srgbClr val="E9EFF5"/>
    </a:custClr>
    <a:custClr name="Stadler Blau 3">
      <a:srgbClr val="0B3F75"/>
    </a:custClr>
    <a:custClr name="Stadler Blau 3 90%">
      <a:srgbClr val="235283"/>
    </a:custClr>
    <a:custClr name="Stadler Blau 3 80%">
      <a:srgbClr val="3C6591"/>
    </a:custClr>
    <a:custClr name="Stadler Blau 3 70%">
      <a:srgbClr val="54799E"/>
    </a:custClr>
    <a:custClr name="Stadler Blau 3 60%">
      <a:srgbClr val="6D8CAC"/>
    </a:custClr>
    <a:custClr name="Stadler Blau 3 50%">
      <a:srgbClr val="859FBA"/>
    </a:custClr>
    <a:custClr name="Stadler Blau 3 40%">
      <a:srgbClr val="9DB2C8"/>
    </a:custClr>
    <a:custClr name="Stadler Blau 3 30%">
      <a:srgbClr val="B6C5D6"/>
    </a:custClr>
    <a:custClr name="Stadler Blau 3 20%">
      <a:srgbClr val="CED9E3"/>
    </a:custClr>
    <a:custClr name="Stadler Blau 3 10%">
      <a:srgbClr val="E7ECF1"/>
    </a:custClr>
    <a:custClr name="Schwarz">
      <a:srgbClr val="000000"/>
    </a:custClr>
    <a:custClr name="Schwarz 90%">
      <a:srgbClr val="191919"/>
    </a:custClr>
    <a:custClr name="Schwarz 80%">
      <a:srgbClr val="333333"/>
    </a:custClr>
    <a:custClr name="Schwarz 70%">
      <a:srgbClr val="4D4D4D"/>
    </a:custClr>
    <a:custClr name="Schwarz 60%">
      <a:srgbClr val="666666"/>
    </a:custClr>
    <a:custClr name="Schwarz 50%">
      <a:srgbClr val="808080"/>
    </a:custClr>
    <a:custClr name="Schwarz 40%">
      <a:srgbClr val="999999"/>
    </a:custClr>
    <a:custClr name="Schwarz 30%">
      <a:srgbClr val="B3B3B3"/>
    </a:custClr>
    <a:custClr name="Schwarz 20%">
      <a:srgbClr val="CCCCCC"/>
    </a:custClr>
    <a:custClr name="Schwarz 10%">
      <a:srgbClr val="E6E6E6"/>
    </a:custClr>
    <a:custClr name="Stadler Gelb">
      <a:srgbClr val="FFBD00"/>
    </a:custClr>
    <a:custClr name="Stadler Gelb 90%">
      <a:srgbClr val="FFC419"/>
    </a:custClr>
    <a:custClr name="Stadler Gelb 80%">
      <a:srgbClr val="FFCA33"/>
    </a:custClr>
    <a:custClr name="Stadler Gelb 70%">
      <a:srgbClr val="FFD14D"/>
    </a:custClr>
    <a:custClr name="Stadler Gelb 60%">
      <a:srgbClr val="FFD766"/>
    </a:custClr>
    <a:custClr name="Stadler Gelb 50%">
      <a:srgbClr val="FFDE80"/>
    </a:custClr>
    <a:custClr name="Stadler Gelb 40%">
      <a:srgbClr val="FFE599"/>
    </a:custClr>
    <a:custClr name="Stadler Gelb 30%">
      <a:srgbClr val="FFEBB3"/>
    </a:custClr>
    <a:custClr name="Stadler Gelb 20%">
      <a:srgbClr val="FFF2CC"/>
    </a:custClr>
    <a:custClr name="Stadler Gelb 10%">
      <a:srgbClr val="FFF8E6"/>
    </a:custClr>
  </a:custClrLst>
  <a:extLst>
    <a:ext uri="{05A4C25C-085E-4340-85A3-A5531E510DB2}">
      <thm15:themeFamily xmlns:thm15="http://schemas.microsoft.com/office/thememl/2012/main" name="Stadler_PP_Template_DE.potx" id="{AD9DF660-F457-401A-985B-E3E16506A5C8}" vid="{5CCABE34-9A9B-4505-BF88-DFBE60BB4DCE}"/>
    </a:ext>
  </a:extLst>
</a:theme>
</file>

<file path=ppt/theme/theme3.xml><?xml version="1.0" encoding="utf-8"?>
<a:theme xmlns:a="http://schemas.openxmlformats.org/drawingml/2006/main" name="20_Stadler Inhaltsfolien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Stadler Inhaltsfolien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tadler Blau 1">
      <a:srgbClr val="007BC0"/>
    </a:custClr>
    <a:custClr name="Stadler Blau 1 90%">
      <a:srgbClr val="1988C6"/>
    </a:custClr>
    <a:custClr name="Stadler Blau 1 80%">
      <a:srgbClr val="3395CD"/>
    </a:custClr>
    <a:custClr name="Stadler Blau 1 70%">
      <a:srgbClr val="4DA3D3"/>
    </a:custClr>
    <a:custClr name="Stadler Blau 1 60%">
      <a:srgbClr val="66B0D9"/>
    </a:custClr>
    <a:custClr name="Stadler Blau 1 50%">
      <a:srgbClr val="80BDE0"/>
    </a:custClr>
    <a:custClr name="Stadler Blau 1 40%">
      <a:srgbClr val="99CAE6"/>
    </a:custClr>
    <a:custClr name="Stadler Blau 1 30%">
      <a:srgbClr val="B3D7EC"/>
    </a:custClr>
    <a:custClr name="Stadler Blau 1 20%">
      <a:srgbClr val="CCE5F2"/>
    </a:custClr>
    <a:custClr name="Stadler Blau 1 10%">
      <a:srgbClr val="E6F2F9"/>
    </a:custClr>
    <a:custClr name="Stadler Blau 2">
      <a:srgbClr val="1E5A9A"/>
    </a:custClr>
    <a:custClr name="Stadler Blau 2 90%">
      <a:srgbClr val="356BA4"/>
    </a:custClr>
    <a:custClr name="Stadler Blau 2 80%">
      <a:srgbClr val="4B7BAE"/>
    </a:custClr>
    <a:custClr name="Stadler Blau 2 70%">
      <a:srgbClr val="628CB8"/>
    </a:custClr>
    <a:custClr name="Stadler Blau 2 60%">
      <a:srgbClr val="789CC2"/>
    </a:custClr>
    <a:custClr name="Stadler Blau 2 50%">
      <a:srgbClr val="8FADCD"/>
    </a:custClr>
    <a:custClr name="Stadler Blau 2 40%">
      <a:srgbClr val="A5BDD7"/>
    </a:custClr>
    <a:custClr name="Stadler Blau 2 30%">
      <a:srgbClr val="BCCEE1"/>
    </a:custClr>
    <a:custClr name="Stadler Blau 2 20%">
      <a:srgbClr val="D2DEEB"/>
    </a:custClr>
    <a:custClr name="Stadler Blau 2 10%">
      <a:srgbClr val="E9EFF5"/>
    </a:custClr>
    <a:custClr name="Stadler Blau 3">
      <a:srgbClr val="0B3F75"/>
    </a:custClr>
    <a:custClr name="Stadler Blau 3 90%">
      <a:srgbClr val="235283"/>
    </a:custClr>
    <a:custClr name="Stadler Blau 3 80%">
      <a:srgbClr val="3C6591"/>
    </a:custClr>
    <a:custClr name="Stadler Blau 3 70%">
      <a:srgbClr val="54799E"/>
    </a:custClr>
    <a:custClr name="Stadler Blau 3 60%">
      <a:srgbClr val="6D8CAC"/>
    </a:custClr>
    <a:custClr name="Stadler Blau 3 50%">
      <a:srgbClr val="859FBA"/>
    </a:custClr>
    <a:custClr name="Stadler Blau 3 40%">
      <a:srgbClr val="9DB2C8"/>
    </a:custClr>
    <a:custClr name="Stadler Blau 3 30%">
      <a:srgbClr val="B6C5D6"/>
    </a:custClr>
    <a:custClr name="Stadler Blau 3 20%">
      <a:srgbClr val="CED9E3"/>
    </a:custClr>
    <a:custClr name="Stadler Blau 3 10%">
      <a:srgbClr val="E7ECF1"/>
    </a:custClr>
    <a:custClr name="Schwarz">
      <a:srgbClr val="000000"/>
    </a:custClr>
    <a:custClr name="Schwarz 90%">
      <a:srgbClr val="191919"/>
    </a:custClr>
    <a:custClr name="Schwarz 80%">
      <a:srgbClr val="333333"/>
    </a:custClr>
    <a:custClr name="Schwarz 70%">
      <a:srgbClr val="4D4D4D"/>
    </a:custClr>
    <a:custClr name="Schwarz 60%">
      <a:srgbClr val="666666"/>
    </a:custClr>
    <a:custClr name="Schwarz 50%">
      <a:srgbClr val="808080"/>
    </a:custClr>
    <a:custClr name="Schwarz 40%">
      <a:srgbClr val="999999"/>
    </a:custClr>
    <a:custClr name="Schwarz 30%">
      <a:srgbClr val="B3B3B3"/>
    </a:custClr>
    <a:custClr name="Schwarz 20%">
      <a:srgbClr val="CCCCCC"/>
    </a:custClr>
    <a:custClr name="Schwarz 10%">
      <a:srgbClr val="E6E6E6"/>
    </a:custClr>
    <a:custClr name="Stadler Gelb">
      <a:srgbClr val="FFBD00"/>
    </a:custClr>
    <a:custClr name="Stadler Gelb 90%">
      <a:srgbClr val="FFC419"/>
    </a:custClr>
    <a:custClr name="Stadler Gelb 80%">
      <a:srgbClr val="FFCA33"/>
    </a:custClr>
    <a:custClr name="Stadler Gelb 70%">
      <a:srgbClr val="FFD14D"/>
    </a:custClr>
    <a:custClr name="Stadler Gelb 60%">
      <a:srgbClr val="FFD766"/>
    </a:custClr>
    <a:custClr name="Stadler Gelb 50%">
      <a:srgbClr val="FFDE80"/>
    </a:custClr>
    <a:custClr name="Stadler Gelb 40%">
      <a:srgbClr val="FFE599"/>
    </a:custClr>
    <a:custClr name="Stadler Gelb 30%">
      <a:srgbClr val="FFEBB3"/>
    </a:custClr>
    <a:custClr name="Stadler Gelb 20%">
      <a:srgbClr val="FFF2CC"/>
    </a:custClr>
    <a:custClr name="Stadler Gelb 10%">
      <a:srgbClr val="FFF8E6"/>
    </a:custClr>
  </a:custClrLst>
  <a:extLst>
    <a:ext uri="{05A4C25C-085E-4340-85A3-A5531E510DB2}">
      <thm15:themeFamily xmlns:thm15="http://schemas.microsoft.com/office/thememl/2012/main" name="Stadler_PP_Template_DE.potx" id="{AD9DF660-F457-401A-985B-E3E16506A5C8}" vid="{5CCABE34-9A9B-4505-BF88-DFBE60BB4DCE}"/>
    </a:ext>
  </a:extLst>
</a:theme>
</file>

<file path=ppt/theme/theme5.xml><?xml version="1.0" encoding="utf-8"?>
<a:theme xmlns:a="http://schemas.openxmlformats.org/drawingml/2006/main" name="1_Stadler_PP_Template_EN_klafel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Stadler Blau 1">
      <a:srgbClr val="007BC0"/>
    </a:custClr>
    <a:custClr name="Stadler Blau 1 90%">
      <a:srgbClr val="1988C6"/>
    </a:custClr>
    <a:custClr name="Stadler Blau 1 80%">
      <a:srgbClr val="3395CD"/>
    </a:custClr>
    <a:custClr name="Stadler Blau 1 70%">
      <a:srgbClr val="4DA3D3"/>
    </a:custClr>
    <a:custClr name="Stadler Blau 1 60%">
      <a:srgbClr val="66B0D9"/>
    </a:custClr>
    <a:custClr name="Stadler Blau 1 50%">
      <a:srgbClr val="80BDE0"/>
    </a:custClr>
    <a:custClr name="Stadler Blau 1 40%">
      <a:srgbClr val="99CAE6"/>
    </a:custClr>
    <a:custClr name="Stadler Blau 1 30%">
      <a:srgbClr val="B3D7EC"/>
    </a:custClr>
    <a:custClr name="Stadler Blau 1 20%">
      <a:srgbClr val="CCE5F2"/>
    </a:custClr>
    <a:custClr name="Stadler Blau 1 10%">
      <a:srgbClr val="E6F2F9"/>
    </a:custClr>
    <a:custClr name="Stadler Blau 2">
      <a:srgbClr val="1E5A9A"/>
    </a:custClr>
    <a:custClr name="Stadler Blau 2 90%">
      <a:srgbClr val="356BA4"/>
    </a:custClr>
    <a:custClr name="Stadler Blau 2 80%">
      <a:srgbClr val="4B7BAE"/>
    </a:custClr>
    <a:custClr name="Stadler Blau 2 70%">
      <a:srgbClr val="628CB8"/>
    </a:custClr>
    <a:custClr name="Stadler Blau 2 60%">
      <a:srgbClr val="789CC2"/>
    </a:custClr>
    <a:custClr name="Stadler Blau 2 50%">
      <a:srgbClr val="8FADCD"/>
    </a:custClr>
    <a:custClr name="Stadler Blau 2 40%">
      <a:srgbClr val="A5BDD7"/>
    </a:custClr>
    <a:custClr name="Stadler Blau 2 30%">
      <a:srgbClr val="BCCEE1"/>
    </a:custClr>
    <a:custClr name="Stadler Blau 2 20%">
      <a:srgbClr val="D2DEEB"/>
    </a:custClr>
    <a:custClr name="Stadler Blau 2 10%">
      <a:srgbClr val="E9EFF5"/>
    </a:custClr>
    <a:custClr name="Stadler Blau 3">
      <a:srgbClr val="0B3F75"/>
    </a:custClr>
    <a:custClr name="Stadler Blau 3 90%">
      <a:srgbClr val="235283"/>
    </a:custClr>
    <a:custClr name="Stadler Blau 3 80%">
      <a:srgbClr val="3C6591"/>
    </a:custClr>
    <a:custClr name="Stadler Blau 3 70%">
      <a:srgbClr val="54799E"/>
    </a:custClr>
    <a:custClr name="Stadler Blau 3 60%">
      <a:srgbClr val="6D8CAC"/>
    </a:custClr>
    <a:custClr name="Stadler Blau 3 50%">
      <a:srgbClr val="859FBA"/>
    </a:custClr>
    <a:custClr name="Stadler Blau 3 40%">
      <a:srgbClr val="9DB2C8"/>
    </a:custClr>
    <a:custClr name="Stadler Blau 3 30%">
      <a:srgbClr val="B6C5D6"/>
    </a:custClr>
    <a:custClr name="Stadler Blau 3 20%">
      <a:srgbClr val="CED9E3"/>
    </a:custClr>
    <a:custClr name="Stadler Blau 3 10%">
      <a:srgbClr val="E7ECF1"/>
    </a:custClr>
    <a:custClr name="Schwarz">
      <a:srgbClr val="000000"/>
    </a:custClr>
    <a:custClr name="Schwarz 90%">
      <a:srgbClr val="191919"/>
    </a:custClr>
    <a:custClr name="Schwarz 80%">
      <a:srgbClr val="333333"/>
    </a:custClr>
    <a:custClr name="Schwarz 70%">
      <a:srgbClr val="4D4D4D"/>
    </a:custClr>
    <a:custClr name="Schwarz 60%">
      <a:srgbClr val="666666"/>
    </a:custClr>
    <a:custClr name="Schwarz 50%">
      <a:srgbClr val="808080"/>
    </a:custClr>
    <a:custClr name="Schwarz 40%">
      <a:srgbClr val="999999"/>
    </a:custClr>
    <a:custClr name="Schwarz 30%">
      <a:srgbClr val="B3B3B3"/>
    </a:custClr>
    <a:custClr name="Schwarz 20%">
      <a:srgbClr val="CCCCCC"/>
    </a:custClr>
    <a:custClr name="Schwarz 10%">
      <a:srgbClr val="E6E6E6"/>
    </a:custClr>
    <a:custClr name="Stadler Gelb">
      <a:srgbClr val="FFBD00"/>
    </a:custClr>
    <a:custClr name="Stadler Gelb 90%">
      <a:srgbClr val="FFC419"/>
    </a:custClr>
    <a:custClr name="Stadler Gelb 80%">
      <a:srgbClr val="FFCA33"/>
    </a:custClr>
    <a:custClr name="Stadler Gelb 70%">
      <a:srgbClr val="FFD14D"/>
    </a:custClr>
    <a:custClr name="Stadler Gelb 60%">
      <a:srgbClr val="FFD766"/>
    </a:custClr>
    <a:custClr name="Stadler Gelb 50%">
      <a:srgbClr val="FFDE80"/>
    </a:custClr>
    <a:custClr name="Stadler Gelb 40%">
      <a:srgbClr val="FFE599"/>
    </a:custClr>
    <a:custClr name="Stadler Gelb 30%">
      <a:srgbClr val="FFEBB3"/>
    </a:custClr>
    <a:custClr name="Stadler Gelb 20%">
      <a:srgbClr val="FFF2CC"/>
    </a:custClr>
    <a:custClr name="Stadler Gelb 10%">
      <a:srgbClr val="FFF8E6"/>
    </a:custClr>
  </a:custClrLst>
  <a:extLst>
    <a:ext uri="{05A4C25C-085E-4340-85A3-A5531E510DB2}">
      <thm15:themeFamily xmlns:thm15="http://schemas.microsoft.com/office/thememl/2012/main" name="Stadler_PP_Template_EN.potx" id="{62710025-1087-4A25-A12A-C1D6736595DB}" vid="{692EB865-E2D6-40DA-A604-A4742EC831F6}"/>
    </a:ext>
  </a:extLst>
</a:theme>
</file>

<file path=ppt/theme/theme6.xml><?xml version="1.0" encoding="utf-8"?>
<a:theme xmlns:a="http://schemas.openxmlformats.org/drawingml/2006/main" name="Larissa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Stadler">
      <a:dk1>
        <a:srgbClr val="666666"/>
      </a:dk1>
      <a:lt1>
        <a:srgbClr val="FFFFFF"/>
      </a:lt1>
      <a:dk2>
        <a:srgbClr val="1E5A9A"/>
      </a:dk2>
      <a:lt2>
        <a:srgbClr val="FFFFFF"/>
      </a:lt2>
      <a:accent1>
        <a:srgbClr val="1E5A9A"/>
      </a:accent1>
      <a:accent2>
        <a:srgbClr val="007BC0"/>
      </a:accent2>
      <a:accent3>
        <a:srgbClr val="FFBD00"/>
      </a:accent3>
      <a:accent4>
        <a:srgbClr val="000000"/>
      </a:accent4>
      <a:accent5>
        <a:srgbClr val="F0F7FE"/>
      </a:accent5>
      <a:accent6>
        <a:srgbClr val="0B3F75"/>
      </a:accent6>
      <a:hlink>
        <a:srgbClr val="7030A0"/>
      </a:hlink>
      <a:folHlink>
        <a:srgbClr val="0070C0"/>
      </a:folHlink>
    </a:clrScheme>
    <a:fontScheme name="Stadl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ndort xmlns="fc9e37bf-f319-4ba3-87ff-c37586455db0">Allgemein gültige Vorlagen</Standort>
    <Kategorie xmlns="fc9e37bf-f319-4ba3-87ff-c37586455db0">27</Kategori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C6687F4D116804EA8DED72D05353077" ma:contentTypeVersion="13" ma:contentTypeDescription="Create a new document." ma:contentTypeScope="" ma:versionID="a4295fe8233a633be73362c8d9e1a1a7">
  <xsd:schema xmlns:xsd="http://www.w3.org/2001/XMLSchema" xmlns:xs="http://www.w3.org/2001/XMLSchema" xmlns:p="http://schemas.microsoft.com/office/2006/metadata/properties" xmlns:ns2="fc9e37bf-f319-4ba3-87ff-c37586455db0" xmlns:ns3="857e3577-94e1-443f-810c-f5e3448c6e2f" targetNamespace="http://schemas.microsoft.com/office/2006/metadata/properties" ma:root="true" ma:fieldsID="9d41192f9e25dc2735e6d922f0519b0c" ns2:_="" ns3:_="">
    <xsd:import namespace="fc9e37bf-f319-4ba3-87ff-c37586455db0"/>
    <xsd:import namespace="857e3577-94e1-443f-810c-f5e3448c6e2f"/>
    <xsd:element name="properties">
      <xsd:complexType>
        <xsd:sequence>
          <xsd:element name="documentManagement">
            <xsd:complexType>
              <xsd:all>
                <xsd:element ref="ns2:Standort"/>
                <xsd:element ref="ns2:Kategori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9e37bf-f319-4ba3-87ff-c37586455db0" elementFormDefault="qualified">
    <xsd:import namespace="http://schemas.microsoft.com/office/2006/documentManagement/types"/>
    <xsd:import namespace="http://schemas.microsoft.com/office/infopath/2007/PartnerControls"/>
    <xsd:element name="Standort" ma:index="8" ma:displayName="Location" ma:format="Dropdown" ma:internalName="Standort" ma:readOnly="false">
      <xsd:simpleType>
        <xsd:restriction base="dms:Choice">
          <xsd:enumeration value="Allgemein gültige Vorlagen"/>
          <xsd:enumeration value="STAG"/>
          <xsd:enumeration value="STAR"/>
          <xsd:enumeration value="STAWI"/>
          <xsd:enumeration value="STAP"/>
          <xsd:enumeration value="STAM"/>
          <xsd:enumeration value="STAMI"/>
          <xsd:enumeration value="STAUS"/>
          <xsd:enumeration value="STAKAZ"/>
          <xsd:enumeration value="SRS"/>
          <xsd:enumeration value="SSG"/>
          <xsd:enumeration value="S-Rail"/>
        </xsd:restriction>
      </xsd:simpleType>
    </xsd:element>
    <xsd:element name="Kategorie" ma:index="9" nillable="true" ma:displayName="Category" ma:list="{a299fe06-675a-4abb-8b28-a292d8d325f6}" ma:internalName="Kategorie" ma:readOnly="false" ma:showField="Title">
      <xsd:simpleType>
        <xsd:restriction base="dms:Lookup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7e3577-94e1-443f-810c-f5e3448c6e2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33C8A8ED-F390-4782-888B-3B733571E57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fc9e37bf-f319-4ba3-87ff-c37586455db0"/>
    <ds:schemaRef ds:uri="http://schemas.microsoft.com/office/infopath/2007/PartnerControls"/>
    <ds:schemaRef ds:uri="857e3577-94e1-443f-810c-f5e3448c6e2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03C0770-E82C-4B13-9354-E632488247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c9e37bf-f319-4ba3-87ff-c37586455db0"/>
    <ds:schemaRef ds:uri="857e3577-94e1-443f-810c-f5e3448c6e2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C3904EF-4D77-4EB5-AEAB-5CD31A72C8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dler_PP_Template_DE</Template>
  <TotalTime>0</TotalTime>
  <Words>2130</Words>
  <Application>Microsoft Office PowerPoint</Application>
  <PresentationFormat>On-screen Show (4:3)</PresentationFormat>
  <Paragraphs>504</Paragraphs>
  <Slides>33</Slides>
  <Notes>11</Notes>
  <HiddenSlides>5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ＭＳ Ｐゴシック</vt:lpstr>
      <vt:lpstr>Arial</vt:lpstr>
      <vt:lpstr>Symbol</vt:lpstr>
      <vt:lpstr>Wingdings</vt:lpstr>
      <vt:lpstr>Stadler Titelfolien</vt:lpstr>
      <vt:lpstr>Stadler Inhaltsfolien</vt:lpstr>
      <vt:lpstr>20_Stadler Inhaltsfolien</vt:lpstr>
      <vt:lpstr>1_Stadler Inhaltsfolien</vt:lpstr>
      <vt:lpstr>1_Stadler_PP_Template_EN_klafel</vt:lpstr>
      <vt:lpstr>think-cell Folie</vt:lpstr>
      <vt:lpstr>think-cell Slide</vt:lpstr>
      <vt:lpstr>Individuality in Rail Transport</vt:lpstr>
      <vt:lpstr>Divisions 2023</vt:lpstr>
      <vt:lpstr>Turnover Development</vt:lpstr>
      <vt:lpstr>Workforce growth</vt:lpstr>
      <vt:lpstr>Board of directors</vt:lpstr>
      <vt:lpstr>GROUP EXECUTIVE BOARD</vt:lpstr>
      <vt:lpstr>A SOLID BASIS FOR THE FUTURE</vt:lpstr>
      <vt:lpstr>Rolling Stock Market segments</vt:lpstr>
      <vt:lpstr>8 production locations and 7 component LOCATIONS</vt:lpstr>
      <vt:lpstr>More than 10883 vehicles sold</vt:lpstr>
      <vt:lpstr>Stadler’s presence in the UK</vt:lpstr>
      <vt:lpstr>Stadler’s Current UK Portfolio</vt:lpstr>
      <vt:lpstr>Glasgow Subway</vt:lpstr>
      <vt:lpstr>Glasgow Subway</vt:lpstr>
      <vt:lpstr>MERSEYTRAVEL ROLLING STOCK Solution</vt:lpstr>
      <vt:lpstr>MERSEYTRAVEL ROLLING STOCK</vt:lpstr>
      <vt:lpstr>MERSEYTRAVEL ROLLING STOCK</vt:lpstr>
      <vt:lpstr>ENGINEERING SOLUTIONS FOR YOUR TRANSPORT PROBLEMS</vt:lpstr>
      <vt:lpstr>FlirtUK</vt:lpstr>
      <vt:lpstr>FlirtUK</vt:lpstr>
      <vt:lpstr>FlirtUK</vt:lpstr>
      <vt:lpstr>Overview FLIRTUK</vt:lpstr>
      <vt:lpstr>FlirtUK</vt:lpstr>
      <vt:lpstr>Zero Emission </vt:lpstr>
      <vt:lpstr>flirtAKKU</vt:lpstr>
      <vt:lpstr>Stadler battery projects</vt:lpstr>
      <vt:lpstr>FLIRT AKKU</vt:lpstr>
      <vt:lpstr>FLIRT BMU (Diesel)</vt:lpstr>
      <vt:lpstr>FLIRT H2 Power Pack</vt:lpstr>
      <vt:lpstr>Stadler other battery projects</vt:lpstr>
      <vt:lpstr>Stadler Rail service - uk</vt:lpstr>
      <vt:lpstr>STADLER DEPOT CONSTRUCTION - newcastl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 Presentation_2021_EN_UK</dc:title>
  <dc:creator>Yves Baumgartner</dc:creator>
  <cp:lastModifiedBy>McCaffery James SRSUK</cp:lastModifiedBy>
  <cp:revision>930</cp:revision>
  <cp:lastPrinted>2020-04-27T15:22:17Z</cp:lastPrinted>
  <dcterms:created xsi:type="dcterms:W3CDTF">2017-02-14T13:09:08Z</dcterms:created>
  <dcterms:modified xsi:type="dcterms:W3CDTF">2023-06-22T14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6687F4D116804EA8DED72D05353077</vt:lpwstr>
  </property>
</Properties>
</file>